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charts/chart4.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4" r:id="rId2"/>
  </p:sldMasterIdLst>
  <p:notesMasterIdLst>
    <p:notesMasterId r:id="rId30"/>
  </p:notesMasterIdLst>
  <p:handoutMasterIdLst>
    <p:handoutMasterId r:id="rId31"/>
  </p:handoutMasterIdLst>
  <p:sldIdLst>
    <p:sldId id="256" r:id="rId3"/>
    <p:sldId id="257" r:id="rId4"/>
    <p:sldId id="259" r:id="rId5"/>
    <p:sldId id="263" r:id="rId6"/>
    <p:sldId id="266" r:id="rId7"/>
    <p:sldId id="280" r:id="rId8"/>
    <p:sldId id="264" r:id="rId9"/>
    <p:sldId id="265" r:id="rId10"/>
    <p:sldId id="260" r:id="rId11"/>
    <p:sldId id="270" r:id="rId12"/>
    <p:sldId id="281" r:id="rId13"/>
    <p:sldId id="267" r:id="rId14"/>
    <p:sldId id="268" r:id="rId15"/>
    <p:sldId id="269" r:id="rId16"/>
    <p:sldId id="261" r:id="rId17"/>
    <p:sldId id="273" r:id="rId18"/>
    <p:sldId id="274" r:id="rId19"/>
    <p:sldId id="271" r:id="rId20"/>
    <p:sldId id="272" r:id="rId21"/>
    <p:sldId id="282" r:id="rId22"/>
    <p:sldId id="262" r:id="rId23"/>
    <p:sldId id="275" r:id="rId24"/>
    <p:sldId id="276" r:id="rId25"/>
    <p:sldId id="277" r:id="rId26"/>
    <p:sldId id="283" r:id="rId27"/>
    <p:sldId id="278" r:id="rId28"/>
    <p:sldId id="258" r:id="rId29"/>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4FFFF"/>
    <a:srgbClr val="08E5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4" autoAdjust="0"/>
    <p:restoredTop sz="94660"/>
  </p:normalViewPr>
  <p:slideViewPr>
    <p:cSldViewPr snapToGrid="0">
      <p:cViewPr>
        <p:scale>
          <a:sx n="66" d="100"/>
          <a:sy n="66" d="100"/>
        </p:scale>
        <p:origin x="-2250" y="-1146"/>
      </p:cViewPr>
      <p:guideLst>
        <p:guide orient="horz" pos="2160"/>
        <p:guide pos="3840"/>
      </p:guideLst>
    </p:cSldViewPr>
  </p:slideViewPr>
  <p:notesTextViewPr>
    <p:cViewPr>
      <p:scale>
        <a:sx n="1" d="1"/>
        <a:sy n="1" d="1"/>
      </p:scale>
      <p:origin x="0" y="0"/>
    </p:cViewPr>
  </p:notesTextViewPr>
  <p:sorterViewPr>
    <p:cViewPr>
      <p:scale>
        <a:sx n="100" d="100"/>
        <a:sy n="100" d="100"/>
      </p:scale>
      <p:origin x="0" y="-6945"/>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2.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___3.xlsx"/><Relationship Id="rId1" Type="http://schemas.openxmlformats.org/officeDocument/2006/relationships/image" Target="../media/image72.png"/></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gradFill>
              <a:gsLst>
                <a:gs pos="366">
                  <a:srgbClr val="84FFFF"/>
                </a:gs>
                <a:gs pos="18000">
                  <a:srgbClr val="84FFFF">
                    <a:alpha val="53000"/>
                  </a:srgbClr>
                </a:gs>
                <a:gs pos="81000">
                  <a:srgbClr val="68FFCF">
                    <a:alpha val="0"/>
                  </a:srgbClr>
                </a:gs>
              </a:gsLst>
              <a:lin ang="5400000" scaled="1"/>
            </a:gradFill>
            <a:ln>
              <a:noFill/>
            </a:ln>
            <a:effectLst/>
          </c:spPr>
          <c:invertIfNegative val="0"/>
          <c:cat>
            <c:strRef>
              <c:f>Sheet1!$A$2:$A$5</c:f>
              <c:strCache>
                <c:ptCount val="4"/>
                <c:pt idx="0">
                  <c:v>类别 1</c:v>
                </c:pt>
                <c:pt idx="1">
                  <c:v>类别 2</c:v>
                </c:pt>
                <c:pt idx="2">
                  <c:v>类别 3</c:v>
                </c:pt>
                <c:pt idx="3">
                  <c:v>类别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9D47-4E18-9BC4-81DAE9754FD8}"/>
            </c:ext>
          </c:extLst>
        </c:ser>
        <c:dLbls>
          <c:showLegendKey val="0"/>
          <c:showVal val="0"/>
          <c:showCatName val="0"/>
          <c:showSerName val="0"/>
          <c:showPercent val="0"/>
          <c:showBubbleSize val="0"/>
        </c:dLbls>
        <c:gapWidth val="500"/>
        <c:overlap val="-27"/>
        <c:axId val="656292480"/>
        <c:axId val="657647488"/>
      </c:barChart>
      <c:catAx>
        <c:axId val="6562924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ea"/>
                <a:sym typeface="+mn-lt"/>
              </a:defRPr>
            </a:pPr>
            <a:endParaRPr lang="zh-CN"/>
          </a:p>
        </c:txPr>
        <c:crossAx val="657647488"/>
        <c:crosses val="autoZero"/>
        <c:auto val="1"/>
        <c:lblAlgn val="ctr"/>
        <c:lblOffset val="100"/>
        <c:noMultiLvlLbl val="0"/>
      </c:catAx>
      <c:valAx>
        <c:axId val="657647488"/>
        <c:scaling>
          <c:orientation val="minMax"/>
        </c:scaling>
        <c:delete val="0"/>
        <c:axPos val="l"/>
        <c:majorGridlines>
          <c:spPr>
            <a:ln w="9525" cap="flat" cmpd="sng" algn="ctr">
              <a:solidFill>
                <a:schemeClr val="bg1">
                  <a:alpha val="17000"/>
                </a:schemeClr>
              </a:solidFill>
              <a:prstDash val="solid"/>
              <a:round/>
            </a:ln>
            <a:effectLst/>
          </c:spPr>
        </c:majorGridlines>
        <c:numFmt formatCode="General" sourceLinked="1"/>
        <c:majorTickMark val="none"/>
        <c:minorTickMark val="none"/>
        <c:tickLblPos val="nextTo"/>
        <c:spPr>
          <a:noFill/>
          <a:ln w="6350" cap="flat" cmpd="sng" algn="ctr">
            <a:no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ea"/>
                <a:sym typeface="+mn-lt"/>
              </a:defRPr>
            </a:pPr>
            <a:endParaRPr lang="zh-CN"/>
          </a:p>
        </c:txPr>
        <c:crossAx val="656292480"/>
        <c:crosses val="autoZero"/>
        <c:crossBetween val="between"/>
        <c:majorUnit val="0.5"/>
      </c:valAx>
      <c:spPr>
        <a:noFill/>
        <a:ln>
          <a:noFill/>
        </a:ln>
        <a:effectLst/>
      </c:spPr>
    </c:plotArea>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Series 1</c:v>
                </c:pt>
              </c:strCache>
            </c:strRef>
          </c:tx>
          <c:spPr>
            <a:solidFill>
              <a:srgbClr val="84FFFF"/>
            </a:solidFill>
            <a:ln>
              <a:noFill/>
            </a:ln>
            <a:effectLst/>
          </c:spPr>
          <c:invertIfNegative val="0"/>
          <c:dLbls>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ea"/>
                    <a:sym typeface="+mn-lt"/>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f>Sheet1!$A$2:$A$5</c:f>
              <c:strCache>
                <c:ptCount val="3"/>
                <c:pt idx="0">
                  <c:v>Lorem ipsum</c:v>
                </c:pt>
                <c:pt idx="1">
                  <c:v>Dolor</c:v>
                </c:pt>
                <c:pt idx="2">
                  <c:v>Sit amet</c:v>
                </c:pt>
              </c:strCache>
            </c:strRef>
          </c:cat>
          <c:val>
            <c:numRef>
              <c:f>Sheet1!$B$2:$B$5</c:f>
              <c:numCache>
                <c:formatCode>General</c:formatCode>
                <c:ptCount val="3"/>
                <c:pt idx="0">
                  <c:v>4.3</c:v>
                </c:pt>
                <c:pt idx="1">
                  <c:v>2.5</c:v>
                </c:pt>
                <c:pt idx="2">
                  <c:v>3.5</c:v>
                </c:pt>
              </c:numCache>
            </c:numRef>
          </c:val>
          <c:extLst>
            <c:ext xmlns:c16="http://schemas.microsoft.com/office/drawing/2014/chart" uri="{C3380CC4-5D6E-409C-BE32-E72D297353CC}">
              <c16:uniqueId val="{00000000-F6BA-47F5-83C0-B5A24DCBB476}"/>
            </c:ext>
          </c:extLst>
        </c:ser>
        <c:dLbls>
          <c:showLegendKey val="0"/>
          <c:showVal val="1"/>
          <c:showCatName val="0"/>
          <c:showSerName val="0"/>
          <c:showPercent val="0"/>
          <c:showBubbleSize val="0"/>
        </c:dLbls>
        <c:gapWidth val="142"/>
        <c:overlap val="100"/>
        <c:axId val="787923712"/>
        <c:axId val="803004416"/>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Series 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sym typeface="+mn-lt"/>
                        </a:defRPr>
                      </a:pPr>
                      <a:endParaRPr lang="zh-CN"/>
                    </a:p>
                  </c:txPr>
                  <c:dLblPos val="in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extLst>
                      <c:ext uri="{02D57815-91ED-43cb-92C2-25804820EDAC}">
                        <c15:formulaRef>
                          <c15:sqref>Sheet1!$A$2:$A$5</c15:sqref>
                        </c15:formulaRef>
                      </c:ext>
                    </c:extLst>
                    <c:strCache>
                      <c:ptCount val="3"/>
                      <c:pt idx="0">
                        <c:v>Lorem ipsum</c:v>
                      </c:pt>
                      <c:pt idx="1">
                        <c:v>Dolor</c:v>
                      </c:pt>
                      <c:pt idx="2">
                        <c:v>Sit amet</c:v>
                      </c:pt>
                    </c:strCache>
                  </c:strRef>
                </c:cat>
                <c:val>
                  <c:numRef>
                    <c:extLst>
                      <c:ext uri="{02D57815-91ED-43cb-92C2-25804820EDAC}">
                        <c15:formulaRef>
                          <c15:sqref>Sheet1!$C$2:$C$5</c15:sqref>
                        </c15:formulaRef>
                      </c:ext>
                    </c:extLst>
                    <c:numCache>
                      <c:formatCode>General</c:formatCode>
                      <c:ptCount val="3"/>
                      <c:pt idx="0">
                        <c:v>2.4</c:v>
                      </c:pt>
                      <c:pt idx="1">
                        <c:v>4.4000000000000004</c:v>
                      </c:pt>
                      <c:pt idx="2">
                        <c:v>1.8</c:v>
                      </c:pt>
                    </c:numCache>
                  </c:numRef>
                </c:val>
                <c:extLst>
                  <c:ext xmlns:c16="http://schemas.microsoft.com/office/drawing/2014/chart" uri="{C3380CC4-5D6E-409C-BE32-E72D297353CC}">
                    <c16:uniqueId val="{00000001-F6BA-47F5-83C0-B5A24DCBB476}"/>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lang="zh-CN" sz="1195" b="0" i="0" u="none" strike="noStrike" kern="1200" baseline="0">
                          <a:solidFill>
                            <a:schemeClr val="tx1">
                              <a:lumMod val="75000"/>
                              <a:lumOff val="25000"/>
                            </a:schemeClr>
                          </a:solidFill>
                          <a:latin typeface="+mn-lt"/>
                          <a:ea typeface="+mn-ea"/>
                          <a:cs typeface="+mn-cs"/>
                          <a:sym typeface="+mn-lt"/>
                        </a:defRPr>
                      </a:pPr>
                      <a:endParaRPr lang="zh-CN"/>
                    </a:p>
                  </c:txPr>
                  <c:dLblPos val="in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prstDash val="solid"/>
                            <a:round/>
                          </a:ln>
                          <a:effectLst/>
                        </c:spPr>
                      </c15:leaderLines>
                    </c:ext>
                  </c:extLst>
                </c:dLbls>
                <c:cat>
                  <c:strRef>
                    <c:extLst xmlns:c15="http://schemas.microsoft.com/office/drawing/2012/chart">
                      <c:ext xmlns:c15="http://schemas.microsoft.com/office/drawing/2012/chart" uri="{02D57815-91ED-43cb-92C2-25804820EDAC}">
                        <c15:formulaRef>
                          <c15:sqref>Sheet1!$A$2:$A$5</c15:sqref>
                        </c15:formulaRef>
                      </c:ext>
                    </c:extLst>
                    <c:strCache>
                      <c:ptCount val="3"/>
                      <c:pt idx="0">
                        <c:v>Lorem ipsum</c:v>
                      </c:pt>
                      <c:pt idx="1">
                        <c:v>Dolor</c:v>
                      </c:pt>
                      <c:pt idx="2">
                        <c:v>Sit amet</c:v>
                      </c:pt>
                    </c:strCache>
                  </c:strRef>
                </c:cat>
                <c:val>
                  <c:numRef>
                    <c:extLst xmlns:c15="http://schemas.microsoft.com/office/drawing/2012/chart">
                      <c:ext xmlns:c15="http://schemas.microsoft.com/office/drawing/2012/chart" uri="{02D57815-91ED-43cb-92C2-25804820EDAC}">
                        <c15:formulaRef>
                          <c15:sqref>Sheet1!$D$2:$D$5</c15:sqref>
                        </c15:formulaRef>
                      </c:ext>
                    </c:extLst>
                    <c:numCache>
                      <c:formatCode>General</c:formatCode>
                      <c:ptCount val="3"/>
                      <c:pt idx="0">
                        <c:v>2</c:v>
                      </c:pt>
                      <c:pt idx="1">
                        <c:v>2</c:v>
                      </c:pt>
                      <c:pt idx="2">
                        <c:v>3</c:v>
                      </c:pt>
                    </c:numCache>
                  </c:numRef>
                </c:val>
                <c:extLst xmlns:c15="http://schemas.microsoft.com/office/drawing/2012/chart">
                  <c:ext xmlns:c16="http://schemas.microsoft.com/office/drawing/2014/chart" uri="{C3380CC4-5D6E-409C-BE32-E72D297353CC}">
                    <c16:uniqueId val="{00000002-F6BA-47F5-83C0-B5A24DCBB476}"/>
                  </c:ext>
                </c:extLst>
              </c15:ser>
            </c15:filteredBarSeries>
          </c:ext>
        </c:extLst>
      </c:barChart>
      <c:catAx>
        <c:axId val="7879237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ea"/>
                <a:sym typeface="+mn-lt"/>
              </a:defRPr>
            </a:pPr>
            <a:endParaRPr lang="zh-CN"/>
          </a:p>
        </c:txPr>
        <c:crossAx val="803004416"/>
        <c:crosses val="autoZero"/>
        <c:auto val="1"/>
        <c:lblAlgn val="ctr"/>
        <c:lblOffset val="100"/>
        <c:noMultiLvlLbl val="0"/>
      </c:catAx>
      <c:valAx>
        <c:axId val="803004416"/>
        <c:scaling>
          <c:orientation val="minMax"/>
        </c:scaling>
        <c:delete val="1"/>
        <c:axPos val="b"/>
        <c:numFmt formatCode="General" sourceLinked="1"/>
        <c:majorTickMark val="none"/>
        <c:minorTickMark val="none"/>
        <c:tickLblPos val="nextTo"/>
        <c:crossAx val="787923712"/>
        <c:crosses val="autoZero"/>
        <c:crossBetween val="between"/>
      </c:valAx>
      <c:spPr>
        <a:noFill/>
        <a:ln>
          <a:noFill/>
        </a:ln>
        <a:effectLst/>
      </c:spPr>
    </c:plotArea>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系列 1</c:v>
                </c:pt>
              </c:strCache>
            </c:strRef>
          </c:tx>
          <c:spPr>
            <a:ln w="12700" cap="rnd" cmpd="sng" algn="ctr">
              <a:solidFill>
                <a:schemeClr val="bg1"/>
              </a:solidFill>
              <a:prstDash val="solid"/>
              <a:round/>
            </a:ln>
            <a:effectLst/>
          </c:spPr>
          <c:marker>
            <c:symbol val="circle"/>
            <c:size val="7"/>
            <c:spPr>
              <a:solidFill>
                <a:schemeClr val="tx1"/>
              </a:solidFill>
              <a:ln w="12700" cap="flat" cmpd="sng" algn="ctr">
                <a:solidFill>
                  <a:schemeClr val="bg1"/>
                </a:solidFill>
                <a:prstDash val="solid"/>
                <a:round/>
              </a:ln>
              <a:effectLst/>
            </c:spPr>
          </c:marker>
          <c:cat>
            <c:strRef>
              <c:f>Sheet1!$A$2:$A$7</c:f>
              <c:strCache>
                <c:ptCount val="6"/>
                <c:pt idx="0">
                  <c:v>类别 1</c:v>
                </c:pt>
                <c:pt idx="1">
                  <c:v>类别 2</c:v>
                </c:pt>
                <c:pt idx="2">
                  <c:v>类别 3</c:v>
                </c:pt>
                <c:pt idx="3">
                  <c:v>类别 4</c:v>
                </c:pt>
                <c:pt idx="4">
                  <c:v>类别 5</c:v>
                </c:pt>
                <c:pt idx="5">
                  <c:v>类别 6</c:v>
                </c:pt>
              </c:strCache>
            </c:strRef>
          </c:cat>
          <c:val>
            <c:numRef>
              <c:f>Sheet1!$B$2:$B$7</c:f>
              <c:numCache>
                <c:formatCode>General</c:formatCode>
                <c:ptCount val="6"/>
                <c:pt idx="0">
                  <c:v>4.3</c:v>
                </c:pt>
                <c:pt idx="1">
                  <c:v>2.5</c:v>
                </c:pt>
                <c:pt idx="2">
                  <c:v>3.5</c:v>
                </c:pt>
                <c:pt idx="3">
                  <c:v>2</c:v>
                </c:pt>
                <c:pt idx="4">
                  <c:v>5.5</c:v>
                </c:pt>
                <c:pt idx="5">
                  <c:v>3.5</c:v>
                </c:pt>
              </c:numCache>
            </c:numRef>
          </c:val>
          <c:smooth val="0"/>
          <c:extLst>
            <c:ext xmlns:c16="http://schemas.microsoft.com/office/drawing/2014/chart" uri="{C3380CC4-5D6E-409C-BE32-E72D297353CC}">
              <c16:uniqueId val="{00000000-EFFF-4700-B214-36B02F2FAF75}"/>
            </c:ext>
          </c:extLst>
        </c:ser>
        <c:ser>
          <c:idx val="1"/>
          <c:order val="1"/>
          <c:tx>
            <c:strRef>
              <c:f>Sheet1!$C$1</c:f>
              <c:strCache>
                <c:ptCount val="1"/>
                <c:pt idx="0">
                  <c:v>系列 2</c:v>
                </c:pt>
              </c:strCache>
            </c:strRef>
          </c:tx>
          <c:spPr>
            <a:ln w="12700" cap="rnd" cmpd="sng" algn="ctr">
              <a:solidFill>
                <a:srgbClr val="84FFFF"/>
              </a:solidFill>
              <a:prstDash val="solid"/>
              <a:round/>
            </a:ln>
            <a:effectLst/>
          </c:spPr>
          <c:marker>
            <c:symbol val="circle"/>
            <c:size val="7"/>
            <c:spPr>
              <a:solidFill>
                <a:schemeClr val="tx1"/>
              </a:solidFill>
              <a:ln w="9525" cap="flat" cmpd="sng" algn="ctr">
                <a:solidFill>
                  <a:srgbClr val="84FFFF"/>
                </a:solidFill>
                <a:prstDash val="solid"/>
                <a:round/>
              </a:ln>
              <a:effectLst/>
            </c:spPr>
          </c:marker>
          <c:cat>
            <c:strRef>
              <c:f>Sheet1!$A$2:$A$7</c:f>
              <c:strCache>
                <c:ptCount val="6"/>
                <c:pt idx="0">
                  <c:v>类别 1</c:v>
                </c:pt>
                <c:pt idx="1">
                  <c:v>类别 2</c:v>
                </c:pt>
                <c:pt idx="2">
                  <c:v>类别 3</c:v>
                </c:pt>
                <c:pt idx="3">
                  <c:v>类别 4</c:v>
                </c:pt>
                <c:pt idx="4">
                  <c:v>类别 5</c:v>
                </c:pt>
                <c:pt idx="5">
                  <c:v>类别 6</c:v>
                </c:pt>
              </c:strCache>
            </c:strRef>
          </c:cat>
          <c:val>
            <c:numRef>
              <c:f>Sheet1!$C$2:$C$7</c:f>
              <c:numCache>
                <c:formatCode>General</c:formatCode>
                <c:ptCount val="6"/>
                <c:pt idx="0">
                  <c:v>2.4</c:v>
                </c:pt>
                <c:pt idx="1">
                  <c:v>4.4000000000000004</c:v>
                </c:pt>
                <c:pt idx="2">
                  <c:v>1.8</c:v>
                </c:pt>
                <c:pt idx="3">
                  <c:v>4</c:v>
                </c:pt>
                <c:pt idx="4">
                  <c:v>3.4</c:v>
                </c:pt>
                <c:pt idx="5">
                  <c:v>4.2</c:v>
                </c:pt>
              </c:numCache>
            </c:numRef>
          </c:val>
          <c:smooth val="0"/>
          <c:extLst>
            <c:ext xmlns:c16="http://schemas.microsoft.com/office/drawing/2014/chart" uri="{C3380CC4-5D6E-409C-BE32-E72D297353CC}">
              <c16:uniqueId val="{00000001-EFFF-4700-B214-36B02F2FAF75}"/>
            </c:ext>
          </c:extLst>
        </c:ser>
        <c:ser>
          <c:idx val="2"/>
          <c:order val="2"/>
          <c:tx>
            <c:strRef>
              <c:f>Sheet1!$D$1</c:f>
              <c:strCache>
                <c:ptCount val="1"/>
                <c:pt idx="0">
                  <c:v>系列 3</c:v>
                </c:pt>
              </c:strCache>
            </c:strRef>
          </c:tx>
          <c:spPr>
            <a:ln w="12700" cap="rnd" cmpd="sng" algn="ctr">
              <a:solidFill>
                <a:srgbClr val="00B0F0"/>
              </a:solidFill>
              <a:prstDash val="solid"/>
              <a:round/>
            </a:ln>
            <a:effectLst/>
          </c:spPr>
          <c:marker>
            <c:symbol val="circle"/>
            <c:size val="7"/>
            <c:spPr>
              <a:solidFill>
                <a:schemeClr val="tx1"/>
              </a:solidFill>
              <a:ln w="12700" cap="flat" cmpd="sng" algn="ctr">
                <a:solidFill>
                  <a:srgbClr val="00B0F0"/>
                </a:solidFill>
                <a:prstDash val="solid"/>
                <a:round/>
              </a:ln>
              <a:effectLst/>
            </c:spPr>
          </c:marker>
          <c:cat>
            <c:strRef>
              <c:f>Sheet1!$A$2:$A$7</c:f>
              <c:strCache>
                <c:ptCount val="6"/>
                <c:pt idx="0">
                  <c:v>类别 1</c:v>
                </c:pt>
                <c:pt idx="1">
                  <c:v>类别 2</c:v>
                </c:pt>
                <c:pt idx="2">
                  <c:v>类别 3</c:v>
                </c:pt>
                <c:pt idx="3">
                  <c:v>类别 4</c:v>
                </c:pt>
                <c:pt idx="4">
                  <c:v>类别 5</c:v>
                </c:pt>
                <c:pt idx="5">
                  <c:v>类别 6</c:v>
                </c:pt>
              </c:strCache>
            </c:strRef>
          </c:cat>
          <c:val>
            <c:numRef>
              <c:f>Sheet1!$D$2:$D$7</c:f>
              <c:numCache>
                <c:formatCode>General</c:formatCode>
                <c:ptCount val="6"/>
                <c:pt idx="0">
                  <c:v>2</c:v>
                </c:pt>
                <c:pt idx="1">
                  <c:v>2</c:v>
                </c:pt>
                <c:pt idx="2">
                  <c:v>3</c:v>
                </c:pt>
                <c:pt idx="3">
                  <c:v>5</c:v>
                </c:pt>
                <c:pt idx="4">
                  <c:v>4</c:v>
                </c:pt>
                <c:pt idx="5">
                  <c:v>2</c:v>
                </c:pt>
              </c:numCache>
            </c:numRef>
          </c:val>
          <c:smooth val="0"/>
          <c:extLst>
            <c:ext xmlns:c16="http://schemas.microsoft.com/office/drawing/2014/chart" uri="{C3380CC4-5D6E-409C-BE32-E72D297353CC}">
              <c16:uniqueId val="{00000002-EFFF-4700-B214-36B02F2FAF75}"/>
            </c:ext>
          </c:extLst>
        </c:ser>
        <c:dLbls>
          <c:showLegendKey val="0"/>
          <c:showVal val="0"/>
          <c:showCatName val="0"/>
          <c:showSerName val="0"/>
          <c:showPercent val="0"/>
          <c:showBubbleSize val="0"/>
        </c:dLbls>
        <c:marker val="1"/>
        <c:smooth val="0"/>
        <c:axId val="641556864"/>
        <c:axId val="641558784"/>
      </c:lineChart>
      <c:catAx>
        <c:axId val="641556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ea"/>
                <a:sym typeface="+mn-lt"/>
              </a:defRPr>
            </a:pPr>
            <a:endParaRPr lang="zh-CN"/>
          </a:p>
        </c:txPr>
        <c:crossAx val="641558784"/>
        <c:crosses val="autoZero"/>
        <c:auto val="1"/>
        <c:lblAlgn val="ctr"/>
        <c:lblOffset val="100"/>
        <c:noMultiLvlLbl val="0"/>
      </c:catAx>
      <c:valAx>
        <c:axId val="641558784"/>
        <c:scaling>
          <c:orientation val="minMax"/>
        </c:scaling>
        <c:delete val="0"/>
        <c:axPos val="l"/>
        <c:majorGridlines>
          <c:spPr>
            <a:ln w="9525" cap="flat" cmpd="sng" algn="ctr">
              <a:solidFill>
                <a:schemeClr val="bg1">
                  <a:alpha val="22000"/>
                </a:schemeClr>
              </a:solidFill>
              <a:prstDash val="solid"/>
              <a:round/>
            </a:ln>
            <a:effectLst/>
          </c:spPr>
        </c:majorGridlines>
        <c:numFmt formatCode="General" sourceLinked="1"/>
        <c:majorTickMark val="none"/>
        <c:minorTickMark val="none"/>
        <c:tickLblPos val="nextTo"/>
        <c:spPr>
          <a:noFill/>
          <a:ln w="6350" cap="flat" cmpd="sng" algn="ctr">
            <a:no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ea"/>
                <a:sym typeface="+mn-lt"/>
              </a:defRPr>
            </a:pPr>
            <a:endParaRPr lang="zh-CN"/>
          </a:p>
        </c:txPr>
        <c:crossAx val="641556864"/>
        <c:crosses val="autoZero"/>
        <c:crossBetween val="between"/>
      </c:valAx>
      <c:spPr>
        <a:noFill/>
        <a:ln>
          <a:noFill/>
        </a:ln>
        <a:effectLst/>
      </c:spPr>
    </c:plotArea>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blipFill>
              <a:blip xmlns:r="http://schemas.openxmlformats.org/officeDocument/2006/relationships" r:embed="rId1"/>
              <a:stretch>
                <a:fillRect/>
              </a:stretch>
            </a:blipFill>
            <a:ln>
              <a:noFill/>
            </a:ln>
            <a:effectLst/>
          </c:spPr>
          <c:invertIfNegative val="0"/>
          <c:cat>
            <c:strRef>
              <c:f>Sheet1!$A$2:$A$5</c:f>
              <c:strCache>
                <c:ptCount val="4"/>
                <c:pt idx="0">
                  <c:v>类别 1</c:v>
                </c:pt>
                <c:pt idx="1">
                  <c:v>类别 2</c:v>
                </c:pt>
                <c:pt idx="2">
                  <c:v>类别 3</c:v>
                </c:pt>
                <c:pt idx="3">
                  <c:v>类别 4</c:v>
                </c:pt>
              </c:strCache>
            </c:strRef>
          </c:cat>
          <c:val>
            <c:numRef>
              <c:f>Sheet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CE6F-4170-91AE-C8FD8507A4AE}"/>
            </c:ext>
          </c:extLst>
        </c:ser>
        <c:dLbls>
          <c:showLegendKey val="0"/>
          <c:showVal val="0"/>
          <c:showCatName val="0"/>
          <c:showSerName val="0"/>
          <c:showPercent val="0"/>
          <c:showBubbleSize val="0"/>
        </c:dLbls>
        <c:gapWidth val="141"/>
        <c:overlap val="12"/>
        <c:axId val="1235527936"/>
        <c:axId val="1235542016"/>
      </c:barChart>
      <c:catAx>
        <c:axId val="1235527936"/>
        <c:scaling>
          <c:orientation val="minMax"/>
        </c:scaling>
        <c:delete val="0"/>
        <c:axPos val="b"/>
        <c:numFmt formatCode="General" sourceLinked="1"/>
        <c:majorTickMark val="none"/>
        <c:minorTickMark val="none"/>
        <c:tickLblPos val="nextTo"/>
        <c:spPr>
          <a:noFill/>
          <a:ln w="9525" cap="flat" cmpd="sng" algn="ctr">
            <a:solidFill>
              <a:schemeClr val="bg1">
                <a:alpha val="52000"/>
              </a:schemeClr>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ea"/>
                <a:sym typeface="+mn-lt"/>
              </a:defRPr>
            </a:pPr>
            <a:endParaRPr lang="zh-CN"/>
          </a:p>
        </c:txPr>
        <c:crossAx val="1235542016"/>
        <c:crosses val="autoZero"/>
        <c:auto val="1"/>
        <c:lblAlgn val="ctr"/>
        <c:lblOffset val="100"/>
        <c:noMultiLvlLbl val="0"/>
      </c:catAx>
      <c:valAx>
        <c:axId val="1235542016"/>
        <c:scaling>
          <c:orientation val="minMax"/>
        </c:scaling>
        <c:delete val="0"/>
        <c:axPos val="l"/>
        <c:majorGridlines>
          <c:spPr>
            <a:ln w="9525" cap="flat" cmpd="sng" algn="ctr">
              <a:solidFill>
                <a:schemeClr val="bg1">
                  <a:alpha val="7000"/>
                </a:schemeClr>
              </a:solidFill>
              <a:prstDash val="solid"/>
              <a:round/>
            </a:ln>
            <a:effectLst/>
          </c:spPr>
        </c:majorGridlines>
        <c:numFmt formatCode="General" sourceLinked="1"/>
        <c:majorTickMark val="none"/>
        <c:minorTickMark val="none"/>
        <c:tickLblPos val="nextTo"/>
        <c:spPr>
          <a:noFill/>
          <a:ln w="9525" cap="flat" cmpd="sng" algn="ctr">
            <a:solidFill>
              <a:schemeClr val="bg1">
                <a:alpha val="48000"/>
              </a:schemeClr>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ea"/>
                <a:sym typeface="+mn-lt"/>
              </a:defRPr>
            </a:pPr>
            <a:endParaRPr lang="zh-CN"/>
          </a:p>
        </c:txPr>
        <c:crossAx val="1235527936"/>
        <c:crosses val="autoZero"/>
        <c:crossBetween val="between"/>
      </c:valAx>
      <c:spPr>
        <a:noFill/>
        <a:ln>
          <a:noFill/>
        </a:ln>
        <a:effectLst/>
      </c:spPr>
    </c:plotArea>
    <c:plotVisOnly val="1"/>
    <c:dispBlanksAs val="gap"/>
    <c:showDLblsOverMax val="0"/>
  </c:chart>
  <c:spPr>
    <a:noFill/>
    <a:ln>
      <a:noFill/>
    </a:ln>
    <a:effectLst/>
  </c:spPr>
  <c:txPr>
    <a:bodyPr/>
    <a:lstStyle/>
    <a:p>
      <a:pPr>
        <a:defRPr lang="zh-CN">
          <a:latin typeface="+mn-lt"/>
          <a:ea typeface="+mn-ea"/>
          <a:cs typeface="+mn-ea"/>
          <a:sym typeface="+mn-lt"/>
        </a:defRPr>
      </a:pPr>
      <a:endParaRPr lang="zh-CN"/>
    </a:p>
  </c:txPr>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t>2023-01-10</a:t>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t>‹#›</a:t>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t>2023-01-10</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hyperlink" Target="http://www.1ppt.com/hangye/" TargetMode="Externa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pic>
        <p:nvPicPr>
          <p:cNvPr id="3" name="图片 2" descr="e7d195523061f1c03a90ee8e42cb24248e56383cd534985688F9F494128731F165EE95AB4B0C0A38076AAEA07667B1565C446FC45FF01DFB0E885BCDBDF3A284F3DB14DA61DD97F0BAB2E6C668FB493186CEC15B4138E2EB7ACC61BE468C760AA77C5B76FA97AE50441B226D62B22F1BC39ED56557876ED49A3BE39A5E7D76542E9F57C2DDB8BBB4D68B67306C2CDC9B"/>
          <p:cNvPicPr>
            <a:picLocks noChangeAspect="1"/>
          </p:cNvPicPr>
          <p:nvPr userDrawn="1"/>
        </p:nvPicPr>
        <p:blipFill rotWithShape="1">
          <a:blip r:embed="rId2" cstate="screen"/>
          <a:srcRect/>
          <a:stretch>
            <a:fillRect/>
          </a:stretch>
        </p:blipFill>
        <p:spPr>
          <a:xfrm rot="16200000">
            <a:off x="2655757" y="-2655757"/>
            <a:ext cx="6880485" cy="12192000"/>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1600203"/>
            <a:ext cx="10972800" cy="4525963"/>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3"/>
            <a:ext cx="2844800" cy="365125"/>
          </a:xfrm>
          <a:prstGeom prst="rect">
            <a:avLst/>
          </a:prstGeom>
        </p:spPr>
        <p:txBody>
          <a:bodyPr/>
          <a:lstStyle/>
          <a:p>
            <a:fld id="{2E3AAC11-D570-4EA9-AFC0-30FB72BA45EB}" type="datetimeFigureOut">
              <a:rPr lang="zh-CN" altLang="en-US" smtClean="0">
                <a:solidFill>
                  <a:prstClr val="black"/>
                </a:solidFill>
              </a:rPr>
              <a:t>2023-01-10</a:t>
            </a:fld>
            <a:endParaRPr lang="zh-CN" altLang="en-US">
              <a:solidFill>
                <a:prstClr val="black"/>
              </a:solidFill>
            </a:endParaRPr>
          </a:p>
        </p:txBody>
      </p:sp>
      <p:sp>
        <p:nvSpPr>
          <p:cNvPr id="5" name="页脚占位符 4"/>
          <p:cNvSpPr>
            <a:spLocks noGrp="1"/>
          </p:cNvSpPr>
          <p:nvPr>
            <p:ph type="ftr" sz="quarter" idx="11"/>
          </p:nvPr>
        </p:nvSpPr>
        <p:spPr>
          <a:xfrm>
            <a:off x="4165600" y="6356353"/>
            <a:ext cx="3860800" cy="365125"/>
          </a:xfrm>
          <a:prstGeom prst="rect">
            <a:avLst/>
          </a:prstGeom>
        </p:spPr>
        <p:txBody>
          <a:bodyPr/>
          <a:lstStyle/>
          <a:p>
            <a:endParaRPr lang="zh-CN" altLang="en-US">
              <a:solidFill>
                <a:prstClr val="black"/>
              </a:solidFill>
            </a:endParaRPr>
          </a:p>
        </p:txBody>
      </p:sp>
      <p:sp>
        <p:nvSpPr>
          <p:cNvPr id="6" name="灯片编号占位符 5"/>
          <p:cNvSpPr>
            <a:spLocks noGrp="1"/>
          </p:cNvSpPr>
          <p:nvPr>
            <p:ph type="sldNum" sz="quarter" idx="12"/>
          </p:nvPr>
        </p:nvSpPr>
        <p:spPr>
          <a:xfrm>
            <a:off x="8737600" y="6356353"/>
            <a:ext cx="2844800" cy="365125"/>
          </a:xfrm>
          <a:prstGeom prst="rect">
            <a:avLst/>
          </a:prstGeom>
        </p:spPr>
        <p:txBody>
          <a:bodyPr/>
          <a:lstStyle/>
          <a:p>
            <a:fld id="{55ECCFAA-F4FB-487C-9F1E-C8836D0C3DC9}" type="slidenum">
              <a:rPr lang="zh-CN" altLang="en-US" smtClean="0">
                <a:solidFill>
                  <a:prstClr val="black"/>
                </a:solidFill>
              </a:rPr>
              <a:t>‹#›</a:t>
            </a:fld>
            <a:endParaRPr lang="zh-CN" altLang="en-US">
              <a:solidFill>
                <a:prstClr val="black"/>
              </a:solidFil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41"/>
            <a:ext cx="2743200" cy="58515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09600" y="274641"/>
            <a:ext cx="8026400" cy="5851525"/>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609600" y="6356353"/>
            <a:ext cx="2844800" cy="365125"/>
          </a:xfrm>
          <a:prstGeom prst="rect">
            <a:avLst/>
          </a:prstGeom>
        </p:spPr>
        <p:txBody>
          <a:bodyPr/>
          <a:lstStyle/>
          <a:p>
            <a:fld id="{2E3AAC11-D570-4EA9-AFC0-30FB72BA45EB}" type="datetimeFigureOut">
              <a:rPr lang="zh-CN" altLang="en-US" smtClean="0">
                <a:solidFill>
                  <a:prstClr val="black"/>
                </a:solidFill>
              </a:rPr>
              <a:t>2023-01-10</a:t>
            </a:fld>
            <a:endParaRPr lang="zh-CN" altLang="en-US">
              <a:solidFill>
                <a:prstClr val="black"/>
              </a:solidFill>
            </a:endParaRPr>
          </a:p>
        </p:txBody>
      </p:sp>
      <p:sp>
        <p:nvSpPr>
          <p:cNvPr id="5" name="页脚占位符 4"/>
          <p:cNvSpPr>
            <a:spLocks noGrp="1"/>
          </p:cNvSpPr>
          <p:nvPr>
            <p:ph type="ftr" sz="quarter" idx="11"/>
          </p:nvPr>
        </p:nvSpPr>
        <p:spPr>
          <a:xfrm>
            <a:off x="4165600" y="6356353"/>
            <a:ext cx="3860800" cy="365125"/>
          </a:xfrm>
          <a:prstGeom prst="rect">
            <a:avLst/>
          </a:prstGeom>
        </p:spPr>
        <p:txBody>
          <a:bodyPr/>
          <a:lstStyle/>
          <a:p>
            <a:endParaRPr lang="zh-CN" altLang="en-US">
              <a:solidFill>
                <a:prstClr val="black"/>
              </a:solidFill>
            </a:endParaRPr>
          </a:p>
        </p:txBody>
      </p:sp>
      <p:sp>
        <p:nvSpPr>
          <p:cNvPr id="6" name="灯片编号占位符 5"/>
          <p:cNvSpPr>
            <a:spLocks noGrp="1"/>
          </p:cNvSpPr>
          <p:nvPr>
            <p:ph type="sldNum" sz="quarter" idx="12"/>
          </p:nvPr>
        </p:nvSpPr>
        <p:spPr>
          <a:xfrm>
            <a:off x="8737600" y="6356353"/>
            <a:ext cx="2844800" cy="365125"/>
          </a:xfrm>
          <a:prstGeom prst="rect">
            <a:avLst/>
          </a:prstGeom>
        </p:spPr>
        <p:txBody>
          <a:bodyPr/>
          <a:lstStyle/>
          <a:p>
            <a:fld id="{55ECCFAA-F4FB-487C-9F1E-C8836D0C3DC9}" type="slidenum">
              <a:rPr lang="zh-CN" altLang="en-US" smtClean="0">
                <a:solidFill>
                  <a:prstClr val="black"/>
                </a:solidFill>
              </a:rPr>
              <a:t>‹#›</a:t>
            </a:fld>
            <a:endParaRPr lang="zh-CN" altLang="en-US">
              <a:solidFill>
                <a:prstClr val="black"/>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标题幻灯片">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395413" y="-927084"/>
            <a:ext cx="14649451" cy="82229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标题幻灯片">
    <p:spTree>
      <p:nvGrpSpPr>
        <p:cNvPr id="1" name=""/>
        <p:cNvGrpSpPr/>
        <p:nvPr/>
      </p:nvGrpSpPr>
      <p:grpSpPr>
        <a:xfrm>
          <a:off x="0" y="0"/>
          <a:ext cx="0" cy="0"/>
          <a:chOff x="0" y="0"/>
          <a:chExt cx="0" cy="0"/>
        </a:xfrm>
      </p:grpSpPr>
      <p:pic>
        <p:nvPicPr>
          <p:cNvPr id="3" name="图片 2" descr="e7d195523061f1c03a90ee8e42cb24248e56383cd534985688F9F494128731F165EE95AB4B0C0A38076AAEA07667B1565C446FC45FF01DFB0E885BCDBDF3A284F3DB14DA61DD97F0BAB2E6C668FB493186CEC15B4138E2EB7ACC61BE468C760AA77C5B76FA97AE50441B226D62B22F1BC39ED56557876ED49A3BE39A5E7D76542E9F57C2DDB8BBB4D68B67306C2CDC9B"/>
          <p:cNvPicPr>
            <a:picLocks noChangeAspect="1"/>
          </p:cNvPicPr>
          <p:nvPr userDrawn="1"/>
        </p:nvPicPr>
        <p:blipFill rotWithShape="1">
          <a:blip r:embed="rId2" cstate="screen">
            <a:extLst>
              <a:ext uri="{BEBA8EAE-BF5A-486C-A8C5-ECC9F3942E4B}">
                <a14:imgProps xmlns:a14="http://schemas.microsoft.com/office/drawing/2010/main">
                  <a14:imgLayer r:embed="rId3">
                    <a14:imgEffect>
                      <a14:artisticBlur radius="30"/>
                    </a14:imgEffect>
                  </a14:imgLayer>
                </a14:imgProps>
              </a:ext>
            </a:extLst>
          </a:blip>
          <a:srcRect b="-1"/>
          <a:stretch>
            <a:fillRect/>
          </a:stretch>
        </p:blipFill>
        <p:spPr>
          <a:xfrm rot="16200000">
            <a:off x="2655757" y="-2655757"/>
            <a:ext cx="6880485" cy="121920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标题和内容">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日期占位符 4"/>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AD4EBCA-B3C3-4CFC-9799-313837708080}" type="slidenum">
              <a:rPr lang="zh-CN" altLang="en-US" smtClean="0"/>
              <a:t>‹#›</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1_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7" name="日期占位符 6"/>
          <p:cNvSpPr>
            <a:spLocks noGrp="1"/>
          </p:cNvSpPr>
          <p:nvPr>
            <p:ph type="dt" sz="half" idx="10"/>
          </p:nvPr>
        </p:nvSpPr>
        <p:spPr/>
        <p:txBody>
          <a:bodyPr/>
          <a:lstStyle/>
          <a:p>
            <a:fld id="{5EA58C5A-D00D-4BF6-A4D4-1C867B1C7F79}" type="datetimeFigureOut">
              <a:rPr lang="zh-CN" altLang="en-US" smtClean="0"/>
              <a:t>2023-01-10</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5AD4EBCA-B3C3-4CFC-9799-313837708080}" type="slidenum">
              <a:rPr lang="zh-CN" altLang="en-US" smtClean="0"/>
              <a:t>‹#›</a:t>
            </a:fld>
            <a:endParaRPr lang="zh-CN" altLang="en-US"/>
          </a:p>
        </p:txBody>
      </p:sp>
      <p:sp>
        <p:nvSpPr>
          <p:cNvPr id="11" name="TextBox 10"/>
          <p:cNvSpPr txBox="1"/>
          <p:nvPr userDrawn="1"/>
        </p:nvSpPr>
        <p:spPr>
          <a:xfrm>
            <a:off x="1602904" y="6739570"/>
            <a:ext cx="1440159" cy="121920"/>
          </a:xfrm>
          <a:prstGeom prst="rect">
            <a:avLst/>
          </a:prstGeom>
          <a:noFill/>
        </p:spPr>
        <p:txBody>
          <a:bodyPr wrap="square" rtlCol="0">
            <a:spAutoFit/>
          </a:bodyPr>
          <a:lstStyle/>
          <a:p>
            <a:pPr marL="0" marR="0" lvl="0" indent="0" defTabSz="914400" eaLnBrk="1" fontAlgn="auto" latinLnBrk="0" hangingPunct="1">
              <a:lnSpc>
                <a:spcPct val="200000"/>
              </a:lnSpc>
              <a:spcBef>
                <a:spcPts val="0"/>
              </a:spcBef>
              <a:spcAft>
                <a:spcPts val="0"/>
              </a:spcAft>
              <a:buClrTx/>
              <a:buSzTx/>
              <a:buFontTx/>
              <a:buNone/>
              <a:defRPr/>
            </a:pPr>
            <a:r>
              <a:rPr kumimoji="0" lang="zh-CN" altLang="en-US" sz="100" b="0" i="0" u="none" strike="noStrike" kern="0" cap="none" spc="0" normalizeH="0" baseline="0" noProof="0" dirty="0" smtClean="0">
                <a:ln>
                  <a:noFill/>
                </a:ln>
                <a:solidFill>
                  <a:prstClr val="black"/>
                </a:solidFill>
                <a:effectLst/>
                <a:uLnTx/>
                <a:uFillTx/>
                <a:hlinkClick r:id="rId2"/>
              </a:rPr>
              <a:t>行业</a:t>
            </a:r>
            <a:r>
              <a:rPr kumimoji="0" lang="en-US" altLang="zh-CN" sz="100" b="0" i="0" u="none" strike="noStrike" kern="0" cap="none" spc="0" normalizeH="0" baseline="0" noProof="0" dirty="0" smtClean="0">
                <a:ln>
                  <a:noFill/>
                </a:ln>
                <a:solidFill>
                  <a:prstClr val="black"/>
                </a:solidFill>
                <a:effectLst/>
                <a:uLnTx/>
                <a:uFillTx/>
                <a:hlinkClick r:id="rId2"/>
              </a:rPr>
              <a:t>PPT</a:t>
            </a:r>
            <a:r>
              <a:rPr kumimoji="0" lang="zh-CN" altLang="en-US" sz="100" b="0" i="0" u="none" strike="noStrike" kern="0" cap="none" spc="0" normalizeH="0" baseline="0" noProof="0" dirty="0" smtClean="0">
                <a:ln>
                  <a:noFill/>
                </a:ln>
                <a:solidFill>
                  <a:prstClr val="black"/>
                </a:solidFill>
                <a:effectLst/>
                <a:uLnTx/>
                <a:uFillTx/>
                <a:hlinkClick r:id="rId2"/>
              </a:rPr>
              <a:t>模板</a:t>
            </a:r>
            <a:r>
              <a:rPr kumimoji="0" lang="en-US" altLang="zh-CN" sz="100" b="0" i="0" u="none" strike="noStrike" kern="0" cap="none" spc="0" normalizeH="0" baseline="0" noProof="0" dirty="0" smtClean="0">
                <a:ln>
                  <a:noFill/>
                </a:ln>
                <a:solidFill>
                  <a:prstClr val="black"/>
                </a:solidFill>
                <a:effectLst/>
                <a:uLnTx/>
                <a:uFillTx/>
              </a:rPr>
              <a:t>http:// www.2ppt.com/hangye/</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EA58C5A-D00D-4BF6-A4D4-1C867B1C7F79}" type="datetimeFigureOut">
              <a:rPr lang="zh-CN" altLang="en-US" smtClean="0"/>
              <a:t>2023-01-10</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D4EBCA-B3C3-4CFC-9799-313837708080}"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3.xml"/><Relationship Id="rId6" Type="http://schemas.microsoft.com/office/2007/relationships/hdphoto" Target="../media/hdphoto4.wdp"/><Relationship Id="rId5" Type="http://schemas.openxmlformats.org/officeDocument/2006/relationships/image" Target="../media/image45.png"/><Relationship Id="rId4" Type="http://schemas.microsoft.com/office/2007/relationships/hdphoto" Target="../media/hdphoto3.wdp"/></Relationships>
</file>

<file path=ppt/slides/_rels/slide1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xml"/><Relationship Id="rId4" Type="http://schemas.openxmlformats.org/officeDocument/2006/relationships/image" Target="../media/image43.png"/></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png"/><Relationship Id="rId1" Type="http://schemas.openxmlformats.org/officeDocument/2006/relationships/slideLayout" Target="../slideLayouts/slideLayout3.x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image" Target="../media/image43.png"/><Relationship Id="rId4" Type="http://schemas.openxmlformats.org/officeDocument/2006/relationships/image" Target="../media/image50.png"/><Relationship Id="rId9" Type="http://schemas.openxmlformats.org/officeDocument/2006/relationships/image" Target="../media/image55.png"/></Relationships>
</file>

<file path=ppt/slides/_rels/slide14.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43.png"/><Relationship Id="rId1" Type="http://schemas.openxmlformats.org/officeDocument/2006/relationships/slideLayout" Target="../slideLayouts/slideLayout3.xml"/><Relationship Id="rId5" Type="http://schemas.microsoft.com/office/2007/relationships/hdphoto" Target="../media/hdphoto5.wdp"/><Relationship Id="rId4" Type="http://schemas.openxmlformats.org/officeDocument/2006/relationships/image" Target="../media/image57.png"/></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xml"/><Relationship Id="rId4" Type="http://schemas.microsoft.com/office/2007/relationships/hdphoto" Target="../media/hdphoto6.wdp"/></Relationships>
</file>

<file path=ppt/slides/_rels/slide1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8.png"/><Relationship Id="rId1" Type="http://schemas.openxmlformats.org/officeDocument/2006/relationships/slideLayout" Target="../slideLayouts/slideLayout3.xml"/><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microsoft.com/office/2007/relationships/hdphoto" Target="../media/hdphoto7.wdp"/><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1.png"/><Relationship Id="rId7"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58.png"/><Relationship Id="rId1" Type="http://schemas.openxmlformats.org/officeDocument/2006/relationships/slideLayout" Target="../slideLayouts/slideLayout3.xml"/><Relationship Id="rId5" Type="http://schemas.openxmlformats.org/officeDocument/2006/relationships/image" Target="../media/image67.png"/><Relationship Id="rId4" Type="http://schemas.openxmlformats.org/officeDocument/2006/relationships/image" Target="../media/image66.png"/></Relationships>
</file>

<file path=ppt/slides/_rels/slide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2.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3.xml"/><Relationship Id="rId4" Type="http://schemas.microsoft.com/office/2007/relationships/hdphoto" Target="../media/hdphoto8.wdp"/></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68.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chart" Target="../charts/chart2.xml"/><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20.png"/><Relationship Id="rId11" Type="http://schemas.microsoft.com/office/2007/relationships/hdphoto" Target="../media/hdphoto2.wdp"/><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3.xml"/><Relationship Id="rId6" Type="http://schemas.openxmlformats.org/officeDocument/2006/relationships/image" Target="../media/image29.png"/><Relationship Id="rId11" Type="http://schemas.openxmlformats.org/officeDocument/2006/relationships/image" Target="../media/image33.png"/><Relationship Id="rId5" Type="http://schemas.openxmlformats.org/officeDocument/2006/relationships/image" Target="../media/image28.png"/><Relationship Id="rId10" Type="http://schemas.openxmlformats.org/officeDocument/2006/relationships/image" Target="../media/image15.png"/><Relationship Id="rId4" Type="http://schemas.openxmlformats.org/officeDocument/2006/relationships/image" Target="../media/image27.png"/><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4.png"/><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image" Target="../media/image15.png"/><Relationship Id="rId1" Type="http://schemas.openxmlformats.org/officeDocument/2006/relationships/slideLayout" Target="../slideLayouts/slideLayout3.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3.png"/><Relationship Id="rId9" Type="http://schemas.openxmlformats.org/officeDocument/2006/relationships/image" Target="../media/image39.png"/></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16.png"/><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文本框 54"/>
          <p:cNvSpPr txBox="1"/>
          <p:nvPr/>
        </p:nvSpPr>
        <p:spPr>
          <a:xfrm>
            <a:off x="2424668" y="2665410"/>
            <a:ext cx="202589" cy="214196"/>
          </a:xfrm>
          <a:custGeom>
            <a:avLst/>
            <a:gdLst/>
            <a:ahLst/>
            <a:cxnLst/>
            <a:rect l="l" t="t" r="r" b="b"/>
            <a:pathLst>
              <a:path w="484632" h="512398">
                <a:moveTo>
                  <a:pt x="7573" y="0"/>
                </a:moveTo>
                <a:cubicBezTo>
                  <a:pt x="98441" y="18511"/>
                  <a:pt x="174586" y="38704"/>
                  <a:pt x="236006" y="60579"/>
                </a:cubicBezTo>
                <a:cubicBezTo>
                  <a:pt x="297426" y="82455"/>
                  <a:pt x="346226" y="106014"/>
                  <a:pt x="382405" y="131255"/>
                </a:cubicBezTo>
                <a:cubicBezTo>
                  <a:pt x="418584" y="156496"/>
                  <a:pt x="444667" y="183841"/>
                  <a:pt x="460653" y="213289"/>
                </a:cubicBezTo>
                <a:cubicBezTo>
                  <a:pt x="476639" y="242737"/>
                  <a:pt x="484632" y="274289"/>
                  <a:pt x="484632" y="307944"/>
                </a:cubicBezTo>
                <a:cubicBezTo>
                  <a:pt x="484632" y="333185"/>
                  <a:pt x="478743" y="358426"/>
                  <a:pt x="466963" y="383668"/>
                </a:cubicBezTo>
                <a:cubicBezTo>
                  <a:pt x="455184" y="408909"/>
                  <a:pt x="440039" y="430785"/>
                  <a:pt x="421529" y="449295"/>
                </a:cubicBezTo>
                <a:cubicBezTo>
                  <a:pt x="403019" y="467805"/>
                  <a:pt x="381564" y="482950"/>
                  <a:pt x="357164" y="494729"/>
                </a:cubicBezTo>
                <a:cubicBezTo>
                  <a:pt x="332764" y="506508"/>
                  <a:pt x="307943" y="512398"/>
                  <a:pt x="282702" y="512398"/>
                </a:cubicBezTo>
                <a:cubicBezTo>
                  <a:pt x="254095" y="512398"/>
                  <a:pt x="230116" y="503143"/>
                  <a:pt x="210764" y="484632"/>
                </a:cubicBezTo>
                <a:cubicBezTo>
                  <a:pt x="191413" y="466122"/>
                  <a:pt x="175848" y="434150"/>
                  <a:pt x="164068" y="388716"/>
                </a:cubicBezTo>
                <a:cubicBezTo>
                  <a:pt x="147240" y="324771"/>
                  <a:pt x="124523" y="258303"/>
                  <a:pt x="95917" y="189310"/>
                </a:cubicBezTo>
                <a:cubicBezTo>
                  <a:pt x="67310" y="120317"/>
                  <a:pt x="35338" y="59738"/>
                  <a:pt x="0" y="7573"/>
                </a:cubicBezTo>
                <a:lnTo>
                  <a:pt x="7573" y="0"/>
                </a:lnTo>
                <a:close/>
              </a:path>
            </a:pathLst>
          </a:custGeom>
          <a:gradFill flip="none" rotWithShape="1">
            <a:gsLst>
              <a:gs pos="0">
                <a:schemeClr val="tx1">
                  <a:lumMod val="85000"/>
                  <a:lumOff val="15000"/>
                </a:schemeClr>
              </a:gs>
              <a:gs pos="74000">
                <a:schemeClr val="tx1">
                  <a:alpha val="0"/>
                </a:schemeClr>
              </a:gs>
            </a:gsLst>
            <a:lin ang="54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9900" b="1" dirty="0">
              <a:solidFill>
                <a:schemeClr val="bg1"/>
              </a:solidFill>
              <a:cs typeface="+mn-ea"/>
              <a:sym typeface="+mn-lt"/>
            </a:endParaRPr>
          </a:p>
        </p:txBody>
      </p:sp>
      <p:sp>
        <p:nvSpPr>
          <p:cNvPr id="56" name="文本框 55"/>
          <p:cNvSpPr txBox="1"/>
          <p:nvPr/>
        </p:nvSpPr>
        <p:spPr>
          <a:xfrm>
            <a:off x="4729913" y="2392507"/>
            <a:ext cx="479587" cy="760002"/>
          </a:xfrm>
          <a:custGeom>
            <a:avLst/>
            <a:gdLst/>
            <a:ahLst/>
            <a:cxnLst/>
            <a:rect l="l" t="t" r="r" b="b"/>
            <a:pathLst>
              <a:path w="923830" h="1463993">
                <a:moveTo>
                  <a:pt x="318040" y="0"/>
                </a:moveTo>
                <a:lnTo>
                  <a:pt x="658797" y="174165"/>
                </a:lnTo>
                <a:lnTo>
                  <a:pt x="560356" y="280178"/>
                </a:lnTo>
                <a:lnTo>
                  <a:pt x="560356" y="969264"/>
                </a:lnTo>
                <a:lnTo>
                  <a:pt x="916257" y="810244"/>
                </a:lnTo>
                <a:lnTo>
                  <a:pt x="923830" y="822865"/>
                </a:lnTo>
                <a:cubicBezTo>
                  <a:pt x="878396" y="876713"/>
                  <a:pt x="835906" y="925513"/>
                  <a:pt x="796362" y="969264"/>
                </a:cubicBezTo>
                <a:cubicBezTo>
                  <a:pt x="756817" y="1013016"/>
                  <a:pt x="718113" y="1054664"/>
                  <a:pt x="680252" y="1094208"/>
                </a:cubicBezTo>
                <a:cubicBezTo>
                  <a:pt x="642390" y="1133753"/>
                  <a:pt x="603687" y="1173298"/>
                  <a:pt x="564142" y="1212842"/>
                </a:cubicBezTo>
                <a:cubicBezTo>
                  <a:pt x="524597" y="1252387"/>
                  <a:pt x="481267" y="1294035"/>
                  <a:pt x="434149" y="1337786"/>
                </a:cubicBezTo>
                <a:lnTo>
                  <a:pt x="378619" y="1463993"/>
                </a:lnTo>
                <a:lnTo>
                  <a:pt x="151447" y="1151001"/>
                </a:lnTo>
                <a:cubicBezTo>
                  <a:pt x="195199" y="1124077"/>
                  <a:pt x="225488" y="1096733"/>
                  <a:pt x="242316" y="1068967"/>
                </a:cubicBezTo>
                <a:cubicBezTo>
                  <a:pt x="259144" y="1041202"/>
                  <a:pt x="267557" y="1006285"/>
                  <a:pt x="267557" y="964216"/>
                </a:cubicBezTo>
                <a:lnTo>
                  <a:pt x="267557" y="200037"/>
                </a:lnTo>
                <a:lnTo>
                  <a:pt x="0" y="200037"/>
                </a:lnTo>
                <a:lnTo>
                  <a:pt x="0" y="188679"/>
                </a:lnTo>
                <a:lnTo>
                  <a:pt x="227171" y="188679"/>
                </a:lnTo>
                <a:lnTo>
                  <a:pt x="318040" y="0"/>
                </a:lnTo>
                <a:close/>
              </a:path>
            </a:pathLst>
          </a:custGeom>
          <a:gradFill flip="none" rotWithShape="1">
            <a:gsLst>
              <a:gs pos="0">
                <a:schemeClr val="tx1">
                  <a:lumMod val="85000"/>
                  <a:lumOff val="15000"/>
                </a:schemeClr>
              </a:gs>
              <a:gs pos="74000">
                <a:schemeClr val="tx1">
                  <a:alpha val="0"/>
                </a:schemeClr>
              </a:gs>
            </a:gsLst>
            <a:lin ang="54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9900" b="1" dirty="0">
              <a:solidFill>
                <a:schemeClr val="bg1"/>
              </a:solidFill>
              <a:cs typeface="+mn-ea"/>
              <a:sym typeface="+mn-lt"/>
            </a:endParaRPr>
          </a:p>
        </p:txBody>
      </p:sp>
      <p:sp>
        <p:nvSpPr>
          <p:cNvPr id="57" name="文本框 56"/>
          <p:cNvSpPr txBox="1"/>
          <p:nvPr/>
        </p:nvSpPr>
        <p:spPr>
          <a:xfrm>
            <a:off x="2043238" y="3791988"/>
            <a:ext cx="910471" cy="92750"/>
          </a:xfrm>
          <a:custGeom>
            <a:avLst/>
            <a:gdLst/>
            <a:ahLst/>
            <a:cxnLst/>
            <a:rect l="l" t="t" r="r" b="b"/>
            <a:pathLst>
              <a:path w="641224" h="65322">
                <a:moveTo>
                  <a:pt x="561671" y="0"/>
                </a:moveTo>
                <a:lnTo>
                  <a:pt x="641224" y="58807"/>
                </a:lnTo>
                <a:cubicBezTo>
                  <a:pt x="641224" y="58807"/>
                  <a:pt x="635509" y="60979"/>
                  <a:pt x="624079" y="65322"/>
                </a:cubicBezTo>
                <a:lnTo>
                  <a:pt x="0" y="65322"/>
                </a:lnTo>
                <a:lnTo>
                  <a:pt x="0" y="62236"/>
                </a:lnTo>
                <a:lnTo>
                  <a:pt x="517094" y="62236"/>
                </a:lnTo>
                <a:lnTo>
                  <a:pt x="561671" y="0"/>
                </a:lnTo>
                <a:close/>
              </a:path>
            </a:pathLst>
          </a:custGeom>
          <a:gradFill flip="none" rotWithShape="1">
            <a:gsLst>
              <a:gs pos="0">
                <a:schemeClr val="tx1">
                  <a:lumMod val="85000"/>
                  <a:lumOff val="15000"/>
                </a:schemeClr>
              </a:gs>
              <a:gs pos="74000">
                <a:schemeClr val="tx1">
                  <a:alpha val="0"/>
                </a:schemeClr>
              </a:gs>
            </a:gsLst>
            <a:lin ang="54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5400" b="1" dirty="0">
              <a:solidFill>
                <a:schemeClr val="bg1"/>
              </a:solidFill>
              <a:cs typeface="+mn-ea"/>
              <a:sym typeface="+mn-lt"/>
            </a:endParaRPr>
          </a:p>
        </p:txBody>
      </p:sp>
      <p:sp>
        <p:nvSpPr>
          <p:cNvPr id="58" name="文本框 57"/>
          <p:cNvSpPr txBox="1"/>
          <p:nvPr/>
        </p:nvSpPr>
        <p:spPr>
          <a:xfrm>
            <a:off x="4882355" y="3476026"/>
            <a:ext cx="288489" cy="724675"/>
          </a:xfrm>
          <a:custGeom>
            <a:avLst/>
            <a:gdLst>
              <a:gd name="connsiteX0" fmla="*/ 0 w 690120"/>
              <a:gd name="connsiteY0" fmla="*/ 0 h 1733559"/>
              <a:gd name="connsiteX1" fmla="*/ 20561 w 690120"/>
              <a:gd name="connsiteY1" fmla="*/ 0 h 1733559"/>
              <a:gd name="connsiteX2" fmla="*/ 20561 w 690120"/>
              <a:gd name="connsiteY2" fmla="*/ 12433 h 1733559"/>
              <a:gd name="connsiteX3" fmla="*/ 113963 w 690120"/>
              <a:gd name="connsiteY3" fmla="*/ 486793 h 1733559"/>
              <a:gd name="connsiteX4" fmla="*/ 249344 w 690120"/>
              <a:gd name="connsiteY4" fmla="*/ 859352 h 1733559"/>
              <a:gd name="connsiteX5" fmla="*/ 438248 w 690120"/>
              <a:gd name="connsiteY5" fmla="*/ 1165797 h 1733559"/>
              <a:gd name="connsiteX6" fmla="*/ 690120 w 690120"/>
              <a:gd name="connsiteY6" fmla="*/ 1439708 h 1733559"/>
              <a:gd name="connsiteX7" fmla="*/ 685924 w 690120"/>
              <a:gd name="connsiteY7" fmla="*/ 1452302 h 1733559"/>
              <a:gd name="connsiteX8" fmla="*/ 593569 w 690120"/>
              <a:gd name="connsiteY8" fmla="*/ 1492182 h 1733559"/>
              <a:gd name="connsiteX9" fmla="*/ 511711 w 690120"/>
              <a:gd name="connsiteY9" fmla="*/ 1547804 h 1733559"/>
              <a:gd name="connsiteX10" fmla="*/ 434052 w 690120"/>
              <a:gd name="connsiteY10" fmla="*/ 1625463 h 1733559"/>
              <a:gd name="connsiteX11" fmla="*/ 352194 w 690120"/>
              <a:gd name="connsiteY11" fmla="*/ 1733559 h 1733559"/>
              <a:gd name="connsiteX12" fmla="*/ 239899 w 690120"/>
              <a:gd name="connsiteY12" fmla="*/ 1511071 h 1733559"/>
              <a:gd name="connsiteX13" fmla="*/ 156992 w 690120"/>
              <a:gd name="connsiteY13" fmla="*/ 1307477 h 1733559"/>
              <a:gd name="connsiteX14" fmla="*/ 97173 w 690120"/>
              <a:gd name="connsiteY14" fmla="*/ 1101779 h 1733559"/>
              <a:gd name="connsiteX15" fmla="*/ 57291 w 690120"/>
              <a:gd name="connsiteY15" fmla="*/ 871946 h 1733559"/>
              <a:gd name="connsiteX16" fmla="*/ 31056 w 690120"/>
              <a:gd name="connsiteY16" fmla="*/ 593839 h 1733559"/>
              <a:gd name="connsiteX17" fmla="*/ 3771 w 690120"/>
              <a:gd name="connsiteY17" fmla="*/ 167754 h 1733559"/>
              <a:gd name="connsiteX18" fmla="*/ 0 w 690120"/>
              <a:gd name="connsiteY18" fmla="*/ 258969 h 1733559"/>
              <a:gd name="connsiteX19" fmla="*/ 0 w 690120"/>
              <a:gd name="connsiteY19" fmla="*/ 0 h 1733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0120" h="1733559">
                <a:moveTo>
                  <a:pt x="0" y="0"/>
                </a:moveTo>
                <a:lnTo>
                  <a:pt x="20561" y="0"/>
                </a:lnTo>
                <a:lnTo>
                  <a:pt x="20561" y="12433"/>
                </a:lnTo>
                <a:cubicBezTo>
                  <a:pt x="45749" y="191543"/>
                  <a:pt x="76881" y="349661"/>
                  <a:pt x="113963" y="486793"/>
                </a:cubicBezTo>
                <a:cubicBezTo>
                  <a:pt x="151045" y="623924"/>
                  <a:pt x="196173" y="748110"/>
                  <a:pt x="249344" y="859352"/>
                </a:cubicBezTo>
                <a:cubicBezTo>
                  <a:pt x="302518" y="970597"/>
                  <a:pt x="365486" y="1072744"/>
                  <a:pt x="438248" y="1165797"/>
                </a:cubicBezTo>
                <a:cubicBezTo>
                  <a:pt x="511013" y="1258850"/>
                  <a:pt x="594970" y="1350153"/>
                  <a:pt x="690120" y="1439708"/>
                </a:cubicBezTo>
                <a:lnTo>
                  <a:pt x="685924" y="1452302"/>
                </a:lnTo>
                <a:cubicBezTo>
                  <a:pt x="652341" y="1463498"/>
                  <a:pt x="621554" y="1476790"/>
                  <a:pt x="593569" y="1492182"/>
                </a:cubicBezTo>
                <a:cubicBezTo>
                  <a:pt x="565586" y="1507573"/>
                  <a:pt x="538298" y="1526114"/>
                  <a:pt x="511711" y="1547804"/>
                </a:cubicBezTo>
                <a:cubicBezTo>
                  <a:pt x="485127" y="1569491"/>
                  <a:pt x="459237" y="1595381"/>
                  <a:pt x="434052" y="1625463"/>
                </a:cubicBezTo>
                <a:cubicBezTo>
                  <a:pt x="408864" y="1655548"/>
                  <a:pt x="381579" y="1691580"/>
                  <a:pt x="352194" y="1733559"/>
                </a:cubicBezTo>
                <a:cubicBezTo>
                  <a:pt x="308814" y="1653801"/>
                  <a:pt x="271383" y="1579637"/>
                  <a:pt x="239899" y="1511071"/>
                </a:cubicBezTo>
                <a:cubicBezTo>
                  <a:pt x="208415" y="1442509"/>
                  <a:pt x="180781" y="1374641"/>
                  <a:pt x="156992" y="1307477"/>
                </a:cubicBezTo>
                <a:cubicBezTo>
                  <a:pt x="133205" y="1240310"/>
                  <a:pt x="113265" y="1171744"/>
                  <a:pt x="97173" y="1101779"/>
                </a:cubicBezTo>
                <a:cubicBezTo>
                  <a:pt x="81081" y="1031815"/>
                  <a:pt x="67789" y="955206"/>
                  <a:pt x="57291" y="871946"/>
                </a:cubicBezTo>
                <a:cubicBezTo>
                  <a:pt x="46799" y="788690"/>
                  <a:pt x="38052" y="695985"/>
                  <a:pt x="31056" y="593839"/>
                </a:cubicBezTo>
                <a:cubicBezTo>
                  <a:pt x="24059" y="491690"/>
                  <a:pt x="14963" y="349661"/>
                  <a:pt x="3771" y="167754"/>
                </a:cubicBezTo>
                <a:lnTo>
                  <a:pt x="0" y="258969"/>
                </a:lnTo>
                <a:lnTo>
                  <a:pt x="0" y="0"/>
                </a:lnTo>
                <a:close/>
              </a:path>
            </a:pathLst>
          </a:custGeom>
          <a:gradFill flip="none" rotWithShape="1">
            <a:gsLst>
              <a:gs pos="0">
                <a:schemeClr val="tx1">
                  <a:lumMod val="85000"/>
                  <a:lumOff val="15000"/>
                </a:schemeClr>
              </a:gs>
              <a:gs pos="74000">
                <a:schemeClr val="tx1">
                  <a:alpha val="0"/>
                </a:schemeClr>
              </a:gs>
            </a:gsLst>
            <a:lin ang="54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5400" b="1" dirty="0">
              <a:solidFill>
                <a:schemeClr val="bg1"/>
              </a:solidFill>
              <a:cs typeface="+mn-ea"/>
              <a:sym typeface="+mn-lt"/>
            </a:endParaRPr>
          </a:p>
        </p:txBody>
      </p:sp>
      <p:sp>
        <p:nvSpPr>
          <p:cNvPr id="59" name="文本框 58"/>
          <p:cNvSpPr txBox="1"/>
          <p:nvPr/>
        </p:nvSpPr>
        <p:spPr>
          <a:xfrm>
            <a:off x="7010397" y="2386322"/>
            <a:ext cx="320767" cy="772373"/>
          </a:xfrm>
          <a:custGeom>
            <a:avLst/>
            <a:gdLst>
              <a:gd name="connsiteX0" fmla="*/ 459391 w 767335"/>
              <a:gd name="connsiteY0" fmla="*/ 0 h 1847659"/>
              <a:gd name="connsiteX1" fmla="*/ 767335 w 767335"/>
              <a:gd name="connsiteY1" fmla="*/ 161544 h 1847659"/>
              <a:gd name="connsiteX2" fmla="*/ 681514 w 767335"/>
              <a:gd name="connsiteY2" fmla="*/ 270081 h 1847659"/>
              <a:gd name="connsiteX3" fmla="*/ 680252 w 767335"/>
              <a:gd name="connsiteY3" fmla="*/ 561618 h 1847659"/>
              <a:gd name="connsiteX4" fmla="*/ 675204 w 767335"/>
              <a:gd name="connsiteY4" fmla="*/ 843058 h 1847659"/>
              <a:gd name="connsiteX5" fmla="*/ 665107 w 767335"/>
              <a:gd name="connsiteY5" fmla="*/ 1132070 h 1847659"/>
              <a:gd name="connsiteX6" fmla="*/ 651224 w 767335"/>
              <a:gd name="connsiteY6" fmla="*/ 1443799 h 1847659"/>
              <a:gd name="connsiteX7" fmla="*/ 538901 w 767335"/>
              <a:gd name="connsiteY7" fmla="*/ 1723977 h 1847659"/>
              <a:gd name="connsiteX8" fmla="*/ 232220 w 767335"/>
              <a:gd name="connsiteY8" fmla="*/ 1847659 h 1847659"/>
              <a:gd name="connsiteX9" fmla="*/ 218337 w 767335"/>
              <a:gd name="connsiteY9" fmla="*/ 1740384 h 1847659"/>
              <a:gd name="connsiteX10" fmla="*/ 181737 w 767335"/>
              <a:gd name="connsiteY10" fmla="*/ 1663398 h 1847659"/>
              <a:gd name="connsiteX11" fmla="*/ 112324 w 767335"/>
              <a:gd name="connsiteY11" fmla="*/ 1606605 h 1847659"/>
              <a:gd name="connsiteX12" fmla="*/ 0 w 767335"/>
              <a:gd name="connsiteY12" fmla="*/ 1559909 h 1847659"/>
              <a:gd name="connsiteX13" fmla="*/ 5048 w 767335"/>
              <a:gd name="connsiteY13" fmla="*/ 1544764 h 1847659"/>
              <a:gd name="connsiteX14" fmla="*/ 217075 w 767335"/>
              <a:gd name="connsiteY14" fmla="*/ 1554861 h 1847659"/>
              <a:gd name="connsiteX15" fmla="*/ 368522 w 767335"/>
              <a:gd name="connsiteY15" fmla="*/ 1408462 h 1847659"/>
              <a:gd name="connsiteX16" fmla="*/ 401336 w 767335"/>
              <a:gd name="connsiteY16" fmla="*/ 787527 h 1847659"/>
              <a:gd name="connsiteX17" fmla="*/ 411433 w 767335"/>
              <a:gd name="connsiteY17" fmla="*/ 189940 h 1847659"/>
              <a:gd name="connsiteX18" fmla="*/ 337565 w 767335"/>
              <a:gd name="connsiteY18" fmla="*/ 189940 h 1847659"/>
              <a:gd name="connsiteX19" fmla="*/ 337565 w 767335"/>
              <a:gd name="connsiteY19" fmla="*/ 178582 h 1847659"/>
              <a:gd name="connsiteX20" fmla="*/ 373571 w 767335"/>
              <a:gd name="connsiteY20" fmla="*/ 178582 h 1847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67335" h="1847659">
                <a:moveTo>
                  <a:pt x="459391" y="0"/>
                </a:moveTo>
                <a:lnTo>
                  <a:pt x="767335" y="161544"/>
                </a:lnTo>
                <a:lnTo>
                  <a:pt x="681514" y="270081"/>
                </a:lnTo>
                <a:cubicBezTo>
                  <a:pt x="681514" y="371046"/>
                  <a:pt x="681093" y="468225"/>
                  <a:pt x="680252" y="561618"/>
                </a:cubicBezTo>
                <a:cubicBezTo>
                  <a:pt x="679411" y="655010"/>
                  <a:pt x="677728" y="748824"/>
                  <a:pt x="675204" y="843058"/>
                </a:cubicBezTo>
                <a:cubicBezTo>
                  <a:pt x="672680" y="937292"/>
                  <a:pt x="669314" y="1033629"/>
                  <a:pt x="665107" y="1132070"/>
                </a:cubicBezTo>
                <a:cubicBezTo>
                  <a:pt x="660900" y="1230511"/>
                  <a:pt x="656273" y="1334421"/>
                  <a:pt x="651224" y="1443799"/>
                </a:cubicBezTo>
                <a:cubicBezTo>
                  <a:pt x="642811" y="1568323"/>
                  <a:pt x="605369" y="1661715"/>
                  <a:pt x="538901" y="1723977"/>
                </a:cubicBezTo>
                <a:cubicBezTo>
                  <a:pt x="472432" y="1786239"/>
                  <a:pt x="370205" y="1827466"/>
                  <a:pt x="232220" y="1847659"/>
                </a:cubicBezTo>
                <a:cubicBezTo>
                  <a:pt x="230537" y="1805591"/>
                  <a:pt x="225910" y="1769832"/>
                  <a:pt x="218337" y="1740384"/>
                </a:cubicBezTo>
                <a:cubicBezTo>
                  <a:pt x="210765" y="1710936"/>
                  <a:pt x="198565" y="1685274"/>
                  <a:pt x="181737" y="1663398"/>
                </a:cubicBezTo>
                <a:cubicBezTo>
                  <a:pt x="164910" y="1641523"/>
                  <a:pt x="141772" y="1622592"/>
                  <a:pt x="112324" y="1606605"/>
                </a:cubicBezTo>
                <a:cubicBezTo>
                  <a:pt x="82876" y="1590619"/>
                  <a:pt x="45435" y="1575054"/>
                  <a:pt x="0" y="1559909"/>
                </a:cubicBezTo>
                <a:lnTo>
                  <a:pt x="5048" y="1544764"/>
                </a:lnTo>
                <a:lnTo>
                  <a:pt x="217075" y="1554861"/>
                </a:lnTo>
                <a:cubicBezTo>
                  <a:pt x="311309" y="1559909"/>
                  <a:pt x="361791" y="1511109"/>
                  <a:pt x="368522" y="1408462"/>
                </a:cubicBezTo>
                <a:cubicBezTo>
                  <a:pt x="383667" y="1198118"/>
                  <a:pt x="394605" y="991140"/>
                  <a:pt x="401336" y="787527"/>
                </a:cubicBezTo>
                <a:cubicBezTo>
                  <a:pt x="408067" y="583914"/>
                  <a:pt x="411433" y="384719"/>
                  <a:pt x="411433" y="189940"/>
                </a:cubicBezTo>
                <a:lnTo>
                  <a:pt x="337565" y="189940"/>
                </a:lnTo>
                <a:lnTo>
                  <a:pt x="337565" y="178582"/>
                </a:lnTo>
                <a:lnTo>
                  <a:pt x="373571" y="178582"/>
                </a:lnTo>
                <a:close/>
              </a:path>
            </a:pathLst>
          </a:custGeom>
          <a:gradFill flip="none" rotWithShape="1">
            <a:gsLst>
              <a:gs pos="0">
                <a:schemeClr val="tx1">
                  <a:lumMod val="85000"/>
                  <a:lumOff val="15000"/>
                </a:schemeClr>
              </a:gs>
              <a:gs pos="74000">
                <a:schemeClr val="tx1">
                  <a:alpha val="0"/>
                </a:schemeClr>
              </a:gs>
            </a:gsLst>
            <a:lin ang="54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9900" b="1" dirty="0">
              <a:solidFill>
                <a:schemeClr val="bg1"/>
              </a:solidFill>
              <a:cs typeface="+mn-ea"/>
              <a:sym typeface="+mn-lt"/>
            </a:endParaRPr>
          </a:p>
        </p:txBody>
      </p:sp>
      <p:sp>
        <p:nvSpPr>
          <p:cNvPr id="60" name="文本框 59"/>
          <p:cNvSpPr txBox="1"/>
          <p:nvPr/>
        </p:nvSpPr>
        <p:spPr>
          <a:xfrm>
            <a:off x="7069487" y="3731265"/>
            <a:ext cx="202589" cy="214196"/>
          </a:xfrm>
          <a:custGeom>
            <a:avLst/>
            <a:gdLst/>
            <a:ahLst/>
            <a:cxnLst/>
            <a:rect l="l" t="t" r="r" b="b"/>
            <a:pathLst>
              <a:path w="484632" h="512398">
                <a:moveTo>
                  <a:pt x="7573" y="0"/>
                </a:moveTo>
                <a:cubicBezTo>
                  <a:pt x="98441" y="18511"/>
                  <a:pt x="174586" y="38704"/>
                  <a:pt x="236006" y="60579"/>
                </a:cubicBezTo>
                <a:cubicBezTo>
                  <a:pt x="297426" y="82455"/>
                  <a:pt x="346226" y="106014"/>
                  <a:pt x="382405" y="131255"/>
                </a:cubicBezTo>
                <a:cubicBezTo>
                  <a:pt x="418584" y="156496"/>
                  <a:pt x="444667" y="183841"/>
                  <a:pt x="460653" y="213289"/>
                </a:cubicBezTo>
                <a:cubicBezTo>
                  <a:pt x="476639" y="242737"/>
                  <a:pt x="484632" y="274289"/>
                  <a:pt x="484632" y="307944"/>
                </a:cubicBezTo>
                <a:cubicBezTo>
                  <a:pt x="484632" y="333185"/>
                  <a:pt x="478743" y="358426"/>
                  <a:pt x="466963" y="383668"/>
                </a:cubicBezTo>
                <a:cubicBezTo>
                  <a:pt x="455184" y="408909"/>
                  <a:pt x="440039" y="430785"/>
                  <a:pt x="421529" y="449295"/>
                </a:cubicBezTo>
                <a:cubicBezTo>
                  <a:pt x="403019" y="467805"/>
                  <a:pt x="381564" y="482950"/>
                  <a:pt x="357164" y="494729"/>
                </a:cubicBezTo>
                <a:cubicBezTo>
                  <a:pt x="332764" y="506508"/>
                  <a:pt x="307943" y="512398"/>
                  <a:pt x="282702" y="512398"/>
                </a:cubicBezTo>
                <a:cubicBezTo>
                  <a:pt x="254095" y="512398"/>
                  <a:pt x="230116" y="503143"/>
                  <a:pt x="210764" y="484632"/>
                </a:cubicBezTo>
                <a:cubicBezTo>
                  <a:pt x="191413" y="466122"/>
                  <a:pt x="175848" y="434150"/>
                  <a:pt x="164068" y="388716"/>
                </a:cubicBezTo>
                <a:cubicBezTo>
                  <a:pt x="147240" y="324771"/>
                  <a:pt x="124523" y="258303"/>
                  <a:pt x="95917" y="189310"/>
                </a:cubicBezTo>
                <a:cubicBezTo>
                  <a:pt x="67310" y="120317"/>
                  <a:pt x="35338" y="59738"/>
                  <a:pt x="0" y="7573"/>
                </a:cubicBezTo>
                <a:lnTo>
                  <a:pt x="7573" y="0"/>
                </a:lnTo>
                <a:close/>
              </a:path>
            </a:pathLst>
          </a:custGeom>
          <a:gradFill flip="none" rotWithShape="1">
            <a:gsLst>
              <a:gs pos="0">
                <a:schemeClr val="tx1">
                  <a:lumMod val="85000"/>
                  <a:lumOff val="15000"/>
                </a:schemeClr>
              </a:gs>
              <a:gs pos="74000">
                <a:schemeClr val="tx1">
                  <a:alpha val="0"/>
                </a:schemeClr>
              </a:gs>
            </a:gsLst>
            <a:lin ang="54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pPr algn="ctr"/>
            <a:endParaRPr lang="zh-CN" altLang="en-US" sz="19900" b="1" dirty="0">
              <a:solidFill>
                <a:schemeClr val="bg1"/>
              </a:solidFill>
              <a:cs typeface="+mn-ea"/>
              <a:sym typeface="+mn-lt"/>
            </a:endParaRPr>
          </a:p>
        </p:txBody>
      </p:sp>
      <p:sp>
        <p:nvSpPr>
          <p:cNvPr id="70" name="椭圆 69"/>
          <p:cNvSpPr/>
          <p:nvPr/>
        </p:nvSpPr>
        <p:spPr>
          <a:xfrm>
            <a:off x="2147303" y="1663336"/>
            <a:ext cx="259766" cy="6340406"/>
          </a:xfrm>
          <a:prstGeom prst="ellipse">
            <a:avLst/>
          </a:prstGeom>
          <a:gradFill flip="none" rotWithShape="1">
            <a:gsLst>
              <a:gs pos="43000">
                <a:schemeClr val="tx1">
                  <a:alpha val="22000"/>
                </a:schemeClr>
              </a:gs>
              <a:gs pos="0">
                <a:schemeClr val="tx1">
                  <a:alpha val="65000"/>
                </a:schemeClr>
              </a:gs>
              <a:gs pos="100000">
                <a:schemeClr val="tx1">
                  <a:alpha val="0"/>
                </a:schemeClr>
              </a:gs>
            </a:gsLst>
            <a:path path="shape">
              <a:fillToRect l="50000" t="50000" r="50000" b="50000"/>
            </a:path>
            <a:tileRect/>
          </a:gradFill>
          <a:ln>
            <a:noFill/>
          </a:ln>
        </p:spPr>
        <p:txBody>
          <a:bodyPr wrap="non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71" name="椭圆 70"/>
          <p:cNvSpPr/>
          <p:nvPr/>
        </p:nvSpPr>
        <p:spPr>
          <a:xfrm>
            <a:off x="10057589" y="1663336"/>
            <a:ext cx="259766" cy="6340406"/>
          </a:xfrm>
          <a:prstGeom prst="ellipse">
            <a:avLst/>
          </a:prstGeom>
          <a:gradFill flip="none" rotWithShape="1">
            <a:gsLst>
              <a:gs pos="43000">
                <a:schemeClr val="tx1">
                  <a:alpha val="22000"/>
                </a:schemeClr>
              </a:gs>
              <a:gs pos="0">
                <a:schemeClr val="tx1">
                  <a:alpha val="65000"/>
                </a:schemeClr>
              </a:gs>
              <a:gs pos="100000">
                <a:schemeClr val="tx1">
                  <a:alpha val="0"/>
                </a:schemeClr>
              </a:gs>
            </a:gsLst>
            <a:path path="shape">
              <a:fillToRect l="50000" t="50000" r="50000" b="50000"/>
            </a:path>
            <a:tileRect/>
          </a:gradFill>
          <a:ln>
            <a:noFill/>
          </a:ln>
        </p:spPr>
        <p:txBody>
          <a:bodyPr wrap="non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72" name="文本框 71"/>
          <p:cNvSpPr txBox="1"/>
          <p:nvPr/>
        </p:nvSpPr>
        <p:spPr>
          <a:xfrm>
            <a:off x="6092100" y="331997"/>
            <a:ext cx="5448878" cy="4708981"/>
          </a:xfrm>
          <a:prstGeom prst="rect">
            <a:avLst/>
          </a:prstGeom>
          <a:noFill/>
          <a:effectLst/>
        </p:spPr>
        <p:txBody>
          <a:bodyPr wrap="square" rtlCol="0">
            <a:spAutoFit/>
          </a:bodyPr>
          <a:lstStyle/>
          <a:p>
            <a:pPr algn="ctr"/>
            <a:r>
              <a:rPr lang="en-US" altLang="zh-CN" sz="30000" b="1" dirty="0" smtClean="0">
                <a:ln w="12700">
                  <a:gradFill>
                    <a:gsLst>
                      <a:gs pos="0">
                        <a:srgbClr val="00D4FD"/>
                      </a:gs>
                      <a:gs pos="33000">
                        <a:srgbClr val="08E6F6"/>
                      </a:gs>
                      <a:gs pos="100000">
                        <a:srgbClr val="13FFEC"/>
                      </a:gs>
                    </a:gsLst>
                    <a:lin ang="0" scaled="0"/>
                  </a:gradFill>
                  <a:prstDash val="dashDot"/>
                </a:ln>
                <a:blipFill dpi="0" rotWithShape="1">
                  <a:blip r:embed="rId2"/>
                  <a:srcRect/>
                  <a:tile tx="0" ty="0" sx="100000" sy="100000" flip="none" algn="tl"/>
                </a:blipFill>
                <a:effectLst>
                  <a:glow rad="127000">
                    <a:srgbClr val="13FFEC">
                      <a:alpha val="3000"/>
                    </a:srgbClr>
                  </a:glow>
                </a:effectLst>
                <a:cs typeface="+mn-ea"/>
                <a:sym typeface="+mn-lt"/>
              </a:rPr>
              <a:t>2</a:t>
            </a:r>
            <a:r>
              <a:rPr lang="en-US" altLang="zh-CN" sz="28700" b="1" dirty="0">
                <a:ln w="12700">
                  <a:gradFill>
                    <a:gsLst>
                      <a:gs pos="0">
                        <a:srgbClr val="00D4FD"/>
                      </a:gs>
                      <a:gs pos="33000">
                        <a:srgbClr val="08E6F6"/>
                      </a:gs>
                      <a:gs pos="100000">
                        <a:srgbClr val="13FFEC"/>
                      </a:gs>
                    </a:gsLst>
                    <a:lin ang="0" scaled="0"/>
                  </a:gradFill>
                  <a:prstDash val="dashDot"/>
                </a:ln>
                <a:blipFill dpi="0" rotWithShape="1">
                  <a:blip r:embed="rId2"/>
                  <a:srcRect/>
                  <a:tile tx="0" ty="0" sx="100000" sy="100000" flip="none" algn="tl"/>
                </a:blipFill>
                <a:effectLst>
                  <a:glow rad="127000">
                    <a:srgbClr val="13FFEC">
                      <a:alpha val="3000"/>
                    </a:srgbClr>
                  </a:glow>
                </a:effectLst>
                <a:cs typeface="+mn-ea"/>
                <a:sym typeface="+mn-lt"/>
              </a:rPr>
              <a:t>X</a:t>
            </a:r>
            <a:endParaRPr lang="zh-CN" altLang="en-US" sz="19900" b="1" dirty="0">
              <a:ln w="12700">
                <a:gradFill>
                  <a:gsLst>
                    <a:gs pos="0">
                      <a:srgbClr val="00D4FD"/>
                    </a:gs>
                    <a:gs pos="33000">
                      <a:srgbClr val="08E6F6"/>
                    </a:gs>
                    <a:gs pos="100000">
                      <a:srgbClr val="13FFEC"/>
                    </a:gs>
                  </a:gsLst>
                  <a:lin ang="0" scaled="0"/>
                </a:gradFill>
                <a:prstDash val="dashDot"/>
              </a:ln>
              <a:blipFill dpi="0" rotWithShape="1">
                <a:blip r:embed="rId2"/>
                <a:srcRect/>
                <a:tile tx="0" ty="0" sx="100000" sy="100000" flip="none" algn="tl"/>
              </a:blipFill>
              <a:effectLst>
                <a:glow rad="127000">
                  <a:srgbClr val="13FFEC">
                    <a:alpha val="3000"/>
                  </a:srgbClr>
                </a:glow>
              </a:effectLst>
              <a:cs typeface="+mn-ea"/>
              <a:sym typeface="+mn-lt"/>
            </a:endParaRPr>
          </a:p>
        </p:txBody>
      </p:sp>
      <p:sp>
        <p:nvSpPr>
          <p:cNvPr id="73" name="文本框 72"/>
          <p:cNvSpPr txBox="1"/>
          <p:nvPr/>
        </p:nvSpPr>
        <p:spPr>
          <a:xfrm>
            <a:off x="390561" y="343977"/>
            <a:ext cx="5448878" cy="4708981"/>
          </a:xfrm>
          <a:prstGeom prst="rect">
            <a:avLst/>
          </a:prstGeom>
          <a:noFill/>
          <a:effectLst/>
        </p:spPr>
        <p:txBody>
          <a:bodyPr wrap="square" rtlCol="0">
            <a:spAutoFit/>
          </a:bodyPr>
          <a:lstStyle/>
          <a:p>
            <a:pPr algn="ctr"/>
            <a:r>
              <a:rPr lang="en-US" altLang="zh-CN" sz="30000" b="1" dirty="0">
                <a:ln w="12700">
                  <a:gradFill>
                    <a:gsLst>
                      <a:gs pos="0">
                        <a:srgbClr val="00D4FD"/>
                      </a:gs>
                      <a:gs pos="30000">
                        <a:srgbClr val="08E6F6"/>
                      </a:gs>
                      <a:gs pos="100000">
                        <a:srgbClr val="13FFEC">
                          <a:alpha val="0"/>
                        </a:srgbClr>
                      </a:gs>
                    </a:gsLst>
                    <a:lin ang="0" scaled="0"/>
                  </a:gradFill>
                  <a:prstDash val="dashDot"/>
                </a:ln>
                <a:blipFill dpi="0" rotWithShape="1">
                  <a:blip r:embed="rId2"/>
                  <a:srcRect/>
                  <a:tile tx="0" ty="0" sx="100000" sy="100000" flip="none" algn="tl"/>
                </a:blipFill>
                <a:cs typeface="+mn-ea"/>
                <a:sym typeface="+mn-lt"/>
              </a:rPr>
              <a:t>2</a:t>
            </a:r>
            <a:r>
              <a:rPr lang="en-US" altLang="zh-CN" sz="28700" b="1" dirty="0">
                <a:ln w="12700">
                  <a:gradFill>
                    <a:gsLst>
                      <a:gs pos="0">
                        <a:srgbClr val="00D4FD"/>
                      </a:gs>
                      <a:gs pos="30000">
                        <a:srgbClr val="08E6F6"/>
                      </a:gs>
                      <a:gs pos="100000">
                        <a:srgbClr val="13FFEC">
                          <a:alpha val="0"/>
                        </a:srgbClr>
                      </a:gs>
                    </a:gsLst>
                    <a:lin ang="0" scaled="0"/>
                  </a:gradFill>
                  <a:prstDash val="dashDot"/>
                </a:ln>
                <a:blipFill dpi="0" rotWithShape="1">
                  <a:blip r:embed="rId2"/>
                  <a:srcRect/>
                  <a:tile tx="0" ty="0" sx="100000" sy="100000" flip="none" algn="tl"/>
                </a:blipFill>
                <a:cs typeface="+mn-ea"/>
                <a:sym typeface="+mn-lt"/>
              </a:rPr>
              <a:t>0</a:t>
            </a:r>
            <a:endParaRPr lang="zh-CN" altLang="en-US" sz="19900" b="1" dirty="0">
              <a:ln w="12700">
                <a:gradFill>
                  <a:gsLst>
                    <a:gs pos="0">
                      <a:srgbClr val="00D4FD"/>
                    </a:gs>
                    <a:gs pos="30000">
                      <a:srgbClr val="08E6F6"/>
                    </a:gs>
                    <a:gs pos="100000">
                      <a:srgbClr val="13FFEC">
                        <a:alpha val="0"/>
                      </a:srgbClr>
                    </a:gs>
                  </a:gsLst>
                  <a:lin ang="0" scaled="0"/>
                </a:gradFill>
                <a:prstDash val="dashDot"/>
              </a:ln>
              <a:blipFill dpi="0" rotWithShape="1">
                <a:blip r:embed="rId2"/>
                <a:srcRect/>
                <a:tile tx="0" ty="0" sx="100000" sy="100000" flip="none" algn="tl"/>
              </a:blipFill>
              <a:cs typeface="+mn-ea"/>
              <a:sym typeface="+mn-lt"/>
            </a:endParaRPr>
          </a:p>
        </p:txBody>
      </p:sp>
      <p:pic>
        <p:nvPicPr>
          <p:cNvPr id="74" name="图片 73"/>
          <p:cNvPicPr/>
          <p:nvPr/>
        </p:nvPicPr>
        <p:blipFill rotWithShape="1">
          <a:blip r:embed="rId3" cstate="screen"/>
          <a:srcRect/>
          <a:stretch>
            <a:fillRect/>
          </a:stretch>
        </p:blipFill>
        <p:spPr>
          <a:xfrm>
            <a:off x="3526824" y="364971"/>
            <a:ext cx="4995088" cy="5310868"/>
          </a:xfrm>
          <a:prstGeom prst="rect">
            <a:avLst/>
          </a:prstGeom>
        </p:spPr>
      </p:pic>
      <p:sp>
        <p:nvSpPr>
          <p:cNvPr id="75" name="椭圆 74"/>
          <p:cNvSpPr/>
          <p:nvPr/>
        </p:nvSpPr>
        <p:spPr>
          <a:xfrm rot="20954527">
            <a:off x="3057859" y="1986886"/>
            <a:ext cx="5882546" cy="1330571"/>
          </a:xfrm>
          <a:prstGeom prst="ellipse">
            <a:avLst/>
          </a:prstGeom>
          <a:noFill/>
          <a:ln w="76200">
            <a:gradFill flip="none" rotWithShape="1">
              <a:gsLst>
                <a:gs pos="0">
                  <a:srgbClr val="13FFEC"/>
                </a:gs>
                <a:gs pos="41000">
                  <a:srgbClr val="06E2F7"/>
                </a:gs>
                <a:gs pos="91000">
                  <a:srgbClr val="00D4FD">
                    <a:alpha val="0"/>
                  </a:srgbClr>
                </a:gs>
              </a:gsLst>
              <a:lin ang="5400000" scaled="1"/>
              <a:tileRect/>
            </a:gradFill>
          </a:ln>
          <a:effectLst>
            <a:glow rad="177800">
              <a:srgbClr val="00D4FD">
                <a:alpha val="8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noFill/>
              <a:cs typeface="+mn-ea"/>
              <a:sym typeface="+mn-lt"/>
            </a:endParaRPr>
          </a:p>
        </p:txBody>
      </p:sp>
      <p:sp>
        <p:nvSpPr>
          <p:cNvPr id="76" name="椭圆 75"/>
          <p:cNvSpPr/>
          <p:nvPr/>
        </p:nvSpPr>
        <p:spPr>
          <a:xfrm rot="20954527">
            <a:off x="3638072" y="2568953"/>
            <a:ext cx="4701707" cy="1185214"/>
          </a:xfrm>
          <a:prstGeom prst="ellipse">
            <a:avLst/>
          </a:prstGeom>
          <a:noFill/>
          <a:ln w="38100">
            <a:gradFill flip="none" rotWithShape="1">
              <a:gsLst>
                <a:gs pos="0">
                  <a:srgbClr val="13FFEC"/>
                </a:gs>
                <a:gs pos="41000">
                  <a:srgbClr val="06E2F7"/>
                </a:gs>
                <a:gs pos="86000">
                  <a:srgbClr val="00D4FD">
                    <a:alpha val="0"/>
                  </a:srgbClr>
                </a:gs>
              </a:gsLst>
              <a:lin ang="5400000" scaled="1"/>
              <a:tileRect/>
            </a:gradFill>
          </a:ln>
          <a:effectLst>
            <a:glow rad="177800">
              <a:srgbClr val="00D4FD">
                <a:alpha val="8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noFill/>
              <a:cs typeface="+mn-ea"/>
              <a:sym typeface="+mn-lt"/>
            </a:endParaRPr>
          </a:p>
        </p:txBody>
      </p:sp>
      <p:sp>
        <p:nvSpPr>
          <p:cNvPr id="77" name="椭圆 76"/>
          <p:cNvSpPr/>
          <p:nvPr/>
        </p:nvSpPr>
        <p:spPr>
          <a:xfrm rot="20954527">
            <a:off x="4627053" y="3596923"/>
            <a:ext cx="3200380" cy="866094"/>
          </a:xfrm>
          <a:prstGeom prst="ellipse">
            <a:avLst/>
          </a:prstGeom>
          <a:noFill/>
          <a:ln w="12700">
            <a:gradFill flip="none" rotWithShape="1">
              <a:gsLst>
                <a:gs pos="0">
                  <a:srgbClr val="13FFEC"/>
                </a:gs>
                <a:gs pos="41000">
                  <a:srgbClr val="06E2F7"/>
                </a:gs>
                <a:gs pos="86000">
                  <a:srgbClr val="00D4FD">
                    <a:alpha val="0"/>
                  </a:srgbClr>
                </a:gs>
              </a:gsLst>
              <a:lin ang="5400000" scaled="1"/>
              <a:tileRect/>
            </a:gradFill>
          </a:ln>
          <a:effectLst>
            <a:glow rad="177800">
              <a:srgbClr val="00D4FD">
                <a:alpha val="8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noFill/>
              <a:cs typeface="+mn-ea"/>
              <a:sym typeface="+mn-lt"/>
            </a:endParaRPr>
          </a:p>
        </p:txBody>
      </p:sp>
      <p:sp>
        <p:nvSpPr>
          <p:cNvPr id="78" name="椭圆 77"/>
          <p:cNvSpPr/>
          <p:nvPr/>
        </p:nvSpPr>
        <p:spPr>
          <a:xfrm rot="20954527">
            <a:off x="4004992" y="1421269"/>
            <a:ext cx="3686576" cy="929318"/>
          </a:xfrm>
          <a:prstGeom prst="ellipse">
            <a:avLst/>
          </a:prstGeom>
          <a:noFill/>
          <a:ln w="9525">
            <a:gradFill flip="none" rotWithShape="1">
              <a:gsLst>
                <a:gs pos="0">
                  <a:srgbClr val="13FFEC"/>
                </a:gs>
                <a:gs pos="41000">
                  <a:srgbClr val="06E2F7"/>
                </a:gs>
                <a:gs pos="86000">
                  <a:srgbClr val="00D4FD">
                    <a:alpha val="0"/>
                  </a:srgbClr>
                </a:gs>
              </a:gsLst>
              <a:lin ang="5400000" scaled="1"/>
              <a:tileRect/>
            </a:gradFill>
          </a:ln>
          <a:effectLst>
            <a:glow rad="177800">
              <a:srgbClr val="00D4FD">
                <a:alpha val="8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noFill/>
              <a:cs typeface="+mn-ea"/>
              <a:sym typeface="+mn-lt"/>
            </a:endParaRPr>
          </a:p>
        </p:txBody>
      </p:sp>
      <p:sp>
        <p:nvSpPr>
          <p:cNvPr id="80" name="椭圆 79"/>
          <p:cNvSpPr/>
          <p:nvPr/>
        </p:nvSpPr>
        <p:spPr>
          <a:xfrm rot="20954527">
            <a:off x="3166091" y="2146382"/>
            <a:ext cx="5716552" cy="1293024"/>
          </a:xfrm>
          <a:prstGeom prst="ellipse">
            <a:avLst/>
          </a:prstGeom>
          <a:noFill/>
          <a:ln w="3175">
            <a:gradFill flip="none" rotWithShape="1">
              <a:gsLst>
                <a:gs pos="0">
                  <a:srgbClr val="13FFEC"/>
                </a:gs>
                <a:gs pos="41000">
                  <a:srgbClr val="06E2F7"/>
                </a:gs>
                <a:gs pos="91000">
                  <a:srgbClr val="00D4FD">
                    <a:alpha val="0"/>
                  </a:srgbClr>
                </a:gs>
              </a:gsLst>
              <a:lin ang="5400000" scaled="1"/>
              <a:tileRect/>
            </a:gradFill>
          </a:ln>
          <a:effectLst>
            <a:glow rad="177800">
              <a:srgbClr val="00D4FD">
                <a:alpha val="8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noFill/>
              <a:cs typeface="+mn-ea"/>
              <a:sym typeface="+mn-lt"/>
            </a:endParaRPr>
          </a:p>
        </p:txBody>
      </p:sp>
      <p:sp>
        <p:nvSpPr>
          <p:cNvPr id="81" name="椭圆 80"/>
          <p:cNvSpPr/>
          <p:nvPr/>
        </p:nvSpPr>
        <p:spPr>
          <a:xfrm>
            <a:off x="3403945" y="1628354"/>
            <a:ext cx="2201959" cy="6340406"/>
          </a:xfrm>
          <a:prstGeom prst="ellipse">
            <a:avLst/>
          </a:prstGeom>
          <a:gradFill flip="none" rotWithShape="1">
            <a:gsLst>
              <a:gs pos="43000">
                <a:schemeClr val="tx1">
                  <a:alpha val="22000"/>
                </a:schemeClr>
              </a:gs>
              <a:gs pos="0">
                <a:schemeClr val="tx1">
                  <a:alpha val="65000"/>
                </a:schemeClr>
              </a:gs>
              <a:gs pos="100000">
                <a:schemeClr val="tx1">
                  <a:alpha val="0"/>
                </a:schemeClr>
              </a:gs>
            </a:gsLst>
            <a:path path="shape">
              <a:fillToRect l="50000" t="50000" r="50000" b="50000"/>
            </a:path>
            <a:tileRect/>
          </a:gradFill>
          <a:ln>
            <a:noFill/>
          </a:ln>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82" name="椭圆 81"/>
          <p:cNvSpPr/>
          <p:nvPr/>
        </p:nvSpPr>
        <p:spPr>
          <a:xfrm>
            <a:off x="6957745" y="1628354"/>
            <a:ext cx="2201959" cy="6340406"/>
          </a:xfrm>
          <a:prstGeom prst="ellipse">
            <a:avLst/>
          </a:prstGeom>
          <a:gradFill flip="none" rotWithShape="1">
            <a:gsLst>
              <a:gs pos="43000">
                <a:schemeClr val="tx1">
                  <a:alpha val="22000"/>
                </a:schemeClr>
              </a:gs>
              <a:gs pos="0">
                <a:schemeClr val="tx1">
                  <a:alpha val="65000"/>
                </a:schemeClr>
              </a:gs>
              <a:gs pos="100000">
                <a:schemeClr val="tx1">
                  <a:alpha val="0"/>
                </a:schemeClr>
              </a:gs>
            </a:gsLst>
            <a:path path="shape">
              <a:fillToRect l="50000" t="50000" r="50000" b="50000"/>
            </a:path>
            <a:tileRect/>
          </a:gradFill>
          <a:ln>
            <a:noFill/>
          </a:ln>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91" name="矩形 90"/>
          <p:cNvSpPr/>
          <p:nvPr/>
        </p:nvSpPr>
        <p:spPr>
          <a:xfrm>
            <a:off x="1955002" y="5094943"/>
            <a:ext cx="8281997" cy="923330"/>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5400" b="0" i="0" u="none" strike="noStrike" kern="0" cap="none" spc="60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炫酷科技</a:t>
            </a:r>
            <a:r>
              <a:rPr kumimoji="0" lang="zh-CN" altLang="en-US" sz="5400" b="0" i="0" u="none" strike="noStrike" kern="0" cap="none" spc="600" normalizeH="0" baseline="0" noProof="0" dirty="0" smtClean="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风</a:t>
            </a:r>
            <a:r>
              <a:rPr kumimoji="0" lang="en-US" altLang="zh-CN" sz="5400" b="0" i="0" u="none" strike="noStrike" kern="0" cap="none" spc="600" normalizeH="0" baseline="0" noProof="0" dirty="0" smtClean="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PPT</a:t>
            </a:r>
            <a:r>
              <a:rPr kumimoji="0" lang="zh-CN" altLang="en-US" sz="5400" b="0" i="0" u="none" strike="noStrike" kern="0" cap="none" spc="600" normalizeH="0" baseline="0" noProof="0" dirty="0" smtClean="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模板</a:t>
            </a:r>
            <a:endParaRPr kumimoji="0" lang="zh-CN" altLang="en-US" sz="5400" b="0" i="0" u="none" strike="noStrike" kern="0" cap="none" spc="60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endParaRPr>
          </a:p>
        </p:txBody>
      </p:sp>
      <p:sp>
        <p:nvSpPr>
          <p:cNvPr id="22" name="矩形 21"/>
          <p:cNvSpPr/>
          <p:nvPr/>
        </p:nvSpPr>
        <p:spPr>
          <a:xfrm>
            <a:off x="3809603" y="6006066"/>
            <a:ext cx="4572794" cy="507839"/>
          </a:xfrm>
          <a:prstGeom prst="rect">
            <a:avLst/>
          </a:prstGeom>
        </p:spPr>
        <p:txBody>
          <a:bodyPr lIns="91448" tIns="45724" rIns="91448" bIns="45724">
            <a:spAutoFit/>
          </a:bodyPr>
          <a:lstStyle/>
          <a:p>
            <a:pPr algn="ctr"/>
            <a:r>
              <a:rPr lang="en-US" altLang="zh-CN" sz="900" dirty="0">
                <a:solidFill>
                  <a:schemeClr val="bg1">
                    <a:lumMod val="75000"/>
                  </a:schemeClr>
                </a:solidFill>
                <a:cs typeface="+mn-ea"/>
                <a:sym typeface="+mn-lt"/>
              </a:rPr>
              <a:t>Chinese  companies  will no longer remain in the hard stage and they are also promoting a culture Chinese  companies  will no longer remain </a:t>
            </a:r>
          </a:p>
          <a:p>
            <a:pPr algn="ctr"/>
            <a:r>
              <a:rPr lang="en-US" altLang="zh-CN" sz="900" dirty="0">
                <a:solidFill>
                  <a:schemeClr val="bg1">
                    <a:lumMod val="75000"/>
                  </a:schemeClr>
                </a:solidFill>
                <a:cs typeface="+mn-ea"/>
                <a:sym typeface="+mn-lt"/>
              </a:rPr>
              <a:t>in the hard stage and they are also wang ling </a:t>
            </a:r>
            <a:r>
              <a:rPr lang="en-US" altLang="zh-CN" sz="900" dirty="0" err="1">
                <a:solidFill>
                  <a:schemeClr val="bg1">
                    <a:lumMod val="75000"/>
                  </a:schemeClr>
                </a:solidFill>
                <a:cs typeface="+mn-ea"/>
                <a:sym typeface="+mn-lt"/>
              </a:rPr>
              <a:t>yan</a:t>
            </a:r>
            <a:r>
              <a:rPr lang="en-US" altLang="zh-CN" sz="900" dirty="0">
                <a:solidFill>
                  <a:schemeClr val="bg1">
                    <a:lumMod val="75000"/>
                  </a:schemeClr>
                </a:solidFill>
                <a:cs typeface="+mn-ea"/>
                <a:sym typeface="+mn-lt"/>
              </a:rPr>
              <a:t> a culture</a:t>
            </a:r>
          </a:p>
        </p:txBody>
      </p:sp>
      <p:pic>
        <p:nvPicPr>
          <p:cNvPr id="23" name="图片 22"/>
          <p:cNvPicPr>
            <a:picLocks noChangeAspect="1"/>
          </p:cNvPicPr>
          <p:nvPr/>
        </p:nvPicPr>
        <p:blipFill rotWithShape="1">
          <a:blip r:embed="rId4" cstate="screen"/>
          <a:srcRect/>
          <a:stretch>
            <a:fillRect/>
          </a:stretch>
        </p:blipFill>
        <p:spPr>
          <a:xfrm>
            <a:off x="323850" y="147319"/>
            <a:ext cx="946150" cy="1417236"/>
          </a:xfrm>
          <a:prstGeom prst="rect">
            <a:avLst/>
          </a:prstGeom>
        </p:spPr>
      </p:pic>
      <p:pic>
        <p:nvPicPr>
          <p:cNvPr id="24" name="图片 23"/>
          <p:cNvPicPr>
            <a:picLocks noChangeAspect="1"/>
          </p:cNvPicPr>
          <p:nvPr/>
        </p:nvPicPr>
        <p:blipFill rotWithShape="1">
          <a:blip r:embed="rId5" cstate="screen"/>
          <a:srcRect/>
          <a:stretch>
            <a:fillRect/>
          </a:stretch>
        </p:blipFill>
        <p:spPr>
          <a:xfrm>
            <a:off x="10598150" y="372783"/>
            <a:ext cx="1193800" cy="655917"/>
          </a:xfrm>
          <a:prstGeom prst="rect">
            <a:avLst/>
          </a:prstGeom>
        </p:spPr>
      </p:pic>
      <p:sp>
        <p:nvSpPr>
          <p:cNvPr id="31" name="等腰三角形 30"/>
          <p:cNvSpPr/>
          <p:nvPr/>
        </p:nvSpPr>
        <p:spPr>
          <a:xfrm>
            <a:off x="9871948" y="2004643"/>
            <a:ext cx="216786" cy="4543467"/>
          </a:xfrm>
          <a:prstGeom prst="triangle">
            <a:avLst/>
          </a:prstGeom>
          <a:gradFill flip="none" rotWithShape="1">
            <a:gsLst>
              <a:gs pos="0">
                <a:schemeClr val="bg1">
                  <a:alpha val="0"/>
                </a:schemeClr>
              </a:gs>
              <a:gs pos="100000">
                <a:schemeClr val="bg1">
                  <a:alpha val="29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32" name="图片 31"/>
          <p:cNvPicPr>
            <a:picLocks noChangeAspect="1"/>
          </p:cNvPicPr>
          <p:nvPr/>
        </p:nvPicPr>
        <p:blipFill>
          <a:blip r:embed="rId6"/>
          <a:stretch>
            <a:fillRect/>
          </a:stretch>
        </p:blipFill>
        <p:spPr>
          <a:xfrm>
            <a:off x="9486071" y="501849"/>
            <a:ext cx="1005927" cy="1511939"/>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74"/>
                                        </p:tgtEl>
                                        <p:attrNameLst>
                                          <p:attrName>style.visibility</p:attrName>
                                        </p:attrNameLst>
                                      </p:cBhvr>
                                      <p:to>
                                        <p:strVal val="visible"/>
                                      </p:to>
                                    </p:set>
                                    <p:anim calcmode="lin" valueType="num">
                                      <p:cBhvr additive="base">
                                        <p:cTn id="7" dur="700" fill="hold"/>
                                        <p:tgtEl>
                                          <p:spTgt spid="74"/>
                                        </p:tgtEl>
                                        <p:attrNameLst>
                                          <p:attrName>ppt_x</p:attrName>
                                        </p:attrNameLst>
                                      </p:cBhvr>
                                      <p:tavLst>
                                        <p:tav tm="0">
                                          <p:val>
                                            <p:strVal val="#ppt_x"/>
                                          </p:val>
                                        </p:tav>
                                        <p:tav tm="100000">
                                          <p:val>
                                            <p:strVal val="#ppt_x"/>
                                          </p:val>
                                        </p:tav>
                                      </p:tavLst>
                                    </p:anim>
                                    <p:anim calcmode="lin" valueType="num">
                                      <p:cBhvr additive="base">
                                        <p:cTn id="8" dur="700" fill="hold"/>
                                        <p:tgtEl>
                                          <p:spTgt spid="74"/>
                                        </p:tgtEl>
                                        <p:attrNameLst>
                                          <p:attrName>ppt_y</p:attrName>
                                        </p:attrNameLst>
                                      </p:cBhvr>
                                      <p:tavLst>
                                        <p:tav tm="0">
                                          <p:val>
                                            <p:strVal val="0-#ppt_h/2"/>
                                          </p:val>
                                        </p:tav>
                                        <p:tav tm="100000">
                                          <p:val>
                                            <p:strVal val="#ppt_y"/>
                                          </p:val>
                                        </p:tav>
                                      </p:tavLst>
                                    </p:anim>
                                  </p:childTnLst>
                                </p:cTn>
                              </p:par>
                              <p:par>
                                <p:cTn id="9" presetID="2" presetClass="entr" presetSubtype="1" decel="100000" fill="hold" grpId="0" nodeType="withEffect">
                                  <p:stCondLst>
                                    <p:cond delay="30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600" fill="hold"/>
                                        <p:tgtEl>
                                          <p:spTgt spid="75"/>
                                        </p:tgtEl>
                                        <p:attrNameLst>
                                          <p:attrName>ppt_x</p:attrName>
                                        </p:attrNameLst>
                                      </p:cBhvr>
                                      <p:tavLst>
                                        <p:tav tm="0">
                                          <p:val>
                                            <p:strVal val="#ppt_x"/>
                                          </p:val>
                                        </p:tav>
                                        <p:tav tm="100000">
                                          <p:val>
                                            <p:strVal val="#ppt_x"/>
                                          </p:val>
                                        </p:tav>
                                      </p:tavLst>
                                    </p:anim>
                                    <p:anim calcmode="lin" valueType="num">
                                      <p:cBhvr additive="base">
                                        <p:cTn id="12" dur="600" fill="hold"/>
                                        <p:tgtEl>
                                          <p:spTgt spid="75"/>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300"/>
                                  </p:stCondLst>
                                  <p:childTnLst>
                                    <p:set>
                                      <p:cBhvr>
                                        <p:cTn id="14" dur="1" fill="hold">
                                          <p:stCondLst>
                                            <p:cond delay="0"/>
                                          </p:stCondLst>
                                        </p:cTn>
                                        <p:tgtEl>
                                          <p:spTgt spid="78"/>
                                        </p:tgtEl>
                                        <p:attrNameLst>
                                          <p:attrName>style.visibility</p:attrName>
                                        </p:attrNameLst>
                                      </p:cBhvr>
                                      <p:to>
                                        <p:strVal val="visible"/>
                                      </p:to>
                                    </p:set>
                                    <p:anim calcmode="lin" valueType="num">
                                      <p:cBhvr additive="base">
                                        <p:cTn id="15" dur="800" fill="hold"/>
                                        <p:tgtEl>
                                          <p:spTgt spid="78"/>
                                        </p:tgtEl>
                                        <p:attrNameLst>
                                          <p:attrName>ppt_x</p:attrName>
                                        </p:attrNameLst>
                                      </p:cBhvr>
                                      <p:tavLst>
                                        <p:tav tm="0">
                                          <p:val>
                                            <p:strVal val="#ppt_x"/>
                                          </p:val>
                                        </p:tav>
                                        <p:tav tm="100000">
                                          <p:val>
                                            <p:strVal val="#ppt_x"/>
                                          </p:val>
                                        </p:tav>
                                      </p:tavLst>
                                    </p:anim>
                                    <p:anim calcmode="lin" valueType="num">
                                      <p:cBhvr additive="base">
                                        <p:cTn id="16" dur="800" fill="hold"/>
                                        <p:tgtEl>
                                          <p:spTgt spid="78"/>
                                        </p:tgtEl>
                                        <p:attrNameLst>
                                          <p:attrName>ppt_y</p:attrName>
                                        </p:attrNameLst>
                                      </p:cBhvr>
                                      <p:tavLst>
                                        <p:tav tm="0">
                                          <p:val>
                                            <p:strVal val="0-#ppt_h/2"/>
                                          </p:val>
                                        </p:tav>
                                        <p:tav tm="100000">
                                          <p:val>
                                            <p:strVal val="#ppt_y"/>
                                          </p:val>
                                        </p:tav>
                                      </p:tavLst>
                                    </p:anim>
                                  </p:childTnLst>
                                </p:cTn>
                              </p:par>
                              <p:par>
                                <p:cTn id="17" presetID="2" presetClass="entr" presetSubtype="4" decel="100000" fill="hold" grpId="0" nodeType="withEffect">
                                  <p:stCondLst>
                                    <p:cond delay="500"/>
                                  </p:stCondLst>
                                  <p:childTnLst>
                                    <p:set>
                                      <p:cBhvr>
                                        <p:cTn id="18" dur="1" fill="hold">
                                          <p:stCondLst>
                                            <p:cond delay="0"/>
                                          </p:stCondLst>
                                        </p:cTn>
                                        <p:tgtEl>
                                          <p:spTgt spid="80"/>
                                        </p:tgtEl>
                                        <p:attrNameLst>
                                          <p:attrName>style.visibility</p:attrName>
                                        </p:attrNameLst>
                                      </p:cBhvr>
                                      <p:to>
                                        <p:strVal val="visible"/>
                                      </p:to>
                                    </p:set>
                                    <p:anim calcmode="lin" valueType="num">
                                      <p:cBhvr additive="base">
                                        <p:cTn id="19" dur="700" fill="hold"/>
                                        <p:tgtEl>
                                          <p:spTgt spid="80"/>
                                        </p:tgtEl>
                                        <p:attrNameLst>
                                          <p:attrName>ppt_x</p:attrName>
                                        </p:attrNameLst>
                                      </p:cBhvr>
                                      <p:tavLst>
                                        <p:tav tm="0">
                                          <p:val>
                                            <p:strVal val="#ppt_x"/>
                                          </p:val>
                                        </p:tav>
                                        <p:tav tm="100000">
                                          <p:val>
                                            <p:strVal val="#ppt_x"/>
                                          </p:val>
                                        </p:tav>
                                      </p:tavLst>
                                    </p:anim>
                                    <p:anim calcmode="lin" valueType="num">
                                      <p:cBhvr additive="base">
                                        <p:cTn id="20" dur="700" fill="hold"/>
                                        <p:tgtEl>
                                          <p:spTgt spid="80"/>
                                        </p:tgtEl>
                                        <p:attrNameLst>
                                          <p:attrName>ppt_y</p:attrName>
                                        </p:attrNameLst>
                                      </p:cBhvr>
                                      <p:tavLst>
                                        <p:tav tm="0">
                                          <p:val>
                                            <p:strVal val="1+#ppt_h/2"/>
                                          </p:val>
                                        </p:tav>
                                        <p:tav tm="100000">
                                          <p:val>
                                            <p:strVal val="#ppt_y"/>
                                          </p:val>
                                        </p:tav>
                                      </p:tavLst>
                                    </p:anim>
                                  </p:childTnLst>
                                </p:cTn>
                              </p:par>
                              <p:par>
                                <p:cTn id="21" presetID="2" presetClass="entr" presetSubtype="4" decel="100000" fill="hold" grpId="0" nodeType="withEffect">
                                  <p:stCondLst>
                                    <p:cond delay="700"/>
                                  </p:stCondLst>
                                  <p:childTnLst>
                                    <p:set>
                                      <p:cBhvr>
                                        <p:cTn id="22" dur="1" fill="hold">
                                          <p:stCondLst>
                                            <p:cond delay="0"/>
                                          </p:stCondLst>
                                        </p:cTn>
                                        <p:tgtEl>
                                          <p:spTgt spid="76"/>
                                        </p:tgtEl>
                                        <p:attrNameLst>
                                          <p:attrName>style.visibility</p:attrName>
                                        </p:attrNameLst>
                                      </p:cBhvr>
                                      <p:to>
                                        <p:strVal val="visible"/>
                                      </p:to>
                                    </p:set>
                                    <p:anim calcmode="lin" valueType="num">
                                      <p:cBhvr additive="base">
                                        <p:cTn id="23" dur="800" fill="hold"/>
                                        <p:tgtEl>
                                          <p:spTgt spid="76"/>
                                        </p:tgtEl>
                                        <p:attrNameLst>
                                          <p:attrName>ppt_x</p:attrName>
                                        </p:attrNameLst>
                                      </p:cBhvr>
                                      <p:tavLst>
                                        <p:tav tm="0">
                                          <p:val>
                                            <p:strVal val="#ppt_x"/>
                                          </p:val>
                                        </p:tav>
                                        <p:tav tm="100000">
                                          <p:val>
                                            <p:strVal val="#ppt_x"/>
                                          </p:val>
                                        </p:tav>
                                      </p:tavLst>
                                    </p:anim>
                                    <p:anim calcmode="lin" valueType="num">
                                      <p:cBhvr additive="base">
                                        <p:cTn id="24" dur="800" fill="hold"/>
                                        <p:tgtEl>
                                          <p:spTgt spid="76"/>
                                        </p:tgtEl>
                                        <p:attrNameLst>
                                          <p:attrName>ppt_y</p:attrName>
                                        </p:attrNameLst>
                                      </p:cBhvr>
                                      <p:tavLst>
                                        <p:tav tm="0">
                                          <p:val>
                                            <p:strVal val="1+#ppt_h/2"/>
                                          </p:val>
                                        </p:tav>
                                        <p:tav tm="100000">
                                          <p:val>
                                            <p:strVal val="#ppt_y"/>
                                          </p:val>
                                        </p:tav>
                                      </p:tavLst>
                                    </p:anim>
                                  </p:childTnLst>
                                </p:cTn>
                              </p:par>
                              <p:par>
                                <p:cTn id="25" presetID="2" presetClass="entr" presetSubtype="4" decel="100000" fill="hold" grpId="0" nodeType="withEffect">
                                  <p:stCondLst>
                                    <p:cond delay="900"/>
                                  </p:stCondLst>
                                  <p:childTnLst>
                                    <p:set>
                                      <p:cBhvr>
                                        <p:cTn id="26" dur="1" fill="hold">
                                          <p:stCondLst>
                                            <p:cond delay="0"/>
                                          </p:stCondLst>
                                        </p:cTn>
                                        <p:tgtEl>
                                          <p:spTgt spid="77"/>
                                        </p:tgtEl>
                                        <p:attrNameLst>
                                          <p:attrName>style.visibility</p:attrName>
                                        </p:attrNameLst>
                                      </p:cBhvr>
                                      <p:to>
                                        <p:strVal val="visible"/>
                                      </p:to>
                                    </p:set>
                                    <p:anim calcmode="lin" valueType="num">
                                      <p:cBhvr additive="base">
                                        <p:cTn id="27" dur="900" fill="hold"/>
                                        <p:tgtEl>
                                          <p:spTgt spid="77"/>
                                        </p:tgtEl>
                                        <p:attrNameLst>
                                          <p:attrName>ppt_x</p:attrName>
                                        </p:attrNameLst>
                                      </p:cBhvr>
                                      <p:tavLst>
                                        <p:tav tm="0">
                                          <p:val>
                                            <p:strVal val="#ppt_x"/>
                                          </p:val>
                                        </p:tav>
                                        <p:tav tm="100000">
                                          <p:val>
                                            <p:strVal val="#ppt_x"/>
                                          </p:val>
                                        </p:tav>
                                      </p:tavLst>
                                    </p:anim>
                                    <p:anim calcmode="lin" valueType="num">
                                      <p:cBhvr additive="base">
                                        <p:cTn id="28" dur="900" fill="hold"/>
                                        <p:tgtEl>
                                          <p:spTgt spid="77"/>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500"/>
                                  </p:stCondLst>
                                  <p:childTnLst>
                                    <p:set>
                                      <p:cBhvr>
                                        <p:cTn id="30" dur="1" fill="hold">
                                          <p:stCondLst>
                                            <p:cond delay="0"/>
                                          </p:stCondLst>
                                        </p:cTn>
                                        <p:tgtEl>
                                          <p:spTgt spid="55"/>
                                        </p:tgtEl>
                                        <p:attrNameLst>
                                          <p:attrName>style.visibility</p:attrName>
                                        </p:attrNameLst>
                                      </p:cBhvr>
                                      <p:to>
                                        <p:strVal val="visible"/>
                                      </p:to>
                                    </p:set>
                                    <p:animEffect transition="in" filter="fade">
                                      <p:cBhvr>
                                        <p:cTn id="31" dur="1000"/>
                                        <p:tgtEl>
                                          <p:spTgt spid="55"/>
                                        </p:tgtEl>
                                      </p:cBhvr>
                                    </p:animEffect>
                                  </p:childTnLst>
                                </p:cTn>
                              </p:par>
                              <p:par>
                                <p:cTn id="32" presetID="10" presetClass="entr" presetSubtype="0" fill="hold" grpId="0" nodeType="withEffect">
                                  <p:stCondLst>
                                    <p:cond delay="250"/>
                                  </p:stCondLst>
                                  <p:childTnLst>
                                    <p:set>
                                      <p:cBhvr>
                                        <p:cTn id="33" dur="1" fill="hold">
                                          <p:stCondLst>
                                            <p:cond delay="0"/>
                                          </p:stCondLst>
                                        </p:cTn>
                                        <p:tgtEl>
                                          <p:spTgt spid="57"/>
                                        </p:tgtEl>
                                        <p:attrNameLst>
                                          <p:attrName>style.visibility</p:attrName>
                                        </p:attrNameLst>
                                      </p:cBhvr>
                                      <p:to>
                                        <p:strVal val="visible"/>
                                      </p:to>
                                    </p:set>
                                    <p:animEffect transition="in" filter="fade">
                                      <p:cBhvr>
                                        <p:cTn id="34" dur="750"/>
                                        <p:tgtEl>
                                          <p:spTgt spid="57"/>
                                        </p:tgtEl>
                                      </p:cBhvr>
                                    </p:animEffect>
                                  </p:childTnLst>
                                </p:cTn>
                              </p:par>
                              <p:par>
                                <p:cTn id="35" presetID="10" presetClass="entr" presetSubtype="0" fill="hold" grpId="0" nodeType="withEffect">
                                  <p:stCondLst>
                                    <p:cond delay="250"/>
                                  </p:stCondLst>
                                  <p:childTnLst>
                                    <p:set>
                                      <p:cBhvr>
                                        <p:cTn id="36" dur="1" fill="hold">
                                          <p:stCondLst>
                                            <p:cond delay="0"/>
                                          </p:stCondLst>
                                        </p:cTn>
                                        <p:tgtEl>
                                          <p:spTgt spid="56"/>
                                        </p:tgtEl>
                                        <p:attrNameLst>
                                          <p:attrName>style.visibility</p:attrName>
                                        </p:attrNameLst>
                                      </p:cBhvr>
                                      <p:to>
                                        <p:strVal val="visible"/>
                                      </p:to>
                                    </p:set>
                                    <p:animEffect transition="in" filter="fade">
                                      <p:cBhvr>
                                        <p:cTn id="37" dur="750"/>
                                        <p:tgtEl>
                                          <p:spTgt spid="5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58"/>
                                        </p:tgtEl>
                                        <p:attrNameLst>
                                          <p:attrName>style.visibility</p:attrName>
                                        </p:attrNameLst>
                                      </p:cBhvr>
                                      <p:to>
                                        <p:strVal val="visible"/>
                                      </p:to>
                                    </p:set>
                                    <p:animEffect transition="in" filter="fade">
                                      <p:cBhvr>
                                        <p:cTn id="40" dur="500"/>
                                        <p:tgtEl>
                                          <p:spTgt spid="58"/>
                                        </p:tgtEl>
                                      </p:cBhvr>
                                    </p:animEffect>
                                  </p:childTnLst>
                                </p:cTn>
                              </p:par>
                              <p:par>
                                <p:cTn id="41" presetID="10" presetClass="entr" presetSubtype="0" fill="hold" grpId="0" nodeType="withEffect">
                                  <p:stCondLst>
                                    <p:cond delay="250"/>
                                  </p:stCondLst>
                                  <p:childTnLst>
                                    <p:set>
                                      <p:cBhvr>
                                        <p:cTn id="42" dur="1" fill="hold">
                                          <p:stCondLst>
                                            <p:cond delay="0"/>
                                          </p:stCondLst>
                                        </p:cTn>
                                        <p:tgtEl>
                                          <p:spTgt spid="59"/>
                                        </p:tgtEl>
                                        <p:attrNameLst>
                                          <p:attrName>style.visibility</p:attrName>
                                        </p:attrNameLst>
                                      </p:cBhvr>
                                      <p:to>
                                        <p:strVal val="visible"/>
                                      </p:to>
                                    </p:set>
                                    <p:animEffect transition="in" filter="fade">
                                      <p:cBhvr>
                                        <p:cTn id="43" dur="1250"/>
                                        <p:tgtEl>
                                          <p:spTgt spid="59"/>
                                        </p:tgtEl>
                                      </p:cBhvr>
                                    </p:animEffect>
                                  </p:childTnLst>
                                </p:cTn>
                              </p:par>
                              <p:par>
                                <p:cTn id="44" presetID="10" presetClass="entr" presetSubtype="0" fill="hold" grpId="0" nodeType="withEffect">
                                  <p:stCondLst>
                                    <p:cond delay="250"/>
                                  </p:stCondLst>
                                  <p:childTnLst>
                                    <p:set>
                                      <p:cBhvr>
                                        <p:cTn id="45" dur="1" fill="hold">
                                          <p:stCondLst>
                                            <p:cond delay="0"/>
                                          </p:stCondLst>
                                        </p:cTn>
                                        <p:tgtEl>
                                          <p:spTgt spid="60"/>
                                        </p:tgtEl>
                                        <p:attrNameLst>
                                          <p:attrName>style.visibility</p:attrName>
                                        </p:attrNameLst>
                                      </p:cBhvr>
                                      <p:to>
                                        <p:strVal val="visible"/>
                                      </p:to>
                                    </p:set>
                                    <p:animEffect transition="in" filter="fade">
                                      <p:cBhvr>
                                        <p:cTn id="46" dur="1250"/>
                                        <p:tgtEl>
                                          <p:spTgt spid="60"/>
                                        </p:tgtEl>
                                      </p:cBhvr>
                                    </p:animEffect>
                                  </p:childTnLst>
                                </p:cTn>
                              </p:par>
                            </p:childTnLst>
                          </p:cTn>
                        </p:par>
                        <p:par>
                          <p:cTn id="47" fill="hold">
                            <p:stCondLst>
                              <p:cond delay="1000"/>
                            </p:stCondLst>
                            <p:childTnLst>
                              <p:par>
                                <p:cTn id="48" presetID="49" presetClass="entr" presetSubtype="0" decel="100000" fill="hold" grpId="0" nodeType="afterEffect">
                                  <p:stCondLst>
                                    <p:cond delay="0"/>
                                  </p:stCondLst>
                                  <p:iterate type="lt">
                                    <p:tmPct val="50000"/>
                                  </p:iterate>
                                  <p:childTnLst>
                                    <p:set>
                                      <p:cBhvr>
                                        <p:cTn id="49" dur="1" fill="hold">
                                          <p:stCondLst>
                                            <p:cond delay="0"/>
                                          </p:stCondLst>
                                        </p:cTn>
                                        <p:tgtEl>
                                          <p:spTgt spid="73"/>
                                        </p:tgtEl>
                                        <p:attrNameLst>
                                          <p:attrName>style.visibility</p:attrName>
                                        </p:attrNameLst>
                                      </p:cBhvr>
                                      <p:to>
                                        <p:strVal val="visible"/>
                                      </p:to>
                                    </p:set>
                                    <p:anim calcmode="lin" valueType="num">
                                      <p:cBhvr>
                                        <p:cTn id="50" dur="700" fill="hold"/>
                                        <p:tgtEl>
                                          <p:spTgt spid="73"/>
                                        </p:tgtEl>
                                        <p:attrNameLst>
                                          <p:attrName>ppt_w</p:attrName>
                                        </p:attrNameLst>
                                      </p:cBhvr>
                                      <p:tavLst>
                                        <p:tav tm="0">
                                          <p:val>
                                            <p:fltVal val="0"/>
                                          </p:val>
                                        </p:tav>
                                        <p:tav tm="100000">
                                          <p:val>
                                            <p:strVal val="#ppt_w"/>
                                          </p:val>
                                        </p:tav>
                                      </p:tavLst>
                                    </p:anim>
                                    <p:anim calcmode="lin" valueType="num">
                                      <p:cBhvr>
                                        <p:cTn id="51" dur="700" fill="hold"/>
                                        <p:tgtEl>
                                          <p:spTgt spid="73"/>
                                        </p:tgtEl>
                                        <p:attrNameLst>
                                          <p:attrName>ppt_h</p:attrName>
                                        </p:attrNameLst>
                                      </p:cBhvr>
                                      <p:tavLst>
                                        <p:tav tm="0">
                                          <p:val>
                                            <p:fltVal val="0"/>
                                          </p:val>
                                        </p:tav>
                                        <p:tav tm="100000">
                                          <p:val>
                                            <p:strVal val="#ppt_h"/>
                                          </p:val>
                                        </p:tav>
                                      </p:tavLst>
                                    </p:anim>
                                    <p:anim calcmode="lin" valueType="num">
                                      <p:cBhvr>
                                        <p:cTn id="52" dur="700" fill="hold"/>
                                        <p:tgtEl>
                                          <p:spTgt spid="73"/>
                                        </p:tgtEl>
                                        <p:attrNameLst>
                                          <p:attrName>style.rotation</p:attrName>
                                        </p:attrNameLst>
                                      </p:cBhvr>
                                      <p:tavLst>
                                        <p:tav tm="0">
                                          <p:val>
                                            <p:fltVal val="360"/>
                                          </p:val>
                                        </p:tav>
                                        <p:tav tm="100000">
                                          <p:val>
                                            <p:fltVal val="0"/>
                                          </p:val>
                                        </p:tav>
                                      </p:tavLst>
                                    </p:anim>
                                    <p:animEffect transition="in" filter="fade">
                                      <p:cBhvr>
                                        <p:cTn id="53" dur="700"/>
                                        <p:tgtEl>
                                          <p:spTgt spid="7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0"/>
                                        </p:tgtEl>
                                        <p:attrNameLst>
                                          <p:attrName>style.visibility</p:attrName>
                                        </p:attrNameLst>
                                      </p:cBhvr>
                                      <p:to>
                                        <p:strVal val="visible"/>
                                      </p:to>
                                    </p:set>
                                    <p:animEffect transition="in" filter="fade">
                                      <p:cBhvr>
                                        <p:cTn id="56" dur="500"/>
                                        <p:tgtEl>
                                          <p:spTgt spid="70"/>
                                        </p:tgtEl>
                                      </p:cBhvr>
                                    </p:animEffect>
                                  </p:childTnLst>
                                </p:cTn>
                              </p:par>
                              <p:par>
                                <p:cTn id="57" presetID="10" presetClass="entr" presetSubtype="0" fill="hold" grpId="0" nodeType="withEffect">
                                  <p:stCondLst>
                                    <p:cond delay="500"/>
                                  </p:stCondLst>
                                  <p:childTnLst>
                                    <p:set>
                                      <p:cBhvr>
                                        <p:cTn id="58" dur="1" fill="hold">
                                          <p:stCondLst>
                                            <p:cond delay="0"/>
                                          </p:stCondLst>
                                        </p:cTn>
                                        <p:tgtEl>
                                          <p:spTgt spid="81"/>
                                        </p:tgtEl>
                                        <p:attrNameLst>
                                          <p:attrName>style.visibility</p:attrName>
                                        </p:attrNameLst>
                                      </p:cBhvr>
                                      <p:to>
                                        <p:strVal val="visible"/>
                                      </p:to>
                                    </p:set>
                                    <p:animEffect transition="in" filter="fade">
                                      <p:cBhvr>
                                        <p:cTn id="59" dur="500"/>
                                        <p:tgtEl>
                                          <p:spTgt spid="81"/>
                                        </p:tgtEl>
                                      </p:cBhvr>
                                    </p:animEffect>
                                  </p:childTnLst>
                                </p:cTn>
                              </p:par>
                              <p:par>
                                <p:cTn id="60" presetID="49" presetClass="entr" presetSubtype="0" decel="100000" fill="hold" grpId="0" nodeType="withEffect">
                                  <p:stCondLst>
                                    <p:cond delay="900"/>
                                  </p:stCondLst>
                                  <p:iterate type="lt">
                                    <p:tmPct val="50000"/>
                                  </p:iterate>
                                  <p:childTnLst>
                                    <p:set>
                                      <p:cBhvr>
                                        <p:cTn id="61" dur="1" fill="hold">
                                          <p:stCondLst>
                                            <p:cond delay="0"/>
                                          </p:stCondLst>
                                        </p:cTn>
                                        <p:tgtEl>
                                          <p:spTgt spid="72"/>
                                        </p:tgtEl>
                                        <p:attrNameLst>
                                          <p:attrName>style.visibility</p:attrName>
                                        </p:attrNameLst>
                                      </p:cBhvr>
                                      <p:to>
                                        <p:strVal val="visible"/>
                                      </p:to>
                                    </p:set>
                                    <p:anim calcmode="lin" valueType="num">
                                      <p:cBhvr>
                                        <p:cTn id="62" dur="700" fill="hold"/>
                                        <p:tgtEl>
                                          <p:spTgt spid="72"/>
                                        </p:tgtEl>
                                        <p:attrNameLst>
                                          <p:attrName>ppt_w</p:attrName>
                                        </p:attrNameLst>
                                      </p:cBhvr>
                                      <p:tavLst>
                                        <p:tav tm="0">
                                          <p:val>
                                            <p:fltVal val="0"/>
                                          </p:val>
                                        </p:tav>
                                        <p:tav tm="100000">
                                          <p:val>
                                            <p:strVal val="#ppt_w"/>
                                          </p:val>
                                        </p:tav>
                                      </p:tavLst>
                                    </p:anim>
                                    <p:anim calcmode="lin" valueType="num">
                                      <p:cBhvr>
                                        <p:cTn id="63" dur="700" fill="hold"/>
                                        <p:tgtEl>
                                          <p:spTgt spid="72"/>
                                        </p:tgtEl>
                                        <p:attrNameLst>
                                          <p:attrName>ppt_h</p:attrName>
                                        </p:attrNameLst>
                                      </p:cBhvr>
                                      <p:tavLst>
                                        <p:tav tm="0">
                                          <p:val>
                                            <p:fltVal val="0"/>
                                          </p:val>
                                        </p:tav>
                                        <p:tav tm="100000">
                                          <p:val>
                                            <p:strVal val="#ppt_h"/>
                                          </p:val>
                                        </p:tav>
                                      </p:tavLst>
                                    </p:anim>
                                    <p:anim calcmode="lin" valueType="num">
                                      <p:cBhvr>
                                        <p:cTn id="64" dur="700" fill="hold"/>
                                        <p:tgtEl>
                                          <p:spTgt spid="72"/>
                                        </p:tgtEl>
                                        <p:attrNameLst>
                                          <p:attrName>style.rotation</p:attrName>
                                        </p:attrNameLst>
                                      </p:cBhvr>
                                      <p:tavLst>
                                        <p:tav tm="0">
                                          <p:val>
                                            <p:fltVal val="360"/>
                                          </p:val>
                                        </p:tav>
                                        <p:tav tm="100000">
                                          <p:val>
                                            <p:fltVal val="0"/>
                                          </p:val>
                                        </p:tav>
                                      </p:tavLst>
                                    </p:anim>
                                    <p:animEffect transition="in" filter="fade">
                                      <p:cBhvr>
                                        <p:cTn id="65" dur="700"/>
                                        <p:tgtEl>
                                          <p:spTgt spid="72"/>
                                        </p:tgtEl>
                                      </p:cBhvr>
                                    </p:animEffect>
                                  </p:childTnLst>
                                </p:cTn>
                              </p:par>
                              <p:par>
                                <p:cTn id="66" presetID="10" presetClass="entr" presetSubtype="0" fill="hold" grpId="0" nodeType="withEffect">
                                  <p:stCondLst>
                                    <p:cond delay="900"/>
                                  </p:stCondLst>
                                  <p:childTnLst>
                                    <p:set>
                                      <p:cBhvr>
                                        <p:cTn id="67" dur="1" fill="hold">
                                          <p:stCondLst>
                                            <p:cond delay="0"/>
                                          </p:stCondLst>
                                        </p:cTn>
                                        <p:tgtEl>
                                          <p:spTgt spid="82"/>
                                        </p:tgtEl>
                                        <p:attrNameLst>
                                          <p:attrName>style.visibility</p:attrName>
                                        </p:attrNameLst>
                                      </p:cBhvr>
                                      <p:to>
                                        <p:strVal val="visible"/>
                                      </p:to>
                                    </p:set>
                                    <p:animEffect transition="in" filter="fade">
                                      <p:cBhvr>
                                        <p:cTn id="68" dur="500"/>
                                        <p:tgtEl>
                                          <p:spTgt spid="82"/>
                                        </p:tgtEl>
                                      </p:cBhvr>
                                    </p:animEffect>
                                  </p:childTnLst>
                                </p:cTn>
                              </p:par>
                              <p:par>
                                <p:cTn id="69" presetID="10" presetClass="entr" presetSubtype="0" fill="hold" grpId="0" nodeType="withEffect">
                                  <p:stCondLst>
                                    <p:cond delay="1300"/>
                                  </p:stCondLst>
                                  <p:childTnLst>
                                    <p:set>
                                      <p:cBhvr>
                                        <p:cTn id="70" dur="1" fill="hold">
                                          <p:stCondLst>
                                            <p:cond delay="0"/>
                                          </p:stCondLst>
                                        </p:cTn>
                                        <p:tgtEl>
                                          <p:spTgt spid="71"/>
                                        </p:tgtEl>
                                        <p:attrNameLst>
                                          <p:attrName>style.visibility</p:attrName>
                                        </p:attrNameLst>
                                      </p:cBhvr>
                                      <p:to>
                                        <p:strVal val="visible"/>
                                      </p:to>
                                    </p:set>
                                    <p:animEffect transition="in" filter="fade">
                                      <p:cBhvr>
                                        <p:cTn id="71" dur="500"/>
                                        <p:tgtEl>
                                          <p:spTgt spid="71"/>
                                        </p:tgtEl>
                                      </p:cBhvr>
                                    </p:animEffect>
                                  </p:childTnLst>
                                </p:cTn>
                              </p:par>
                            </p:childTnLst>
                          </p:cTn>
                        </p:par>
                        <p:par>
                          <p:cTn id="72" fill="hold">
                            <p:stCondLst>
                              <p:cond delay="1949"/>
                            </p:stCondLst>
                            <p:childTnLst>
                              <p:par>
                                <p:cTn id="73" presetID="2" presetClass="entr" presetSubtype="4" fill="hold" grpId="0" nodeType="afterEffect">
                                  <p:stCondLst>
                                    <p:cond delay="0"/>
                                  </p:stCondLst>
                                  <p:iterate type="lt">
                                    <p:tmPct val="10000"/>
                                  </p:iterate>
                                  <p:childTnLst>
                                    <p:set>
                                      <p:cBhvr>
                                        <p:cTn id="74" dur="1" fill="hold">
                                          <p:stCondLst>
                                            <p:cond delay="0"/>
                                          </p:stCondLst>
                                        </p:cTn>
                                        <p:tgtEl>
                                          <p:spTgt spid="91"/>
                                        </p:tgtEl>
                                        <p:attrNameLst>
                                          <p:attrName>style.visibility</p:attrName>
                                        </p:attrNameLst>
                                      </p:cBhvr>
                                      <p:to>
                                        <p:strVal val="visible"/>
                                      </p:to>
                                    </p:set>
                                    <p:anim calcmode="lin" valueType="num">
                                      <p:cBhvr additive="base">
                                        <p:cTn id="75" dur="500" fill="hold"/>
                                        <p:tgtEl>
                                          <p:spTgt spid="91"/>
                                        </p:tgtEl>
                                        <p:attrNameLst>
                                          <p:attrName>ppt_x</p:attrName>
                                        </p:attrNameLst>
                                      </p:cBhvr>
                                      <p:tavLst>
                                        <p:tav tm="0">
                                          <p:val>
                                            <p:strVal val="#ppt_x"/>
                                          </p:val>
                                        </p:tav>
                                        <p:tav tm="100000">
                                          <p:val>
                                            <p:strVal val="#ppt_x"/>
                                          </p:val>
                                        </p:tav>
                                      </p:tavLst>
                                    </p:anim>
                                    <p:anim calcmode="lin" valueType="num">
                                      <p:cBhvr additive="base">
                                        <p:cTn id="76" dur="500" fill="hold"/>
                                        <p:tgtEl>
                                          <p:spTgt spid="91"/>
                                        </p:tgtEl>
                                        <p:attrNameLst>
                                          <p:attrName>ppt_y</p:attrName>
                                        </p:attrNameLst>
                                      </p:cBhvr>
                                      <p:tavLst>
                                        <p:tav tm="0">
                                          <p:val>
                                            <p:strVal val="1+#ppt_h/2"/>
                                          </p:val>
                                        </p:tav>
                                        <p:tav tm="100000">
                                          <p:val>
                                            <p:strVal val="#ppt_y"/>
                                          </p:val>
                                        </p:tav>
                                      </p:tavLst>
                                    </p:anim>
                                  </p:childTnLst>
                                </p:cTn>
                              </p:par>
                              <p:par>
                                <p:cTn id="77" presetID="26" presetClass="emph" presetSubtype="0" fill="hold" grpId="1" nodeType="withEffect">
                                  <p:stCondLst>
                                    <p:cond delay="1000"/>
                                  </p:stCondLst>
                                  <p:iterate type="lt">
                                    <p:tmPct val="10000"/>
                                  </p:iterate>
                                  <p:childTnLst>
                                    <p:animEffect transition="out" filter="fade">
                                      <p:cBhvr>
                                        <p:cTn id="78" dur="500" tmFilter="0, 0; .2, .5; .8, .5; 1, 0"/>
                                        <p:tgtEl>
                                          <p:spTgt spid="91"/>
                                        </p:tgtEl>
                                      </p:cBhvr>
                                    </p:animEffect>
                                    <p:animScale>
                                      <p:cBhvr>
                                        <p:cTn id="79" dur="250" autoRev="1" fill="hold"/>
                                        <p:tgtEl>
                                          <p:spTgt spid="91"/>
                                        </p:tgtEl>
                                      </p:cBhvr>
                                      <p:by x="105000" y="105000"/>
                                    </p:animScale>
                                  </p:childTnLst>
                                </p:cTn>
                              </p:par>
                              <p:par>
                                <p:cTn id="80" presetID="14" presetClass="entr" presetSubtype="10" fill="hold" grpId="0" nodeType="withEffect">
                                  <p:stCondLst>
                                    <p:cond delay="1500"/>
                                  </p:stCondLst>
                                  <p:childTnLst>
                                    <p:set>
                                      <p:cBhvr>
                                        <p:cTn id="81" dur="1" fill="hold">
                                          <p:stCondLst>
                                            <p:cond delay="0"/>
                                          </p:stCondLst>
                                        </p:cTn>
                                        <p:tgtEl>
                                          <p:spTgt spid="22"/>
                                        </p:tgtEl>
                                        <p:attrNameLst>
                                          <p:attrName>style.visibility</p:attrName>
                                        </p:attrNameLst>
                                      </p:cBhvr>
                                      <p:to>
                                        <p:strVal val="visible"/>
                                      </p:to>
                                    </p:set>
                                    <p:animEffect transition="in" filter="randombar(horizontal)">
                                      <p:cBhvr>
                                        <p:cTn id="82" dur="500"/>
                                        <p:tgtEl>
                                          <p:spTgt spid="22"/>
                                        </p:tgtEl>
                                      </p:cBhvr>
                                    </p:animEffect>
                                  </p:childTnLst>
                                </p:cTn>
                              </p:par>
                            </p:childTnLst>
                          </p:cTn>
                        </p:par>
                        <p:par>
                          <p:cTn id="83" fill="hold">
                            <p:stCondLst>
                              <p:cond delay="3949"/>
                            </p:stCondLst>
                            <p:childTnLst>
                              <p:par>
                                <p:cTn id="84" presetID="2" presetClass="entr" presetSubtype="1" decel="100000" fill="hold" nodeType="afterEffect">
                                  <p:stCondLst>
                                    <p:cond delay="0"/>
                                  </p:stCondLst>
                                  <p:childTnLst>
                                    <p:set>
                                      <p:cBhvr>
                                        <p:cTn id="85" dur="1" fill="hold">
                                          <p:stCondLst>
                                            <p:cond delay="0"/>
                                          </p:stCondLst>
                                        </p:cTn>
                                        <p:tgtEl>
                                          <p:spTgt spid="23"/>
                                        </p:tgtEl>
                                        <p:attrNameLst>
                                          <p:attrName>style.visibility</p:attrName>
                                        </p:attrNameLst>
                                      </p:cBhvr>
                                      <p:to>
                                        <p:strVal val="visible"/>
                                      </p:to>
                                    </p:set>
                                    <p:anim calcmode="lin" valueType="num">
                                      <p:cBhvr additive="base">
                                        <p:cTn id="86" dur="1500" fill="hold"/>
                                        <p:tgtEl>
                                          <p:spTgt spid="23"/>
                                        </p:tgtEl>
                                        <p:attrNameLst>
                                          <p:attrName>ppt_x</p:attrName>
                                        </p:attrNameLst>
                                      </p:cBhvr>
                                      <p:tavLst>
                                        <p:tav tm="0">
                                          <p:val>
                                            <p:strVal val="#ppt_x"/>
                                          </p:val>
                                        </p:tav>
                                        <p:tav tm="100000">
                                          <p:val>
                                            <p:strVal val="#ppt_x"/>
                                          </p:val>
                                        </p:tav>
                                      </p:tavLst>
                                    </p:anim>
                                    <p:anim calcmode="lin" valueType="num">
                                      <p:cBhvr additive="base">
                                        <p:cTn id="87" dur="1500" fill="hold"/>
                                        <p:tgtEl>
                                          <p:spTgt spid="23"/>
                                        </p:tgtEl>
                                        <p:attrNameLst>
                                          <p:attrName>ppt_y</p:attrName>
                                        </p:attrNameLst>
                                      </p:cBhvr>
                                      <p:tavLst>
                                        <p:tav tm="0">
                                          <p:val>
                                            <p:strVal val="0-#ppt_h/2"/>
                                          </p:val>
                                        </p:tav>
                                        <p:tav tm="100000">
                                          <p:val>
                                            <p:strVal val="#ppt_y"/>
                                          </p:val>
                                        </p:tav>
                                      </p:tavLst>
                                    </p:anim>
                                  </p:childTnLst>
                                </p:cTn>
                              </p:par>
                              <p:par>
                                <p:cTn id="88" presetID="2" presetClass="entr" presetSubtype="1" decel="100000" fill="hold" nodeType="withEffect">
                                  <p:stCondLst>
                                    <p:cond delay="300"/>
                                  </p:stCondLst>
                                  <p:childTnLst>
                                    <p:set>
                                      <p:cBhvr>
                                        <p:cTn id="89" dur="1" fill="hold">
                                          <p:stCondLst>
                                            <p:cond delay="0"/>
                                          </p:stCondLst>
                                        </p:cTn>
                                        <p:tgtEl>
                                          <p:spTgt spid="24"/>
                                        </p:tgtEl>
                                        <p:attrNameLst>
                                          <p:attrName>style.visibility</p:attrName>
                                        </p:attrNameLst>
                                      </p:cBhvr>
                                      <p:to>
                                        <p:strVal val="visible"/>
                                      </p:to>
                                    </p:set>
                                    <p:anim calcmode="lin" valueType="num">
                                      <p:cBhvr additive="base">
                                        <p:cTn id="90" dur="1500" fill="hold"/>
                                        <p:tgtEl>
                                          <p:spTgt spid="24"/>
                                        </p:tgtEl>
                                        <p:attrNameLst>
                                          <p:attrName>ppt_x</p:attrName>
                                        </p:attrNameLst>
                                      </p:cBhvr>
                                      <p:tavLst>
                                        <p:tav tm="0">
                                          <p:val>
                                            <p:strVal val="#ppt_x"/>
                                          </p:val>
                                        </p:tav>
                                        <p:tav tm="100000">
                                          <p:val>
                                            <p:strVal val="#ppt_x"/>
                                          </p:val>
                                        </p:tav>
                                      </p:tavLst>
                                    </p:anim>
                                    <p:anim calcmode="lin" valueType="num">
                                      <p:cBhvr additive="base">
                                        <p:cTn id="91" dur="1500" fill="hold"/>
                                        <p:tgtEl>
                                          <p:spTgt spid="24"/>
                                        </p:tgtEl>
                                        <p:attrNameLst>
                                          <p:attrName>ppt_y</p:attrName>
                                        </p:attrNameLst>
                                      </p:cBhvr>
                                      <p:tavLst>
                                        <p:tav tm="0">
                                          <p:val>
                                            <p:strVal val="0-#ppt_h/2"/>
                                          </p:val>
                                        </p:tav>
                                        <p:tav tm="100000">
                                          <p:val>
                                            <p:strVal val="#ppt_y"/>
                                          </p:val>
                                        </p:tav>
                                      </p:tavLst>
                                    </p:anim>
                                  </p:childTnLst>
                                </p:cTn>
                              </p:par>
                              <p:par>
                                <p:cTn id="92" presetID="2" presetClass="entr" presetSubtype="4" fill="hold" grpId="1" nodeType="withEffect">
                                  <p:stCondLst>
                                    <p:cond delay="0"/>
                                  </p:stCondLst>
                                  <p:childTnLst>
                                    <p:set>
                                      <p:cBhvr>
                                        <p:cTn id="93" dur="1" fill="hold">
                                          <p:stCondLst>
                                            <p:cond delay="0"/>
                                          </p:stCondLst>
                                        </p:cTn>
                                        <p:tgtEl>
                                          <p:spTgt spid="31"/>
                                        </p:tgtEl>
                                        <p:attrNameLst>
                                          <p:attrName>style.visibility</p:attrName>
                                        </p:attrNameLst>
                                      </p:cBhvr>
                                      <p:to>
                                        <p:strVal val="visible"/>
                                      </p:to>
                                    </p:set>
                                    <p:anim calcmode="lin" valueType="num">
                                      <p:cBhvr additive="base">
                                        <p:cTn id="94" dur="3000" fill="hold"/>
                                        <p:tgtEl>
                                          <p:spTgt spid="31"/>
                                        </p:tgtEl>
                                        <p:attrNameLst>
                                          <p:attrName>ppt_x</p:attrName>
                                        </p:attrNameLst>
                                      </p:cBhvr>
                                      <p:tavLst>
                                        <p:tav tm="0">
                                          <p:val>
                                            <p:strVal val="#ppt_x"/>
                                          </p:val>
                                        </p:tav>
                                        <p:tav tm="100000">
                                          <p:val>
                                            <p:strVal val="#ppt_x"/>
                                          </p:val>
                                        </p:tav>
                                      </p:tavLst>
                                    </p:anim>
                                    <p:anim calcmode="lin" valueType="num">
                                      <p:cBhvr additive="base">
                                        <p:cTn id="95" dur="3000" fill="hold"/>
                                        <p:tgtEl>
                                          <p:spTgt spid="31"/>
                                        </p:tgtEl>
                                        <p:attrNameLst>
                                          <p:attrName>ppt_y</p:attrName>
                                        </p:attrNameLst>
                                      </p:cBhvr>
                                      <p:tavLst>
                                        <p:tav tm="0">
                                          <p:val>
                                            <p:strVal val="1+#ppt_h/2"/>
                                          </p:val>
                                        </p:tav>
                                        <p:tav tm="100000">
                                          <p:val>
                                            <p:strVal val="#ppt_y"/>
                                          </p:val>
                                        </p:tav>
                                      </p:tavLst>
                                    </p:anim>
                                  </p:childTnLst>
                                </p:cTn>
                              </p:par>
                              <p:par>
                                <p:cTn id="96" presetID="2" presetClass="entr" presetSubtype="4" fill="hold" nodeType="withEffect">
                                  <p:stCondLst>
                                    <p:cond delay="0"/>
                                  </p:stCondLst>
                                  <p:childTnLst>
                                    <p:set>
                                      <p:cBhvr>
                                        <p:cTn id="97" dur="1" fill="hold">
                                          <p:stCondLst>
                                            <p:cond delay="0"/>
                                          </p:stCondLst>
                                        </p:cTn>
                                        <p:tgtEl>
                                          <p:spTgt spid="32"/>
                                        </p:tgtEl>
                                        <p:attrNameLst>
                                          <p:attrName>style.visibility</p:attrName>
                                        </p:attrNameLst>
                                      </p:cBhvr>
                                      <p:to>
                                        <p:strVal val="visible"/>
                                      </p:to>
                                    </p:set>
                                    <p:anim calcmode="lin" valueType="num">
                                      <p:cBhvr additive="base">
                                        <p:cTn id="98" dur="3000" fill="hold"/>
                                        <p:tgtEl>
                                          <p:spTgt spid="32"/>
                                        </p:tgtEl>
                                        <p:attrNameLst>
                                          <p:attrName>ppt_x</p:attrName>
                                        </p:attrNameLst>
                                      </p:cBhvr>
                                      <p:tavLst>
                                        <p:tav tm="0">
                                          <p:val>
                                            <p:strVal val="#ppt_x"/>
                                          </p:val>
                                        </p:tav>
                                        <p:tav tm="100000">
                                          <p:val>
                                            <p:strVal val="#ppt_x"/>
                                          </p:val>
                                        </p:tav>
                                      </p:tavLst>
                                    </p:anim>
                                    <p:anim calcmode="lin" valueType="num">
                                      <p:cBhvr additive="base">
                                        <p:cTn id="99" dur="3000" fill="hold"/>
                                        <p:tgtEl>
                                          <p:spTgt spid="32"/>
                                        </p:tgtEl>
                                        <p:attrNameLst>
                                          <p:attrName>ppt_y</p:attrName>
                                        </p:attrNameLst>
                                      </p:cBhvr>
                                      <p:tavLst>
                                        <p:tav tm="0">
                                          <p:val>
                                            <p:strVal val="1+#ppt_h/2"/>
                                          </p:val>
                                        </p:tav>
                                        <p:tav tm="100000">
                                          <p:val>
                                            <p:strVal val="#ppt_y"/>
                                          </p:val>
                                        </p:tav>
                                      </p:tavLst>
                                    </p:anim>
                                  </p:childTnLst>
                                </p:cTn>
                              </p:par>
                            </p:childTnLst>
                          </p:cTn>
                        </p:par>
                        <p:par>
                          <p:cTn id="100" fill="hold">
                            <p:stCondLst>
                              <p:cond delay="5449"/>
                            </p:stCondLst>
                            <p:childTnLst>
                              <p:par>
                                <p:cTn id="101" presetID="22" presetClass="exit" presetSubtype="1" fill="hold" grpId="0" nodeType="afterEffect">
                                  <p:stCondLst>
                                    <p:cond delay="0"/>
                                  </p:stCondLst>
                                  <p:childTnLst>
                                    <p:animEffect transition="out" filter="wipe(up)">
                                      <p:cBhvr>
                                        <p:cTn id="102" dur="5000"/>
                                        <p:tgtEl>
                                          <p:spTgt spid="31"/>
                                        </p:tgtEl>
                                      </p:cBhvr>
                                    </p:animEffect>
                                    <p:set>
                                      <p:cBhvr>
                                        <p:cTn id="103" dur="1" fill="hold">
                                          <p:stCondLst>
                                            <p:cond delay="4999"/>
                                          </p:stCondLst>
                                        </p:cTn>
                                        <p:tgtEl>
                                          <p:spTgt spid="31"/>
                                        </p:tgtEl>
                                        <p:attrNameLst>
                                          <p:attrName>style.visibility</p:attrName>
                                        </p:attrNameLst>
                                      </p:cBhvr>
                                      <p:to>
                                        <p:strVal val="hidden"/>
                                      </p:to>
                                    </p:set>
                                  </p:childTnLst>
                                </p:cTn>
                              </p:par>
                              <p:par>
                                <p:cTn id="104" presetID="2" presetClass="entr" presetSubtype="4" fill="hold" nodeType="withEffect">
                                  <p:stCondLst>
                                    <p:cond delay="0"/>
                                  </p:stCondLst>
                                  <p:childTnLst>
                                    <p:set>
                                      <p:cBhvr>
                                        <p:cTn id="105" dur="1" fill="hold">
                                          <p:stCondLst>
                                            <p:cond delay="0"/>
                                          </p:stCondLst>
                                        </p:cTn>
                                        <p:tgtEl>
                                          <p:spTgt spid="32"/>
                                        </p:tgtEl>
                                        <p:attrNameLst>
                                          <p:attrName>style.visibility</p:attrName>
                                        </p:attrNameLst>
                                      </p:cBhvr>
                                      <p:to>
                                        <p:strVal val="visible"/>
                                      </p:to>
                                    </p:set>
                                    <p:anim calcmode="lin" valueType="num">
                                      <p:cBhvr additive="base">
                                        <p:cTn id="106" dur="3000" fill="hold"/>
                                        <p:tgtEl>
                                          <p:spTgt spid="32"/>
                                        </p:tgtEl>
                                        <p:attrNameLst>
                                          <p:attrName>ppt_x</p:attrName>
                                        </p:attrNameLst>
                                      </p:cBhvr>
                                      <p:tavLst>
                                        <p:tav tm="0">
                                          <p:val>
                                            <p:strVal val="#ppt_x"/>
                                          </p:val>
                                        </p:tav>
                                        <p:tav tm="100000">
                                          <p:val>
                                            <p:strVal val="#ppt_x"/>
                                          </p:val>
                                        </p:tav>
                                      </p:tavLst>
                                    </p:anim>
                                    <p:anim calcmode="lin" valueType="num">
                                      <p:cBhvr additive="base">
                                        <p:cTn id="107" dur="3000" fill="hold"/>
                                        <p:tgtEl>
                                          <p:spTgt spid="32"/>
                                        </p:tgtEl>
                                        <p:attrNameLst>
                                          <p:attrName>ppt_y</p:attrName>
                                        </p:attrNameLst>
                                      </p:cBhvr>
                                      <p:tavLst>
                                        <p:tav tm="0">
                                          <p:val>
                                            <p:strVal val="1+#ppt_h/2"/>
                                          </p:val>
                                        </p:tav>
                                        <p:tav tm="100000">
                                          <p:val>
                                            <p:strVal val="#ppt_y"/>
                                          </p:val>
                                        </p:tav>
                                      </p:tavLst>
                                    </p:anim>
                                  </p:childTnLst>
                                </p:cTn>
                              </p:par>
                              <p:par>
                                <p:cTn id="108" presetID="42" presetClass="path" presetSubtype="0" accel="50000" decel="50000" fill="hold" nodeType="withEffect">
                                  <p:stCondLst>
                                    <p:cond delay="0"/>
                                  </p:stCondLst>
                                  <p:childTnLst>
                                    <p:animMotion origin="layout" path="M -8.33333E-7 -3.33333E-6 L -8.33333E-7 0.16459 " pathEditMode="relative" rAng="0" ptsTypes="AA">
                                      <p:cBhvr>
                                        <p:cTn id="109" dur="5000" fill="hold"/>
                                        <p:tgtEl>
                                          <p:spTgt spid="32"/>
                                        </p:tgtEl>
                                        <p:attrNameLst>
                                          <p:attrName>ppt_x</p:attrName>
                                          <p:attrName>ppt_y</p:attrName>
                                        </p:attrNameLst>
                                      </p:cBhvr>
                                      <p:rCtr x="0" y="8218"/>
                                    </p:animMotion>
                                  </p:childTnLst>
                                </p:cTn>
                              </p:par>
                              <p:par>
                                <p:cTn id="110" presetID="37" presetClass="emph" presetSubtype="256" fill="hold" nodeType="withEffect">
                                  <p:stCondLst>
                                    <p:cond delay="0"/>
                                  </p:stCondLst>
                                  <p:childTnLst>
                                    <p:animRot by="-5400000">
                                      <p:cBhvr>
                                        <p:cTn id="111" dur="5000" fill="hold"/>
                                        <p:tgtEl>
                                          <p:spTgt spid="32"/>
                                        </p:tgtEl>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6" grpId="0" animBg="1"/>
      <p:bldP spid="57" grpId="0" animBg="1"/>
      <p:bldP spid="58" grpId="0" animBg="1"/>
      <p:bldP spid="59" grpId="0" animBg="1"/>
      <p:bldP spid="60" grpId="0" animBg="1"/>
      <p:bldP spid="70" grpId="0" animBg="1"/>
      <p:bldP spid="71" grpId="0" animBg="1"/>
      <p:bldP spid="72" grpId="0"/>
      <p:bldP spid="73" grpId="0"/>
      <p:bldP spid="75" grpId="0" animBg="1"/>
      <p:bldP spid="76" grpId="0" animBg="1"/>
      <p:bldP spid="77" grpId="0" animBg="1"/>
      <p:bldP spid="78" grpId="0" animBg="1"/>
      <p:bldP spid="80" grpId="0" animBg="1"/>
      <p:bldP spid="81" grpId="0" animBg="1"/>
      <p:bldP spid="82" grpId="0" animBg="1"/>
      <p:bldP spid="91" grpId="0"/>
      <p:bldP spid="91" grpId="1"/>
      <p:bldP spid="22" grpId="0"/>
      <p:bldP spid="31" grpId="0" animBg="1"/>
      <p:bldP spid="31" grpId="1"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智能制造</a:t>
            </a:r>
          </a:p>
        </p:txBody>
      </p:sp>
      <p:pic>
        <p:nvPicPr>
          <p:cNvPr id="5" name="2"/>
          <p:cNvPicPr>
            <a:picLocks noChangeAspect="1"/>
          </p:cNvPicPr>
          <p:nvPr/>
        </p:nvPicPr>
        <p:blipFill rotWithShape="1">
          <a:blip r:embed="rId2" cstate="screen"/>
          <a:srcRect/>
          <a:stretch>
            <a:fillRect/>
          </a:stretch>
        </p:blipFill>
        <p:spPr>
          <a:xfrm>
            <a:off x="284893" y="56713"/>
            <a:ext cx="750968" cy="1441451"/>
          </a:xfrm>
          <a:prstGeom prst="rect">
            <a:avLst/>
          </a:prstGeom>
        </p:spPr>
      </p:pic>
      <p:pic>
        <p:nvPicPr>
          <p:cNvPr id="136" name="图片 135"/>
          <p:cNvPicPr>
            <a:picLocks noChangeAspect="1"/>
          </p:cNvPicPr>
          <p:nvPr/>
        </p:nvPicPr>
        <p:blipFill>
          <a:blip r:embed="rId3">
            <a:extLst>
              <a:ext uri="{BEBA8EAE-BF5A-486C-A8C5-ECC9F3942E4B}">
                <a14:imgProps xmlns:a14="http://schemas.microsoft.com/office/drawing/2010/main">
                  <a14:imgLayer r:embed="rId4">
                    <a14:imgEffect>
                      <a14:colorTemperature colorTemp="11200"/>
                    </a14:imgEffect>
                    <a14:imgEffect>
                      <a14:saturation sat="66000"/>
                    </a14:imgEffect>
                  </a14:imgLayer>
                </a14:imgProps>
              </a:ext>
            </a:extLst>
          </a:blip>
          <a:srcRect/>
          <a:stretch>
            <a:fillRect/>
          </a:stretch>
        </p:blipFill>
        <p:spPr>
          <a:xfrm>
            <a:off x="4756307" y="-437807"/>
            <a:ext cx="7827449" cy="7598150"/>
          </a:xfrm>
          <a:prstGeom prst="rect">
            <a:avLst/>
          </a:prstGeom>
          <a:effectLst>
            <a:outerShdw blurRad="1270000" sx="102000" sy="102000" algn="ctr" rotWithShape="0">
              <a:prstClr val="black">
                <a:alpha val="40000"/>
              </a:prstClr>
            </a:outerShdw>
          </a:effectLst>
        </p:spPr>
      </p:pic>
      <p:pic>
        <p:nvPicPr>
          <p:cNvPr id="137" name="图片 136"/>
          <p:cNvPicPr>
            <a:picLocks noChangeAspect="1"/>
          </p:cNvPicPr>
          <p:nvPr/>
        </p:nvPicPr>
        <p:blipFill>
          <a:blip r:embed="rId5">
            <a:extLst>
              <a:ext uri="{BEBA8EAE-BF5A-486C-A8C5-ECC9F3942E4B}">
                <a14:imgProps xmlns:a14="http://schemas.microsoft.com/office/drawing/2010/main">
                  <a14:imgLayer r:embed="rId6">
                    <a14:imgEffect>
                      <a14:brightnessContrast bright="20000"/>
                    </a14:imgEffect>
                  </a14:imgLayer>
                </a14:imgProps>
              </a:ext>
            </a:extLst>
          </a:blip>
          <a:stretch>
            <a:fillRect/>
          </a:stretch>
        </p:blipFill>
        <p:spPr>
          <a:xfrm flipH="1">
            <a:off x="6234973" y="982341"/>
            <a:ext cx="5261322" cy="6101365"/>
          </a:xfrm>
          <a:prstGeom prst="rect">
            <a:avLst/>
          </a:prstGeom>
        </p:spPr>
      </p:pic>
      <p:sp>
        <p:nvSpPr>
          <p:cNvPr id="138" name="矩形 137"/>
          <p:cNvSpPr/>
          <p:nvPr/>
        </p:nvSpPr>
        <p:spPr>
          <a:xfrm>
            <a:off x="2288264" y="1829708"/>
            <a:ext cx="1415772" cy="338554"/>
          </a:xfrm>
          <a:prstGeom prst="rect">
            <a:avLst/>
          </a:prstGeom>
        </p:spPr>
        <p:txBody>
          <a:bodyPr wrap="none">
            <a:spAutoFit/>
          </a:bodyPr>
          <a:lstStyle/>
          <a:p>
            <a:pPr lvl="0">
              <a:defRPr/>
            </a:pPr>
            <a:r>
              <a:rPr lang="zh-CN" altLang="en-US" sz="1600" b="1" kern="0" dirty="0">
                <a:solidFill>
                  <a:srgbClr val="84FFFF"/>
                </a:solidFill>
                <a:cs typeface="+mn-ea"/>
                <a:sym typeface="+mn-lt"/>
              </a:rPr>
              <a:t>填写段落标题</a:t>
            </a:r>
          </a:p>
        </p:txBody>
      </p:sp>
      <p:sp>
        <p:nvSpPr>
          <p:cNvPr id="139" name="矩形 138"/>
          <p:cNvSpPr/>
          <p:nvPr/>
        </p:nvSpPr>
        <p:spPr>
          <a:xfrm>
            <a:off x="2288264" y="2114330"/>
            <a:ext cx="3248344" cy="854080"/>
          </a:xfrm>
          <a:prstGeom prst="rect">
            <a:avLst/>
          </a:prstGeom>
        </p:spPr>
        <p:txBody>
          <a:bodyPr wrap="square">
            <a:spAutoFit/>
          </a:bodyPr>
          <a:lstStyle/>
          <a:p>
            <a:pPr lvl="0">
              <a:lnSpc>
                <a:spcPct val="150000"/>
              </a:lnSpc>
              <a:defRPr/>
            </a:pPr>
            <a:r>
              <a:rPr lang="zh-CN" altLang="en-US" sz="1100" kern="0" dirty="0">
                <a:solidFill>
                  <a:schemeClr val="bg1"/>
                </a:solidFill>
                <a:cs typeface="+mn-ea"/>
                <a:sym typeface="+mn-lt"/>
              </a:rPr>
              <a:t>请替换文字内容，修改文字内容，也可以直接复制你的内容到此。替换文字内容，也可以直接复制你的内容到此。</a:t>
            </a:r>
          </a:p>
        </p:txBody>
      </p:sp>
      <p:grpSp>
        <p:nvGrpSpPr>
          <p:cNvPr id="140" name="组合 139"/>
          <p:cNvGrpSpPr/>
          <p:nvPr/>
        </p:nvGrpSpPr>
        <p:grpSpPr>
          <a:xfrm>
            <a:off x="899214" y="1681970"/>
            <a:ext cx="1089267" cy="1089267"/>
            <a:chOff x="1329455" y="1638189"/>
            <a:chExt cx="1089267" cy="1089267"/>
          </a:xfrm>
        </p:grpSpPr>
        <p:sp>
          <p:nvSpPr>
            <p:cNvPr id="141" name="椭圆 140"/>
            <p:cNvSpPr/>
            <p:nvPr/>
          </p:nvSpPr>
          <p:spPr>
            <a:xfrm>
              <a:off x="1329455" y="1638189"/>
              <a:ext cx="1089267" cy="1089267"/>
            </a:xfrm>
            <a:prstGeom prst="ellipse">
              <a:avLst/>
            </a:prstGeom>
            <a:noFill/>
            <a:ln w="28575">
              <a:solidFill>
                <a:srgbClr val="84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142" name="04"/>
            <p:cNvSpPr>
              <a:spLocks noChangeAspect="1"/>
            </p:cNvSpPr>
            <p:nvPr/>
          </p:nvSpPr>
          <p:spPr bwMode="auto">
            <a:xfrm>
              <a:off x="1620264" y="1896926"/>
              <a:ext cx="507650" cy="571794"/>
            </a:xfrm>
            <a:custGeom>
              <a:avLst/>
              <a:gdLst>
                <a:gd name="T0" fmla="*/ 2147483646 w 546"/>
                <a:gd name="T1" fmla="*/ 2147483646 h 619"/>
                <a:gd name="T2" fmla="*/ 2147483646 w 546"/>
                <a:gd name="T3" fmla="*/ 2147483646 h 619"/>
                <a:gd name="T4" fmla="*/ 2147483646 w 546"/>
                <a:gd name="T5" fmla="*/ 2147483646 h 619"/>
                <a:gd name="T6" fmla="*/ 2147483646 w 546"/>
                <a:gd name="T7" fmla="*/ 2147483646 h 619"/>
                <a:gd name="T8" fmla="*/ 2147483646 w 546"/>
                <a:gd name="T9" fmla="*/ 2147483646 h 619"/>
                <a:gd name="T10" fmla="*/ 2147483646 w 546"/>
                <a:gd name="T11" fmla="*/ 2147483646 h 619"/>
                <a:gd name="T12" fmla="*/ 2147483646 w 546"/>
                <a:gd name="T13" fmla="*/ 2147483646 h 619"/>
                <a:gd name="T14" fmla="*/ 2147483646 w 546"/>
                <a:gd name="T15" fmla="*/ 2147483646 h 619"/>
                <a:gd name="T16" fmla="*/ 2147483646 w 546"/>
                <a:gd name="T17" fmla="*/ 2147483646 h 619"/>
                <a:gd name="T18" fmla="*/ 2147483646 w 546"/>
                <a:gd name="T19" fmla="*/ 2147483646 h 619"/>
                <a:gd name="T20" fmla="*/ 2147483646 w 546"/>
                <a:gd name="T21" fmla="*/ 2147483646 h 619"/>
                <a:gd name="T22" fmla="*/ 2147483646 w 546"/>
                <a:gd name="T23" fmla="*/ 2147483646 h 619"/>
                <a:gd name="T24" fmla="*/ 2147483646 w 546"/>
                <a:gd name="T25" fmla="*/ 2147483646 h 619"/>
                <a:gd name="T26" fmla="*/ 2147483646 w 546"/>
                <a:gd name="T27" fmla="*/ 2147483646 h 619"/>
                <a:gd name="T28" fmla="*/ 2147483646 w 546"/>
                <a:gd name="T29" fmla="*/ 2147483646 h 619"/>
                <a:gd name="T30" fmla="*/ 2147483646 w 546"/>
                <a:gd name="T31" fmla="*/ 2147483646 h 619"/>
                <a:gd name="T32" fmla="*/ 2147483646 w 546"/>
                <a:gd name="T33" fmla="*/ 0 h 619"/>
                <a:gd name="T34" fmla="*/ 2147483646 w 546"/>
                <a:gd name="T35" fmla="*/ 0 h 619"/>
                <a:gd name="T36" fmla="*/ 2147483646 w 546"/>
                <a:gd name="T37" fmla="*/ 0 h 619"/>
                <a:gd name="T38" fmla="*/ 2147483646 w 546"/>
                <a:gd name="T39" fmla="*/ 2147483646 h 619"/>
                <a:gd name="T40" fmla="*/ 2147483646 w 546"/>
                <a:gd name="T41" fmla="*/ 2147483646 h 619"/>
                <a:gd name="T42" fmla="*/ 0 w 546"/>
                <a:gd name="T43" fmla="*/ 2147483646 h 619"/>
                <a:gd name="T44" fmla="*/ 0 w 546"/>
                <a:gd name="T45" fmla="*/ 2147483646 h 619"/>
                <a:gd name="T46" fmla="*/ 2147483646 w 546"/>
                <a:gd name="T47" fmla="*/ 2147483646 h 619"/>
                <a:gd name="T48" fmla="*/ 2147483646 w 546"/>
                <a:gd name="T49" fmla="*/ 2147483646 h 619"/>
                <a:gd name="T50" fmla="*/ 2147483646 w 546"/>
                <a:gd name="T51" fmla="*/ 2147483646 h 619"/>
                <a:gd name="T52" fmla="*/ 2147483646 w 546"/>
                <a:gd name="T53" fmla="*/ 2147483646 h 619"/>
                <a:gd name="T54" fmla="*/ 2147483646 w 546"/>
                <a:gd name="T55" fmla="*/ 2147483646 h 619"/>
                <a:gd name="T56" fmla="*/ 2147483646 w 546"/>
                <a:gd name="T57" fmla="*/ 2147483646 h 619"/>
                <a:gd name="T58" fmla="*/ 2147483646 w 546"/>
                <a:gd name="T59" fmla="*/ 2147483646 h 619"/>
                <a:gd name="T60" fmla="*/ 2147483646 w 546"/>
                <a:gd name="T61" fmla="*/ 0 h 619"/>
                <a:gd name="T62" fmla="*/ 2147483646 w 546"/>
                <a:gd name="T63" fmla="*/ 2147483646 h 619"/>
                <a:gd name="T64" fmla="*/ 2147483646 w 546"/>
                <a:gd name="T65" fmla="*/ 2147483646 h 619"/>
                <a:gd name="T66" fmla="*/ 2147483646 w 546"/>
                <a:gd name="T67" fmla="*/ 2147483646 h 619"/>
                <a:gd name="T68" fmla="*/ 2147483646 w 546"/>
                <a:gd name="T69" fmla="*/ 2147483646 h 619"/>
                <a:gd name="T70" fmla="*/ 2147483646 w 546"/>
                <a:gd name="T71" fmla="*/ 2147483646 h 619"/>
                <a:gd name="T72" fmla="*/ 2147483646 w 546"/>
                <a:gd name="T73" fmla="*/ 2147483646 h 619"/>
                <a:gd name="T74" fmla="*/ 2147483646 w 546"/>
                <a:gd name="T75" fmla="*/ 2147483646 h 619"/>
                <a:gd name="T76" fmla="*/ 2147483646 w 546"/>
                <a:gd name="T77" fmla="*/ 2147483646 h 619"/>
                <a:gd name="T78" fmla="*/ 2147483646 w 546"/>
                <a:gd name="T79" fmla="*/ 2147483646 h 619"/>
                <a:gd name="T80" fmla="*/ 2147483646 w 546"/>
                <a:gd name="T81" fmla="*/ 2147483646 h 619"/>
                <a:gd name="T82" fmla="*/ 2147483646 w 546"/>
                <a:gd name="T83" fmla="*/ 2147483646 h 619"/>
                <a:gd name="T84" fmla="*/ 2147483646 w 546"/>
                <a:gd name="T85" fmla="*/ 2147483646 h 619"/>
                <a:gd name="T86" fmla="*/ 2147483646 w 546"/>
                <a:gd name="T87" fmla="*/ 2147483646 h 619"/>
                <a:gd name="T88" fmla="*/ 2147483646 w 546"/>
                <a:gd name="T89" fmla="*/ 2147483646 h 619"/>
                <a:gd name="T90" fmla="*/ 2147483646 w 546"/>
                <a:gd name="T91" fmla="*/ 2147483646 h 619"/>
                <a:gd name="T92" fmla="*/ 2147483646 w 546"/>
                <a:gd name="T93" fmla="*/ 2147483646 h 619"/>
                <a:gd name="T94" fmla="*/ 2147483646 w 546"/>
                <a:gd name="T95" fmla="*/ 2147483646 h 619"/>
                <a:gd name="T96" fmla="*/ 2147483646 w 546"/>
                <a:gd name="T97" fmla="*/ 2147483646 h 619"/>
                <a:gd name="T98" fmla="*/ 2147483646 w 546"/>
                <a:gd name="T99" fmla="*/ 2147483646 h 619"/>
                <a:gd name="T100" fmla="*/ 2147483646 w 546"/>
                <a:gd name="T101" fmla="*/ 2147483646 h 619"/>
                <a:gd name="T102" fmla="*/ 2147483646 w 546"/>
                <a:gd name="T103" fmla="*/ 2147483646 h 619"/>
                <a:gd name="T104" fmla="*/ 2147483646 w 546"/>
                <a:gd name="T105" fmla="*/ 2147483646 h 619"/>
                <a:gd name="T106" fmla="*/ 2147483646 w 546"/>
                <a:gd name="T107" fmla="*/ 2147483646 h 619"/>
                <a:gd name="T108" fmla="*/ 2147483646 w 546"/>
                <a:gd name="T109" fmla="*/ 2147483646 h 619"/>
                <a:gd name="T110" fmla="*/ 2147483646 w 546"/>
                <a:gd name="T111" fmla="*/ 2147483646 h 619"/>
                <a:gd name="T112" fmla="*/ 2147483646 w 546"/>
                <a:gd name="T113" fmla="*/ 2147483646 h 619"/>
                <a:gd name="T114" fmla="*/ 2147483646 w 546"/>
                <a:gd name="T115" fmla="*/ 2147483646 h 619"/>
                <a:gd name="T116" fmla="*/ 2147483646 w 546"/>
                <a:gd name="T117" fmla="*/ 2147483646 h 619"/>
                <a:gd name="T118" fmla="*/ 2147483646 w 546"/>
                <a:gd name="T119" fmla="*/ 2147483646 h 6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46" h="619">
                  <a:moveTo>
                    <a:pt x="413" y="368"/>
                  </a:moveTo>
                  <a:lnTo>
                    <a:pt x="413" y="368"/>
                  </a:lnTo>
                  <a:cubicBezTo>
                    <a:pt x="236" y="368"/>
                    <a:pt x="236" y="368"/>
                    <a:pt x="236" y="368"/>
                  </a:cubicBezTo>
                  <a:cubicBezTo>
                    <a:pt x="221" y="368"/>
                    <a:pt x="221" y="383"/>
                    <a:pt x="221" y="383"/>
                  </a:cubicBezTo>
                  <a:cubicBezTo>
                    <a:pt x="221" y="398"/>
                    <a:pt x="221" y="412"/>
                    <a:pt x="236" y="412"/>
                  </a:cubicBezTo>
                  <a:cubicBezTo>
                    <a:pt x="413" y="412"/>
                    <a:pt x="413" y="412"/>
                    <a:pt x="413" y="412"/>
                  </a:cubicBezTo>
                  <a:cubicBezTo>
                    <a:pt x="427" y="412"/>
                    <a:pt x="427" y="398"/>
                    <a:pt x="427" y="383"/>
                  </a:cubicBezTo>
                  <a:cubicBezTo>
                    <a:pt x="427" y="383"/>
                    <a:pt x="427" y="368"/>
                    <a:pt x="413" y="368"/>
                  </a:cubicBezTo>
                  <a:close/>
                  <a:moveTo>
                    <a:pt x="413" y="265"/>
                  </a:moveTo>
                  <a:lnTo>
                    <a:pt x="413" y="265"/>
                  </a:lnTo>
                  <a:cubicBezTo>
                    <a:pt x="236" y="265"/>
                    <a:pt x="236" y="265"/>
                    <a:pt x="236" y="265"/>
                  </a:cubicBezTo>
                  <a:cubicBezTo>
                    <a:pt x="221" y="265"/>
                    <a:pt x="221" y="280"/>
                    <a:pt x="221" y="295"/>
                  </a:cubicBezTo>
                  <a:cubicBezTo>
                    <a:pt x="221" y="295"/>
                    <a:pt x="221" y="309"/>
                    <a:pt x="236" y="309"/>
                  </a:cubicBezTo>
                  <a:cubicBezTo>
                    <a:pt x="413" y="309"/>
                    <a:pt x="413" y="309"/>
                    <a:pt x="413" y="309"/>
                  </a:cubicBezTo>
                  <a:cubicBezTo>
                    <a:pt x="427" y="309"/>
                    <a:pt x="427" y="295"/>
                    <a:pt x="427" y="295"/>
                  </a:cubicBezTo>
                  <a:cubicBezTo>
                    <a:pt x="427" y="280"/>
                    <a:pt x="427" y="265"/>
                    <a:pt x="413" y="265"/>
                  </a:cubicBezTo>
                  <a:close/>
                  <a:moveTo>
                    <a:pt x="413" y="0"/>
                  </a:moveTo>
                  <a:lnTo>
                    <a:pt x="413" y="0"/>
                  </a:lnTo>
                  <a:lnTo>
                    <a:pt x="177" y="0"/>
                  </a:lnTo>
                  <a:cubicBezTo>
                    <a:pt x="133" y="0"/>
                    <a:pt x="104" y="29"/>
                    <a:pt x="104" y="74"/>
                  </a:cubicBezTo>
                  <a:cubicBezTo>
                    <a:pt x="74" y="74"/>
                    <a:pt x="74" y="74"/>
                    <a:pt x="74" y="74"/>
                  </a:cubicBezTo>
                  <a:cubicBezTo>
                    <a:pt x="30" y="74"/>
                    <a:pt x="0" y="118"/>
                    <a:pt x="0" y="147"/>
                  </a:cubicBezTo>
                  <a:cubicBezTo>
                    <a:pt x="0" y="545"/>
                    <a:pt x="0" y="545"/>
                    <a:pt x="0" y="545"/>
                  </a:cubicBezTo>
                  <a:cubicBezTo>
                    <a:pt x="0" y="589"/>
                    <a:pt x="45" y="618"/>
                    <a:pt x="74" y="618"/>
                  </a:cubicBezTo>
                  <a:cubicBezTo>
                    <a:pt x="368" y="618"/>
                    <a:pt x="368" y="618"/>
                    <a:pt x="368" y="618"/>
                  </a:cubicBezTo>
                  <a:cubicBezTo>
                    <a:pt x="413" y="618"/>
                    <a:pt x="457" y="589"/>
                    <a:pt x="457" y="545"/>
                  </a:cubicBezTo>
                  <a:cubicBezTo>
                    <a:pt x="472" y="545"/>
                    <a:pt x="472" y="545"/>
                    <a:pt x="472" y="545"/>
                  </a:cubicBezTo>
                  <a:cubicBezTo>
                    <a:pt x="516" y="545"/>
                    <a:pt x="545" y="501"/>
                    <a:pt x="545" y="471"/>
                  </a:cubicBezTo>
                  <a:cubicBezTo>
                    <a:pt x="545" y="192"/>
                    <a:pt x="545" y="192"/>
                    <a:pt x="545" y="192"/>
                  </a:cubicBezTo>
                  <a:cubicBezTo>
                    <a:pt x="545" y="147"/>
                    <a:pt x="545" y="147"/>
                    <a:pt x="545" y="147"/>
                  </a:cubicBezTo>
                  <a:lnTo>
                    <a:pt x="413" y="0"/>
                  </a:lnTo>
                  <a:close/>
                  <a:moveTo>
                    <a:pt x="368" y="589"/>
                  </a:moveTo>
                  <a:lnTo>
                    <a:pt x="368" y="589"/>
                  </a:lnTo>
                  <a:cubicBezTo>
                    <a:pt x="74" y="589"/>
                    <a:pt x="74" y="589"/>
                    <a:pt x="74" y="589"/>
                  </a:cubicBezTo>
                  <a:cubicBezTo>
                    <a:pt x="59" y="589"/>
                    <a:pt x="45" y="559"/>
                    <a:pt x="45" y="545"/>
                  </a:cubicBezTo>
                  <a:cubicBezTo>
                    <a:pt x="45" y="147"/>
                    <a:pt x="45" y="147"/>
                    <a:pt x="45" y="147"/>
                  </a:cubicBezTo>
                  <a:cubicBezTo>
                    <a:pt x="45" y="133"/>
                    <a:pt x="59" y="118"/>
                    <a:pt x="74" y="118"/>
                  </a:cubicBezTo>
                  <a:cubicBezTo>
                    <a:pt x="104" y="118"/>
                    <a:pt x="104" y="118"/>
                    <a:pt x="104" y="118"/>
                  </a:cubicBezTo>
                  <a:cubicBezTo>
                    <a:pt x="104" y="471"/>
                    <a:pt x="104" y="471"/>
                    <a:pt x="104" y="471"/>
                  </a:cubicBezTo>
                  <a:cubicBezTo>
                    <a:pt x="104" y="501"/>
                    <a:pt x="133" y="545"/>
                    <a:pt x="177" y="545"/>
                  </a:cubicBezTo>
                  <a:cubicBezTo>
                    <a:pt x="413" y="545"/>
                    <a:pt x="413" y="545"/>
                    <a:pt x="413" y="545"/>
                  </a:cubicBezTo>
                  <a:cubicBezTo>
                    <a:pt x="413" y="559"/>
                    <a:pt x="398" y="589"/>
                    <a:pt x="368" y="589"/>
                  </a:cubicBezTo>
                  <a:close/>
                  <a:moveTo>
                    <a:pt x="516" y="471"/>
                  </a:moveTo>
                  <a:lnTo>
                    <a:pt x="516" y="471"/>
                  </a:lnTo>
                  <a:cubicBezTo>
                    <a:pt x="516" y="486"/>
                    <a:pt x="486" y="501"/>
                    <a:pt x="472" y="501"/>
                  </a:cubicBezTo>
                  <a:cubicBezTo>
                    <a:pt x="177" y="501"/>
                    <a:pt x="177" y="501"/>
                    <a:pt x="177" y="501"/>
                  </a:cubicBezTo>
                  <a:cubicBezTo>
                    <a:pt x="163" y="501"/>
                    <a:pt x="133" y="486"/>
                    <a:pt x="133" y="471"/>
                  </a:cubicBezTo>
                  <a:cubicBezTo>
                    <a:pt x="133" y="74"/>
                    <a:pt x="133" y="74"/>
                    <a:pt x="133" y="74"/>
                  </a:cubicBezTo>
                  <a:cubicBezTo>
                    <a:pt x="133" y="59"/>
                    <a:pt x="163" y="29"/>
                    <a:pt x="177" y="29"/>
                  </a:cubicBezTo>
                  <a:cubicBezTo>
                    <a:pt x="368" y="29"/>
                    <a:pt x="368" y="29"/>
                    <a:pt x="368" y="29"/>
                  </a:cubicBezTo>
                  <a:cubicBezTo>
                    <a:pt x="368" y="74"/>
                    <a:pt x="368" y="118"/>
                    <a:pt x="368" y="118"/>
                  </a:cubicBezTo>
                  <a:cubicBezTo>
                    <a:pt x="368" y="147"/>
                    <a:pt x="413" y="192"/>
                    <a:pt x="457" y="192"/>
                  </a:cubicBezTo>
                  <a:cubicBezTo>
                    <a:pt x="457" y="192"/>
                    <a:pt x="472" y="192"/>
                    <a:pt x="516" y="192"/>
                  </a:cubicBezTo>
                  <a:lnTo>
                    <a:pt x="516" y="471"/>
                  </a:lnTo>
                  <a:close/>
                  <a:moveTo>
                    <a:pt x="457" y="147"/>
                  </a:moveTo>
                  <a:lnTo>
                    <a:pt x="457" y="147"/>
                  </a:lnTo>
                  <a:cubicBezTo>
                    <a:pt x="427" y="147"/>
                    <a:pt x="413" y="118"/>
                    <a:pt x="413" y="88"/>
                  </a:cubicBezTo>
                  <a:cubicBezTo>
                    <a:pt x="413" y="88"/>
                    <a:pt x="413" y="74"/>
                    <a:pt x="413" y="29"/>
                  </a:cubicBezTo>
                  <a:cubicBezTo>
                    <a:pt x="516" y="147"/>
                    <a:pt x="516" y="147"/>
                    <a:pt x="516" y="147"/>
                  </a:cubicBezTo>
                  <a:lnTo>
                    <a:pt x="457" y="147"/>
                  </a:lnTo>
                  <a:close/>
                </a:path>
              </a:pathLst>
            </a:custGeom>
            <a:solidFill>
              <a:srgbClr val="84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grpSp>
        <p:nvGrpSpPr>
          <p:cNvPr id="143" name="组合 142"/>
          <p:cNvGrpSpPr/>
          <p:nvPr/>
        </p:nvGrpSpPr>
        <p:grpSpPr>
          <a:xfrm>
            <a:off x="899214" y="3535031"/>
            <a:ext cx="1089267" cy="1089267"/>
            <a:chOff x="1351024" y="4183427"/>
            <a:chExt cx="1089267" cy="1089267"/>
          </a:xfrm>
        </p:grpSpPr>
        <p:sp>
          <p:nvSpPr>
            <p:cNvPr id="144" name="椭圆 143"/>
            <p:cNvSpPr/>
            <p:nvPr/>
          </p:nvSpPr>
          <p:spPr>
            <a:xfrm>
              <a:off x="1351024" y="4183427"/>
              <a:ext cx="1089267" cy="1089267"/>
            </a:xfrm>
            <a:prstGeom prst="ellipse">
              <a:avLst/>
            </a:prstGeom>
            <a:noFill/>
            <a:ln w="28575">
              <a:solidFill>
                <a:srgbClr val="84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145" name="03"/>
            <p:cNvSpPr>
              <a:spLocks noChangeAspect="1"/>
            </p:cNvSpPr>
            <p:nvPr/>
          </p:nvSpPr>
          <p:spPr bwMode="auto">
            <a:xfrm>
              <a:off x="1600598" y="4442164"/>
              <a:ext cx="590120" cy="571794"/>
            </a:xfrm>
            <a:custGeom>
              <a:avLst/>
              <a:gdLst>
                <a:gd name="T0" fmla="*/ 2147483646 w 634"/>
                <a:gd name="T1" fmla="*/ 0 h 619"/>
                <a:gd name="T2" fmla="*/ 2147483646 w 634"/>
                <a:gd name="T3" fmla="*/ 0 h 619"/>
                <a:gd name="T4" fmla="*/ 2147483646 w 634"/>
                <a:gd name="T5" fmla="*/ 0 h 619"/>
                <a:gd name="T6" fmla="*/ 0 w 634"/>
                <a:gd name="T7" fmla="*/ 2147483646 h 619"/>
                <a:gd name="T8" fmla="*/ 0 w 634"/>
                <a:gd name="T9" fmla="*/ 2147483646 h 619"/>
                <a:gd name="T10" fmla="*/ 2147483646 w 634"/>
                <a:gd name="T11" fmla="*/ 2147483646 h 619"/>
                <a:gd name="T12" fmla="*/ 2147483646 w 634"/>
                <a:gd name="T13" fmla="*/ 2147483646 h 619"/>
                <a:gd name="T14" fmla="*/ 2147483646 w 634"/>
                <a:gd name="T15" fmla="*/ 2147483646 h 619"/>
                <a:gd name="T16" fmla="*/ 2147483646 w 634"/>
                <a:gd name="T17" fmla="*/ 2147483646 h 619"/>
                <a:gd name="T18" fmla="*/ 2147483646 w 634"/>
                <a:gd name="T19" fmla="*/ 0 h 619"/>
                <a:gd name="T20" fmla="*/ 2147483646 w 634"/>
                <a:gd name="T21" fmla="*/ 2147483646 h 619"/>
                <a:gd name="T22" fmla="*/ 2147483646 w 634"/>
                <a:gd name="T23" fmla="*/ 2147483646 h 619"/>
                <a:gd name="T24" fmla="*/ 2147483646 w 634"/>
                <a:gd name="T25" fmla="*/ 2147483646 h 619"/>
                <a:gd name="T26" fmla="*/ 2147483646 w 634"/>
                <a:gd name="T27" fmla="*/ 2147483646 h 619"/>
                <a:gd name="T28" fmla="*/ 2147483646 w 634"/>
                <a:gd name="T29" fmla="*/ 2147483646 h 619"/>
                <a:gd name="T30" fmla="*/ 2147483646 w 634"/>
                <a:gd name="T31" fmla="*/ 2147483646 h 619"/>
                <a:gd name="T32" fmla="*/ 2147483646 w 634"/>
                <a:gd name="T33" fmla="*/ 2147483646 h 619"/>
                <a:gd name="T34" fmla="*/ 2147483646 w 634"/>
                <a:gd name="T35" fmla="*/ 2147483646 h 619"/>
                <a:gd name="T36" fmla="*/ 2147483646 w 634"/>
                <a:gd name="T37" fmla="*/ 2147483646 h 619"/>
                <a:gd name="T38" fmla="*/ 2147483646 w 634"/>
                <a:gd name="T39" fmla="*/ 2147483646 h 619"/>
                <a:gd name="T40" fmla="*/ 2147483646 w 634"/>
                <a:gd name="T41" fmla="*/ 2147483646 h 619"/>
                <a:gd name="T42" fmla="*/ 2147483646 w 634"/>
                <a:gd name="T43" fmla="*/ 2147483646 h 619"/>
                <a:gd name="T44" fmla="*/ 2147483646 w 634"/>
                <a:gd name="T45" fmla="*/ 2147483646 h 619"/>
                <a:gd name="T46" fmla="*/ 2147483646 w 634"/>
                <a:gd name="T47" fmla="*/ 2147483646 h 619"/>
                <a:gd name="T48" fmla="*/ 2147483646 w 634"/>
                <a:gd name="T49" fmla="*/ 2147483646 h 619"/>
                <a:gd name="T50" fmla="*/ 2147483646 w 634"/>
                <a:gd name="T51" fmla="*/ 2147483646 h 619"/>
                <a:gd name="T52" fmla="*/ 2147483646 w 634"/>
                <a:gd name="T53" fmla="*/ 2147483646 h 619"/>
                <a:gd name="T54" fmla="*/ 2147483646 w 634"/>
                <a:gd name="T55" fmla="*/ 2147483646 h 619"/>
                <a:gd name="T56" fmla="*/ 2147483646 w 634"/>
                <a:gd name="T57" fmla="*/ 2147483646 h 619"/>
                <a:gd name="T58" fmla="*/ 2147483646 w 634"/>
                <a:gd name="T59" fmla="*/ 2147483646 h 619"/>
                <a:gd name="T60" fmla="*/ 2147483646 w 634"/>
                <a:gd name="T61" fmla="*/ 2147483646 h 619"/>
                <a:gd name="T62" fmla="*/ 2147483646 w 634"/>
                <a:gd name="T63" fmla="*/ 2147483646 h 619"/>
                <a:gd name="T64" fmla="*/ 2147483646 w 634"/>
                <a:gd name="T65" fmla="*/ 2147483646 h 619"/>
                <a:gd name="T66" fmla="*/ 2147483646 w 634"/>
                <a:gd name="T67" fmla="*/ 2147483646 h 619"/>
                <a:gd name="T68" fmla="*/ 2147483646 w 634"/>
                <a:gd name="T69" fmla="*/ 2147483646 h 619"/>
                <a:gd name="T70" fmla="*/ 2147483646 w 634"/>
                <a:gd name="T71" fmla="*/ 2147483646 h 619"/>
                <a:gd name="T72" fmla="*/ 2147483646 w 634"/>
                <a:gd name="T73" fmla="*/ 2147483646 h 619"/>
                <a:gd name="T74" fmla="*/ 2147483646 w 634"/>
                <a:gd name="T75" fmla="*/ 2147483646 h 619"/>
                <a:gd name="T76" fmla="*/ 2147483646 w 634"/>
                <a:gd name="T77" fmla="*/ 2147483646 h 619"/>
                <a:gd name="T78" fmla="*/ 2147483646 w 634"/>
                <a:gd name="T79" fmla="*/ 2147483646 h 619"/>
                <a:gd name="T80" fmla="*/ 2147483646 w 634"/>
                <a:gd name="T81" fmla="*/ 2147483646 h 619"/>
                <a:gd name="T82" fmla="*/ 2147483646 w 634"/>
                <a:gd name="T83" fmla="*/ 2147483646 h 619"/>
                <a:gd name="T84" fmla="*/ 2147483646 w 634"/>
                <a:gd name="T85" fmla="*/ 2147483646 h 619"/>
                <a:gd name="T86" fmla="*/ 2147483646 w 634"/>
                <a:gd name="T87" fmla="*/ 2147483646 h 619"/>
                <a:gd name="T88" fmla="*/ 2147483646 w 634"/>
                <a:gd name="T89" fmla="*/ 2147483646 h 619"/>
                <a:gd name="T90" fmla="*/ 2147483646 w 634"/>
                <a:gd name="T91" fmla="*/ 2147483646 h 619"/>
                <a:gd name="T92" fmla="*/ 2147483646 w 634"/>
                <a:gd name="T93" fmla="*/ 2147483646 h 619"/>
                <a:gd name="T94" fmla="*/ 2147483646 w 634"/>
                <a:gd name="T95" fmla="*/ 2147483646 h 6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34" h="619">
                  <a:moveTo>
                    <a:pt x="560" y="0"/>
                  </a:moveTo>
                  <a:lnTo>
                    <a:pt x="560" y="0"/>
                  </a:lnTo>
                  <a:cubicBezTo>
                    <a:pt x="89" y="0"/>
                    <a:pt x="89" y="0"/>
                    <a:pt x="89" y="0"/>
                  </a:cubicBezTo>
                  <a:cubicBezTo>
                    <a:pt x="45" y="0"/>
                    <a:pt x="0" y="29"/>
                    <a:pt x="0" y="74"/>
                  </a:cubicBezTo>
                  <a:cubicBezTo>
                    <a:pt x="0" y="545"/>
                    <a:pt x="0" y="545"/>
                    <a:pt x="0" y="545"/>
                  </a:cubicBezTo>
                  <a:cubicBezTo>
                    <a:pt x="0" y="589"/>
                    <a:pt x="45" y="618"/>
                    <a:pt x="89" y="618"/>
                  </a:cubicBezTo>
                  <a:cubicBezTo>
                    <a:pt x="560" y="618"/>
                    <a:pt x="560" y="618"/>
                    <a:pt x="560" y="618"/>
                  </a:cubicBezTo>
                  <a:cubicBezTo>
                    <a:pt x="604" y="618"/>
                    <a:pt x="633" y="589"/>
                    <a:pt x="633" y="545"/>
                  </a:cubicBezTo>
                  <a:cubicBezTo>
                    <a:pt x="633" y="74"/>
                    <a:pt x="633" y="74"/>
                    <a:pt x="633" y="74"/>
                  </a:cubicBezTo>
                  <a:cubicBezTo>
                    <a:pt x="633" y="29"/>
                    <a:pt x="604" y="0"/>
                    <a:pt x="560" y="0"/>
                  </a:cubicBezTo>
                  <a:close/>
                  <a:moveTo>
                    <a:pt x="89" y="589"/>
                  </a:moveTo>
                  <a:lnTo>
                    <a:pt x="89" y="589"/>
                  </a:lnTo>
                  <a:cubicBezTo>
                    <a:pt x="59" y="589"/>
                    <a:pt x="45" y="559"/>
                    <a:pt x="45" y="545"/>
                  </a:cubicBezTo>
                  <a:cubicBezTo>
                    <a:pt x="45" y="530"/>
                    <a:pt x="45" y="530"/>
                    <a:pt x="45" y="530"/>
                  </a:cubicBezTo>
                  <a:cubicBezTo>
                    <a:pt x="207" y="383"/>
                    <a:pt x="207" y="383"/>
                    <a:pt x="207" y="383"/>
                  </a:cubicBezTo>
                  <a:cubicBezTo>
                    <a:pt x="398" y="589"/>
                    <a:pt x="398" y="589"/>
                    <a:pt x="398" y="589"/>
                  </a:cubicBezTo>
                  <a:lnTo>
                    <a:pt x="89" y="589"/>
                  </a:lnTo>
                  <a:close/>
                  <a:moveTo>
                    <a:pt x="589" y="545"/>
                  </a:moveTo>
                  <a:lnTo>
                    <a:pt x="589" y="545"/>
                  </a:lnTo>
                  <a:cubicBezTo>
                    <a:pt x="589" y="559"/>
                    <a:pt x="575" y="589"/>
                    <a:pt x="560" y="589"/>
                  </a:cubicBezTo>
                  <a:cubicBezTo>
                    <a:pt x="457" y="589"/>
                    <a:pt x="457" y="589"/>
                    <a:pt x="457" y="589"/>
                  </a:cubicBezTo>
                  <a:cubicBezTo>
                    <a:pt x="310" y="442"/>
                    <a:pt x="310" y="442"/>
                    <a:pt x="310" y="442"/>
                  </a:cubicBezTo>
                  <a:cubicBezTo>
                    <a:pt x="471" y="265"/>
                    <a:pt x="471" y="265"/>
                    <a:pt x="471" y="265"/>
                  </a:cubicBezTo>
                  <a:cubicBezTo>
                    <a:pt x="589" y="383"/>
                    <a:pt x="589" y="383"/>
                    <a:pt x="589" y="383"/>
                  </a:cubicBezTo>
                  <a:lnTo>
                    <a:pt x="589" y="545"/>
                  </a:lnTo>
                  <a:close/>
                  <a:moveTo>
                    <a:pt x="589" y="339"/>
                  </a:moveTo>
                  <a:lnTo>
                    <a:pt x="589" y="339"/>
                  </a:lnTo>
                  <a:cubicBezTo>
                    <a:pt x="471" y="206"/>
                    <a:pt x="471" y="206"/>
                    <a:pt x="471" y="206"/>
                  </a:cubicBezTo>
                  <a:cubicBezTo>
                    <a:pt x="280" y="412"/>
                    <a:pt x="280" y="412"/>
                    <a:pt x="280" y="412"/>
                  </a:cubicBezTo>
                  <a:cubicBezTo>
                    <a:pt x="207" y="324"/>
                    <a:pt x="207" y="324"/>
                    <a:pt x="207" y="324"/>
                  </a:cubicBezTo>
                  <a:cubicBezTo>
                    <a:pt x="45" y="471"/>
                    <a:pt x="45" y="471"/>
                    <a:pt x="45" y="471"/>
                  </a:cubicBezTo>
                  <a:cubicBezTo>
                    <a:pt x="45" y="74"/>
                    <a:pt x="45" y="74"/>
                    <a:pt x="45" y="74"/>
                  </a:cubicBezTo>
                  <a:cubicBezTo>
                    <a:pt x="45" y="59"/>
                    <a:pt x="59" y="29"/>
                    <a:pt x="89" y="29"/>
                  </a:cubicBezTo>
                  <a:cubicBezTo>
                    <a:pt x="560" y="29"/>
                    <a:pt x="560" y="29"/>
                    <a:pt x="560" y="29"/>
                  </a:cubicBezTo>
                  <a:cubicBezTo>
                    <a:pt x="575" y="29"/>
                    <a:pt x="589" y="59"/>
                    <a:pt x="589" y="74"/>
                  </a:cubicBezTo>
                  <a:lnTo>
                    <a:pt x="589" y="339"/>
                  </a:lnTo>
                  <a:close/>
                  <a:moveTo>
                    <a:pt x="162" y="74"/>
                  </a:moveTo>
                  <a:lnTo>
                    <a:pt x="162" y="74"/>
                  </a:lnTo>
                  <a:cubicBezTo>
                    <a:pt x="118" y="74"/>
                    <a:pt x="89" y="103"/>
                    <a:pt x="89" y="147"/>
                  </a:cubicBezTo>
                  <a:cubicBezTo>
                    <a:pt x="89" y="192"/>
                    <a:pt x="118" y="236"/>
                    <a:pt x="162" y="236"/>
                  </a:cubicBezTo>
                  <a:cubicBezTo>
                    <a:pt x="207" y="236"/>
                    <a:pt x="236" y="192"/>
                    <a:pt x="236" y="147"/>
                  </a:cubicBezTo>
                  <a:cubicBezTo>
                    <a:pt x="236" y="103"/>
                    <a:pt x="207" y="74"/>
                    <a:pt x="162" y="74"/>
                  </a:cubicBezTo>
                  <a:close/>
                  <a:moveTo>
                    <a:pt x="162" y="192"/>
                  </a:moveTo>
                  <a:lnTo>
                    <a:pt x="162" y="192"/>
                  </a:lnTo>
                  <a:cubicBezTo>
                    <a:pt x="148" y="192"/>
                    <a:pt x="118" y="177"/>
                    <a:pt x="118" y="147"/>
                  </a:cubicBezTo>
                  <a:cubicBezTo>
                    <a:pt x="118" y="133"/>
                    <a:pt x="148" y="118"/>
                    <a:pt x="162" y="118"/>
                  </a:cubicBezTo>
                  <a:cubicBezTo>
                    <a:pt x="177" y="118"/>
                    <a:pt x="207" y="133"/>
                    <a:pt x="207" y="147"/>
                  </a:cubicBezTo>
                  <a:cubicBezTo>
                    <a:pt x="207" y="177"/>
                    <a:pt x="177" y="192"/>
                    <a:pt x="162" y="192"/>
                  </a:cubicBezTo>
                  <a:close/>
                </a:path>
              </a:pathLst>
            </a:custGeom>
            <a:solidFill>
              <a:srgbClr val="84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sp>
        <p:nvSpPr>
          <p:cNvPr id="146" name="矩形 145"/>
          <p:cNvSpPr/>
          <p:nvPr/>
        </p:nvSpPr>
        <p:spPr>
          <a:xfrm>
            <a:off x="2288264" y="3565948"/>
            <a:ext cx="1415772" cy="338554"/>
          </a:xfrm>
          <a:prstGeom prst="rect">
            <a:avLst/>
          </a:prstGeom>
        </p:spPr>
        <p:txBody>
          <a:bodyPr wrap="none">
            <a:spAutoFit/>
          </a:bodyPr>
          <a:lstStyle/>
          <a:p>
            <a:pPr lvl="0">
              <a:defRPr/>
            </a:pPr>
            <a:r>
              <a:rPr lang="zh-CN" altLang="en-US" sz="1600" b="1" kern="0" dirty="0">
                <a:solidFill>
                  <a:srgbClr val="84FFFF"/>
                </a:solidFill>
                <a:cs typeface="+mn-ea"/>
                <a:sym typeface="+mn-lt"/>
              </a:rPr>
              <a:t>填写段落标题</a:t>
            </a:r>
          </a:p>
        </p:txBody>
      </p:sp>
      <p:sp>
        <p:nvSpPr>
          <p:cNvPr id="147" name="矩形 146"/>
          <p:cNvSpPr/>
          <p:nvPr/>
        </p:nvSpPr>
        <p:spPr>
          <a:xfrm>
            <a:off x="2288264" y="3850570"/>
            <a:ext cx="3248344" cy="854080"/>
          </a:xfrm>
          <a:prstGeom prst="rect">
            <a:avLst/>
          </a:prstGeom>
        </p:spPr>
        <p:txBody>
          <a:bodyPr wrap="square">
            <a:spAutoFit/>
          </a:bodyPr>
          <a:lstStyle/>
          <a:p>
            <a:pPr lvl="0">
              <a:lnSpc>
                <a:spcPct val="150000"/>
              </a:lnSpc>
              <a:defRPr/>
            </a:pPr>
            <a:r>
              <a:rPr lang="zh-CN" altLang="en-US" sz="1100" kern="0" dirty="0">
                <a:solidFill>
                  <a:schemeClr val="bg1"/>
                </a:solidFill>
                <a:cs typeface="+mn-ea"/>
                <a:sym typeface="+mn-lt"/>
              </a:rPr>
              <a:t>请替换文字内容，修改文字内容，也可以直接复制你的内容到此。替换文字内容，也可以直接复制你的内容到此。</a:t>
            </a:r>
          </a:p>
        </p:txBody>
      </p:sp>
      <p:sp>
        <p:nvSpPr>
          <p:cNvPr id="148" name="Freeform 35"/>
          <p:cNvSpPr>
            <a:spLocks noEditPoints="1"/>
          </p:cNvSpPr>
          <p:nvPr/>
        </p:nvSpPr>
        <p:spPr bwMode="auto">
          <a:xfrm>
            <a:off x="3426864" y="5308190"/>
            <a:ext cx="386965" cy="815630"/>
          </a:xfrm>
          <a:custGeom>
            <a:avLst/>
            <a:gdLst>
              <a:gd name="T0" fmla="*/ 76 w 153"/>
              <a:gd name="T1" fmla="*/ 60 h 322"/>
              <a:gd name="T2" fmla="*/ 106 w 153"/>
              <a:gd name="T3" fmla="*/ 30 h 322"/>
              <a:gd name="T4" fmla="*/ 76 w 153"/>
              <a:gd name="T5" fmla="*/ 0 h 322"/>
              <a:gd name="T6" fmla="*/ 46 w 153"/>
              <a:gd name="T7" fmla="*/ 30 h 322"/>
              <a:gd name="T8" fmla="*/ 76 w 153"/>
              <a:gd name="T9" fmla="*/ 60 h 322"/>
              <a:gd name="T10" fmla="*/ 151 w 153"/>
              <a:gd name="T11" fmla="*/ 161 h 322"/>
              <a:gd name="T12" fmla="*/ 151 w 153"/>
              <a:gd name="T13" fmla="*/ 161 h 322"/>
              <a:gd name="T14" fmla="*/ 127 w 153"/>
              <a:gd name="T15" fmla="*/ 91 h 322"/>
              <a:gd name="T16" fmla="*/ 97 w 153"/>
              <a:gd name="T17" fmla="*/ 67 h 322"/>
              <a:gd name="T18" fmla="*/ 56 w 153"/>
              <a:gd name="T19" fmla="*/ 67 h 322"/>
              <a:gd name="T20" fmla="*/ 27 w 153"/>
              <a:gd name="T21" fmla="*/ 85 h 322"/>
              <a:gd name="T22" fmla="*/ 27 w 153"/>
              <a:gd name="T23" fmla="*/ 85 h 322"/>
              <a:gd name="T24" fmla="*/ 26 w 153"/>
              <a:gd name="T25" fmla="*/ 91 h 322"/>
              <a:gd name="T26" fmla="*/ 2 w 153"/>
              <a:gd name="T27" fmla="*/ 161 h 322"/>
              <a:gd name="T28" fmla="*/ 9 w 153"/>
              <a:gd name="T29" fmla="*/ 176 h 322"/>
              <a:gd name="T30" fmla="*/ 23 w 153"/>
              <a:gd name="T31" fmla="*/ 169 h 322"/>
              <a:gd name="T32" fmla="*/ 45 w 153"/>
              <a:gd name="T33" fmla="*/ 104 h 322"/>
              <a:gd name="T34" fmla="*/ 49 w 153"/>
              <a:gd name="T35" fmla="*/ 104 h 322"/>
              <a:gd name="T36" fmla="*/ 12 w 153"/>
              <a:gd name="T37" fmla="*/ 214 h 322"/>
              <a:gd name="T38" fmla="*/ 46 w 153"/>
              <a:gd name="T39" fmla="*/ 214 h 322"/>
              <a:gd name="T40" fmla="*/ 46 w 153"/>
              <a:gd name="T41" fmla="*/ 308 h 322"/>
              <a:gd name="T42" fmla="*/ 60 w 153"/>
              <a:gd name="T43" fmla="*/ 322 h 322"/>
              <a:gd name="T44" fmla="*/ 75 w 153"/>
              <a:gd name="T45" fmla="*/ 308 h 322"/>
              <a:gd name="T46" fmla="*/ 75 w 153"/>
              <a:gd name="T47" fmla="*/ 214 h 322"/>
              <a:gd name="T48" fmla="*/ 78 w 153"/>
              <a:gd name="T49" fmla="*/ 214 h 322"/>
              <a:gd name="T50" fmla="*/ 78 w 153"/>
              <a:gd name="T51" fmla="*/ 308 h 322"/>
              <a:gd name="T52" fmla="*/ 92 w 153"/>
              <a:gd name="T53" fmla="*/ 322 h 322"/>
              <a:gd name="T54" fmla="*/ 106 w 153"/>
              <a:gd name="T55" fmla="*/ 308 h 322"/>
              <a:gd name="T56" fmla="*/ 106 w 153"/>
              <a:gd name="T57" fmla="*/ 214 h 322"/>
              <a:gd name="T58" fmla="*/ 141 w 153"/>
              <a:gd name="T59" fmla="*/ 214 h 322"/>
              <a:gd name="T60" fmla="*/ 104 w 153"/>
              <a:gd name="T61" fmla="*/ 104 h 322"/>
              <a:gd name="T62" fmla="*/ 107 w 153"/>
              <a:gd name="T63" fmla="*/ 104 h 322"/>
              <a:gd name="T64" fmla="*/ 129 w 153"/>
              <a:gd name="T65" fmla="*/ 169 h 322"/>
              <a:gd name="T66" fmla="*/ 144 w 153"/>
              <a:gd name="T67" fmla="*/ 176 h 322"/>
              <a:gd name="T68" fmla="*/ 151 w 153"/>
              <a:gd name="T69" fmla="*/ 16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322">
                <a:moveTo>
                  <a:pt x="76" y="60"/>
                </a:moveTo>
                <a:cubicBezTo>
                  <a:pt x="92" y="60"/>
                  <a:pt x="106" y="46"/>
                  <a:pt x="106" y="30"/>
                </a:cubicBezTo>
                <a:cubicBezTo>
                  <a:pt x="106" y="14"/>
                  <a:pt x="92" y="0"/>
                  <a:pt x="76" y="0"/>
                </a:cubicBezTo>
                <a:cubicBezTo>
                  <a:pt x="60" y="0"/>
                  <a:pt x="46" y="14"/>
                  <a:pt x="46" y="30"/>
                </a:cubicBezTo>
                <a:cubicBezTo>
                  <a:pt x="46" y="46"/>
                  <a:pt x="60" y="60"/>
                  <a:pt x="76" y="60"/>
                </a:cubicBezTo>
                <a:close/>
                <a:moveTo>
                  <a:pt x="151" y="161"/>
                </a:moveTo>
                <a:cubicBezTo>
                  <a:pt x="151" y="161"/>
                  <a:pt x="151" y="161"/>
                  <a:pt x="151" y="161"/>
                </a:cubicBezTo>
                <a:cubicBezTo>
                  <a:pt x="127" y="91"/>
                  <a:pt x="127" y="91"/>
                  <a:pt x="127" y="91"/>
                </a:cubicBezTo>
                <a:cubicBezTo>
                  <a:pt x="124" y="77"/>
                  <a:pt x="112" y="67"/>
                  <a:pt x="97" y="67"/>
                </a:cubicBezTo>
                <a:cubicBezTo>
                  <a:pt x="56" y="67"/>
                  <a:pt x="56" y="67"/>
                  <a:pt x="56" y="67"/>
                </a:cubicBezTo>
                <a:cubicBezTo>
                  <a:pt x="43" y="67"/>
                  <a:pt x="32" y="74"/>
                  <a:pt x="27" y="85"/>
                </a:cubicBezTo>
                <a:cubicBezTo>
                  <a:pt x="27" y="85"/>
                  <a:pt x="27" y="85"/>
                  <a:pt x="27" y="85"/>
                </a:cubicBezTo>
                <a:cubicBezTo>
                  <a:pt x="27" y="87"/>
                  <a:pt x="26" y="89"/>
                  <a:pt x="26" y="91"/>
                </a:cubicBezTo>
                <a:cubicBezTo>
                  <a:pt x="2" y="161"/>
                  <a:pt x="2" y="161"/>
                  <a:pt x="2" y="161"/>
                </a:cubicBezTo>
                <a:cubicBezTo>
                  <a:pt x="0" y="167"/>
                  <a:pt x="3" y="174"/>
                  <a:pt x="9" y="176"/>
                </a:cubicBezTo>
                <a:cubicBezTo>
                  <a:pt x="15" y="178"/>
                  <a:pt x="21" y="175"/>
                  <a:pt x="23" y="169"/>
                </a:cubicBezTo>
                <a:cubicBezTo>
                  <a:pt x="45" y="104"/>
                  <a:pt x="45" y="104"/>
                  <a:pt x="45" y="104"/>
                </a:cubicBezTo>
                <a:cubicBezTo>
                  <a:pt x="49" y="104"/>
                  <a:pt x="49" y="104"/>
                  <a:pt x="49" y="104"/>
                </a:cubicBezTo>
                <a:cubicBezTo>
                  <a:pt x="12" y="214"/>
                  <a:pt x="12" y="214"/>
                  <a:pt x="12" y="214"/>
                </a:cubicBezTo>
                <a:cubicBezTo>
                  <a:pt x="46" y="214"/>
                  <a:pt x="46" y="214"/>
                  <a:pt x="46" y="214"/>
                </a:cubicBezTo>
                <a:cubicBezTo>
                  <a:pt x="46" y="308"/>
                  <a:pt x="46" y="308"/>
                  <a:pt x="46" y="308"/>
                </a:cubicBezTo>
                <a:cubicBezTo>
                  <a:pt x="46" y="316"/>
                  <a:pt x="53" y="322"/>
                  <a:pt x="60" y="322"/>
                </a:cubicBezTo>
                <a:cubicBezTo>
                  <a:pt x="68" y="322"/>
                  <a:pt x="75" y="316"/>
                  <a:pt x="75" y="308"/>
                </a:cubicBezTo>
                <a:cubicBezTo>
                  <a:pt x="75" y="214"/>
                  <a:pt x="75" y="214"/>
                  <a:pt x="75" y="214"/>
                </a:cubicBezTo>
                <a:cubicBezTo>
                  <a:pt x="78" y="214"/>
                  <a:pt x="78" y="214"/>
                  <a:pt x="78" y="214"/>
                </a:cubicBezTo>
                <a:cubicBezTo>
                  <a:pt x="78" y="308"/>
                  <a:pt x="78" y="308"/>
                  <a:pt x="78" y="308"/>
                </a:cubicBezTo>
                <a:cubicBezTo>
                  <a:pt x="78" y="316"/>
                  <a:pt x="85" y="322"/>
                  <a:pt x="92" y="322"/>
                </a:cubicBezTo>
                <a:cubicBezTo>
                  <a:pt x="100" y="322"/>
                  <a:pt x="106" y="316"/>
                  <a:pt x="106" y="308"/>
                </a:cubicBezTo>
                <a:cubicBezTo>
                  <a:pt x="106" y="214"/>
                  <a:pt x="106" y="214"/>
                  <a:pt x="106" y="214"/>
                </a:cubicBezTo>
                <a:cubicBezTo>
                  <a:pt x="141" y="214"/>
                  <a:pt x="141" y="214"/>
                  <a:pt x="141" y="214"/>
                </a:cubicBezTo>
                <a:cubicBezTo>
                  <a:pt x="104" y="104"/>
                  <a:pt x="104" y="104"/>
                  <a:pt x="104" y="104"/>
                </a:cubicBezTo>
                <a:cubicBezTo>
                  <a:pt x="107" y="104"/>
                  <a:pt x="107" y="104"/>
                  <a:pt x="107" y="104"/>
                </a:cubicBezTo>
                <a:cubicBezTo>
                  <a:pt x="129" y="169"/>
                  <a:pt x="129" y="169"/>
                  <a:pt x="129" y="169"/>
                </a:cubicBezTo>
                <a:cubicBezTo>
                  <a:pt x="131" y="175"/>
                  <a:pt x="138" y="178"/>
                  <a:pt x="144" y="176"/>
                </a:cubicBezTo>
                <a:cubicBezTo>
                  <a:pt x="150" y="174"/>
                  <a:pt x="153" y="167"/>
                  <a:pt x="151" y="161"/>
                </a:cubicBezTo>
                <a:close/>
              </a:path>
            </a:pathLst>
          </a:custGeom>
          <a:solidFill>
            <a:srgbClr val="84FFFF"/>
          </a:soli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solidFill>
              <a:cs typeface="+mn-ea"/>
              <a:sym typeface="+mn-lt"/>
            </a:endParaRPr>
          </a:p>
        </p:txBody>
      </p:sp>
      <p:sp>
        <p:nvSpPr>
          <p:cNvPr id="149" name="Freeform 36"/>
          <p:cNvSpPr>
            <a:spLocks noEditPoints="1"/>
          </p:cNvSpPr>
          <p:nvPr/>
        </p:nvSpPr>
        <p:spPr bwMode="auto">
          <a:xfrm>
            <a:off x="1118715" y="5330410"/>
            <a:ext cx="321579" cy="812414"/>
          </a:xfrm>
          <a:custGeom>
            <a:avLst/>
            <a:gdLst>
              <a:gd name="T0" fmla="*/ 64 w 127"/>
              <a:gd name="T1" fmla="*/ 58 h 321"/>
              <a:gd name="T2" fmla="*/ 93 w 127"/>
              <a:gd name="T3" fmla="*/ 29 h 321"/>
              <a:gd name="T4" fmla="*/ 64 w 127"/>
              <a:gd name="T5" fmla="*/ 0 h 321"/>
              <a:gd name="T6" fmla="*/ 34 w 127"/>
              <a:gd name="T7" fmla="*/ 29 h 321"/>
              <a:gd name="T8" fmla="*/ 64 w 127"/>
              <a:gd name="T9" fmla="*/ 58 h 321"/>
              <a:gd name="T10" fmla="*/ 127 w 127"/>
              <a:gd name="T11" fmla="*/ 85 h 321"/>
              <a:gd name="T12" fmla="*/ 127 w 127"/>
              <a:gd name="T13" fmla="*/ 85 h 321"/>
              <a:gd name="T14" fmla="*/ 102 w 127"/>
              <a:gd name="T15" fmla="*/ 63 h 321"/>
              <a:gd name="T16" fmla="*/ 25 w 127"/>
              <a:gd name="T17" fmla="*/ 63 h 321"/>
              <a:gd name="T18" fmla="*/ 1 w 127"/>
              <a:gd name="T19" fmla="*/ 85 h 321"/>
              <a:gd name="T20" fmla="*/ 0 w 127"/>
              <a:gd name="T21" fmla="*/ 85 h 321"/>
              <a:gd name="T22" fmla="*/ 0 w 127"/>
              <a:gd name="T23" fmla="*/ 169 h 321"/>
              <a:gd name="T24" fmla="*/ 13 w 127"/>
              <a:gd name="T25" fmla="*/ 181 h 321"/>
              <a:gd name="T26" fmla="*/ 26 w 127"/>
              <a:gd name="T27" fmla="*/ 169 h 321"/>
              <a:gd name="T28" fmla="*/ 26 w 127"/>
              <a:gd name="T29" fmla="*/ 107 h 321"/>
              <a:gd name="T30" fmla="*/ 29 w 127"/>
              <a:gd name="T31" fmla="*/ 107 h 321"/>
              <a:gd name="T32" fmla="*/ 31 w 127"/>
              <a:gd name="T33" fmla="*/ 107 h 321"/>
              <a:gd name="T34" fmla="*/ 30 w 127"/>
              <a:gd name="T35" fmla="*/ 110 h 321"/>
              <a:gd name="T36" fmla="*/ 30 w 127"/>
              <a:gd name="T37" fmla="*/ 306 h 321"/>
              <a:gd name="T38" fmla="*/ 46 w 127"/>
              <a:gd name="T39" fmla="*/ 321 h 321"/>
              <a:gd name="T40" fmla="*/ 62 w 127"/>
              <a:gd name="T41" fmla="*/ 306 h 321"/>
              <a:gd name="T42" fmla="*/ 62 w 127"/>
              <a:gd name="T43" fmla="*/ 216 h 321"/>
              <a:gd name="T44" fmla="*/ 66 w 127"/>
              <a:gd name="T45" fmla="*/ 216 h 321"/>
              <a:gd name="T46" fmla="*/ 66 w 127"/>
              <a:gd name="T47" fmla="*/ 306 h 321"/>
              <a:gd name="T48" fmla="*/ 81 w 127"/>
              <a:gd name="T49" fmla="*/ 321 h 321"/>
              <a:gd name="T50" fmla="*/ 97 w 127"/>
              <a:gd name="T51" fmla="*/ 306 h 321"/>
              <a:gd name="T52" fmla="*/ 97 w 127"/>
              <a:gd name="T53" fmla="*/ 110 h 321"/>
              <a:gd name="T54" fmla="*/ 97 w 127"/>
              <a:gd name="T55" fmla="*/ 107 h 321"/>
              <a:gd name="T56" fmla="*/ 101 w 127"/>
              <a:gd name="T57" fmla="*/ 107 h 321"/>
              <a:gd name="T58" fmla="*/ 101 w 127"/>
              <a:gd name="T59" fmla="*/ 168 h 321"/>
              <a:gd name="T60" fmla="*/ 114 w 127"/>
              <a:gd name="T61" fmla="*/ 181 h 321"/>
              <a:gd name="T62" fmla="*/ 127 w 127"/>
              <a:gd name="T63" fmla="*/ 168 h 321"/>
              <a:gd name="T64" fmla="*/ 127 w 127"/>
              <a:gd name="T65" fmla="*/ 8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7" h="321">
                <a:moveTo>
                  <a:pt x="64" y="58"/>
                </a:moveTo>
                <a:cubicBezTo>
                  <a:pt x="80" y="58"/>
                  <a:pt x="93" y="45"/>
                  <a:pt x="93" y="29"/>
                </a:cubicBezTo>
                <a:cubicBezTo>
                  <a:pt x="93" y="13"/>
                  <a:pt x="80" y="0"/>
                  <a:pt x="64" y="0"/>
                </a:cubicBezTo>
                <a:cubicBezTo>
                  <a:pt x="47" y="0"/>
                  <a:pt x="34" y="13"/>
                  <a:pt x="34" y="29"/>
                </a:cubicBezTo>
                <a:cubicBezTo>
                  <a:pt x="34" y="45"/>
                  <a:pt x="47" y="58"/>
                  <a:pt x="64" y="58"/>
                </a:cubicBezTo>
                <a:close/>
                <a:moveTo>
                  <a:pt x="127" y="85"/>
                </a:moveTo>
                <a:cubicBezTo>
                  <a:pt x="127" y="85"/>
                  <a:pt x="127" y="85"/>
                  <a:pt x="127" y="85"/>
                </a:cubicBezTo>
                <a:cubicBezTo>
                  <a:pt x="126" y="73"/>
                  <a:pt x="115" y="63"/>
                  <a:pt x="102" y="63"/>
                </a:cubicBezTo>
                <a:cubicBezTo>
                  <a:pt x="25" y="63"/>
                  <a:pt x="25" y="63"/>
                  <a:pt x="25" y="63"/>
                </a:cubicBezTo>
                <a:cubicBezTo>
                  <a:pt x="12" y="63"/>
                  <a:pt x="2" y="73"/>
                  <a:pt x="1" y="85"/>
                </a:cubicBezTo>
                <a:cubicBezTo>
                  <a:pt x="0" y="85"/>
                  <a:pt x="0" y="85"/>
                  <a:pt x="0" y="85"/>
                </a:cubicBezTo>
                <a:cubicBezTo>
                  <a:pt x="0" y="169"/>
                  <a:pt x="0" y="169"/>
                  <a:pt x="0" y="169"/>
                </a:cubicBezTo>
                <a:cubicBezTo>
                  <a:pt x="0" y="176"/>
                  <a:pt x="6" y="181"/>
                  <a:pt x="13" y="181"/>
                </a:cubicBezTo>
                <a:cubicBezTo>
                  <a:pt x="20" y="181"/>
                  <a:pt x="26" y="176"/>
                  <a:pt x="26" y="169"/>
                </a:cubicBezTo>
                <a:cubicBezTo>
                  <a:pt x="26" y="107"/>
                  <a:pt x="26" y="107"/>
                  <a:pt x="26" y="107"/>
                </a:cubicBezTo>
                <a:cubicBezTo>
                  <a:pt x="27" y="107"/>
                  <a:pt x="28" y="107"/>
                  <a:pt x="29" y="107"/>
                </a:cubicBezTo>
                <a:cubicBezTo>
                  <a:pt x="31" y="107"/>
                  <a:pt x="31" y="107"/>
                  <a:pt x="31" y="107"/>
                </a:cubicBezTo>
                <a:cubicBezTo>
                  <a:pt x="30" y="108"/>
                  <a:pt x="30" y="109"/>
                  <a:pt x="30" y="110"/>
                </a:cubicBezTo>
                <a:cubicBezTo>
                  <a:pt x="30" y="306"/>
                  <a:pt x="30" y="306"/>
                  <a:pt x="30" y="306"/>
                </a:cubicBezTo>
                <a:cubicBezTo>
                  <a:pt x="30" y="314"/>
                  <a:pt x="37" y="321"/>
                  <a:pt x="46" y="321"/>
                </a:cubicBezTo>
                <a:cubicBezTo>
                  <a:pt x="55" y="321"/>
                  <a:pt x="62" y="314"/>
                  <a:pt x="62" y="306"/>
                </a:cubicBezTo>
                <a:cubicBezTo>
                  <a:pt x="62" y="216"/>
                  <a:pt x="62" y="216"/>
                  <a:pt x="62" y="216"/>
                </a:cubicBezTo>
                <a:cubicBezTo>
                  <a:pt x="66" y="216"/>
                  <a:pt x="66" y="216"/>
                  <a:pt x="66" y="216"/>
                </a:cubicBezTo>
                <a:cubicBezTo>
                  <a:pt x="66" y="306"/>
                  <a:pt x="66" y="306"/>
                  <a:pt x="66" y="306"/>
                </a:cubicBezTo>
                <a:cubicBezTo>
                  <a:pt x="66" y="314"/>
                  <a:pt x="73" y="321"/>
                  <a:pt x="81" y="321"/>
                </a:cubicBezTo>
                <a:cubicBezTo>
                  <a:pt x="90" y="321"/>
                  <a:pt x="97" y="314"/>
                  <a:pt x="97" y="306"/>
                </a:cubicBezTo>
                <a:cubicBezTo>
                  <a:pt x="97" y="110"/>
                  <a:pt x="97" y="110"/>
                  <a:pt x="97" y="110"/>
                </a:cubicBezTo>
                <a:cubicBezTo>
                  <a:pt x="97" y="109"/>
                  <a:pt x="97" y="108"/>
                  <a:pt x="97" y="107"/>
                </a:cubicBezTo>
                <a:cubicBezTo>
                  <a:pt x="101" y="107"/>
                  <a:pt x="101" y="107"/>
                  <a:pt x="101" y="107"/>
                </a:cubicBezTo>
                <a:cubicBezTo>
                  <a:pt x="101" y="168"/>
                  <a:pt x="101" y="168"/>
                  <a:pt x="101" y="168"/>
                </a:cubicBezTo>
                <a:cubicBezTo>
                  <a:pt x="101" y="175"/>
                  <a:pt x="107" y="181"/>
                  <a:pt x="114" y="181"/>
                </a:cubicBezTo>
                <a:cubicBezTo>
                  <a:pt x="121" y="181"/>
                  <a:pt x="127" y="175"/>
                  <a:pt x="127" y="168"/>
                </a:cubicBezTo>
                <a:cubicBezTo>
                  <a:pt x="127" y="85"/>
                  <a:pt x="127" y="85"/>
                  <a:pt x="127" y="85"/>
                </a:cubicBezTo>
                <a:close/>
              </a:path>
            </a:pathLst>
          </a:custGeom>
          <a:solidFill>
            <a:srgbClr val="84FFFF"/>
          </a:soli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solidFill>
              <a:cs typeface="+mn-ea"/>
              <a:sym typeface="+mn-lt"/>
            </a:endParaRPr>
          </a:p>
        </p:txBody>
      </p:sp>
      <p:sp>
        <p:nvSpPr>
          <p:cNvPr id="150" name="文本框 149"/>
          <p:cNvSpPr txBox="1"/>
          <p:nvPr/>
        </p:nvSpPr>
        <p:spPr>
          <a:xfrm>
            <a:off x="1544121" y="5538107"/>
            <a:ext cx="1119217" cy="769441"/>
          </a:xfrm>
          <a:prstGeom prst="rect">
            <a:avLst/>
          </a:prstGeom>
          <a:noFill/>
        </p:spPr>
        <p:txBody>
          <a:bodyPr wrap="none" rtlCol="0">
            <a:spAutoFit/>
          </a:bodyPr>
          <a:lstStyle/>
          <a:p>
            <a:pPr lvl="0"/>
            <a:r>
              <a:rPr lang="en-US" altLang="zh-CN" sz="4400" dirty="0">
                <a:solidFill>
                  <a:srgbClr val="84FFFF"/>
                </a:solidFill>
                <a:cs typeface="+mn-ea"/>
                <a:sym typeface="+mn-lt"/>
              </a:rPr>
              <a:t>68</a:t>
            </a:r>
            <a:r>
              <a:rPr lang="en-US" altLang="zh-CN" sz="2400" dirty="0">
                <a:solidFill>
                  <a:srgbClr val="84FFFF"/>
                </a:solidFill>
                <a:cs typeface="+mn-ea"/>
                <a:sym typeface="+mn-lt"/>
              </a:rPr>
              <a:t>%</a:t>
            </a:r>
            <a:endParaRPr lang="zh-CN" altLang="en-US" sz="2400" dirty="0">
              <a:solidFill>
                <a:srgbClr val="84FFFF"/>
              </a:solidFill>
              <a:cs typeface="+mn-ea"/>
              <a:sym typeface="+mn-lt"/>
            </a:endParaRPr>
          </a:p>
        </p:txBody>
      </p:sp>
      <p:sp>
        <p:nvSpPr>
          <p:cNvPr id="151" name="文本框 150"/>
          <p:cNvSpPr txBox="1"/>
          <p:nvPr/>
        </p:nvSpPr>
        <p:spPr>
          <a:xfrm>
            <a:off x="1550217" y="5384976"/>
            <a:ext cx="1620957" cy="307777"/>
          </a:xfrm>
          <a:prstGeom prst="rect">
            <a:avLst/>
          </a:prstGeom>
          <a:noFill/>
          <a:effectLst/>
        </p:spPr>
        <p:txBody>
          <a:bodyPr wrap="none" rtlCol="0" anchor="ctr">
            <a:spAutoFit/>
          </a:bodyPr>
          <a:lstStyle>
            <a:defPPr>
              <a:defRPr lang="zh-CN"/>
            </a:defPPr>
            <a:lvl1pPr algn="ctr">
              <a:defRPr sz="1600" b="1">
                <a:gradFill>
                  <a:gsLst>
                    <a:gs pos="0">
                      <a:srgbClr val="FFC9C3"/>
                    </a:gs>
                    <a:gs pos="100000">
                      <a:srgbClr val="FFF6F5"/>
                    </a:gs>
                  </a:gsLst>
                  <a:lin ang="16200000" scaled="0"/>
                </a:gradFill>
                <a:effectLst>
                  <a:outerShdw blurRad="101600" dist="63500" dir="5400000" algn="ctr" rotWithShape="0">
                    <a:srgbClr val="BE1414">
                      <a:alpha val="62000"/>
                    </a:srgbClr>
                  </a:outerShdw>
                </a:effectLst>
                <a:latin typeface="微软雅黑" panose="020B0503020204020204" pitchFamily="34" charset="-122"/>
                <a:ea typeface="微软雅黑" panose="020B0503020204020204" pitchFamily="34" charset="-122"/>
              </a:defRPr>
            </a:lvl1pPr>
          </a:lstStyle>
          <a:p>
            <a:pPr algn="l"/>
            <a:r>
              <a:rPr lang="zh-CN" altLang="en-US" sz="1400" b="0" dirty="0">
                <a:solidFill>
                  <a:schemeClr val="bg1"/>
                </a:solidFill>
                <a:effectLst/>
                <a:latin typeface="+mn-lt"/>
                <a:ea typeface="+mn-ea"/>
                <a:cs typeface="+mn-ea"/>
                <a:sym typeface="+mn-lt"/>
              </a:rPr>
              <a:t>填写段落文本描述</a:t>
            </a:r>
          </a:p>
        </p:txBody>
      </p:sp>
      <p:sp>
        <p:nvSpPr>
          <p:cNvPr id="152" name="文本框 151"/>
          <p:cNvSpPr txBox="1"/>
          <p:nvPr/>
        </p:nvSpPr>
        <p:spPr>
          <a:xfrm>
            <a:off x="2370955" y="5681328"/>
            <a:ext cx="800219" cy="276999"/>
          </a:xfrm>
          <a:prstGeom prst="rect">
            <a:avLst/>
          </a:prstGeom>
          <a:noFill/>
          <a:effectLst/>
        </p:spPr>
        <p:txBody>
          <a:bodyPr wrap="none" rtlCol="0" anchor="ctr">
            <a:spAutoFit/>
          </a:bodyPr>
          <a:lstStyle>
            <a:defPPr>
              <a:defRPr lang="zh-CN"/>
            </a:defPPr>
            <a:lvl1pPr algn="ctr">
              <a:defRPr sz="1600" b="1">
                <a:gradFill>
                  <a:gsLst>
                    <a:gs pos="0">
                      <a:srgbClr val="FFC9C3"/>
                    </a:gs>
                    <a:gs pos="100000">
                      <a:srgbClr val="FFF6F5"/>
                    </a:gs>
                  </a:gsLst>
                  <a:lin ang="16200000" scaled="0"/>
                </a:gradFill>
                <a:effectLst>
                  <a:outerShdw blurRad="101600" dist="63500" dir="5400000" algn="ctr" rotWithShape="0">
                    <a:srgbClr val="BE1414">
                      <a:alpha val="62000"/>
                    </a:srgbClr>
                  </a:outerShdw>
                </a:effectLst>
                <a:latin typeface="微软雅黑" panose="020B0503020204020204" pitchFamily="34" charset="-122"/>
                <a:ea typeface="微软雅黑" panose="020B0503020204020204" pitchFamily="34" charset="-122"/>
              </a:defRPr>
            </a:lvl1pPr>
          </a:lstStyle>
          <a:p>
            <a:pPr algn="l"/>
            <a:r>
              <a:rPr lang="zh-CN" altLang="en-US" sz="1200" b="0" dirty="0">
                <a:solidFill>
                  <a:schemeClr val="bg1"/>
                </a:solidFill>
                <a:effectLst/>
                <a:latin typeface="+mn-lt"/>
                <a:ea typeface="+mn-ea"/>
                <a:cs typeface="+mn-ea"/>
                <a:sym typeface="+mn-lt"/>
              </a:rPr>
              <a:t>销售总额</a:t>
            </a:r>
          </a:p>
        </p:txBody>
      </p:sp>
      <p:sp>
        <p:nvSpPr>
          <p:cNvPr id="153" name="文本框 152"/>
          <p:cNvSpPr txBox="1"/>
          <p:nvPr/>
        </p:nvSpPr>
        <p:spPr>
          <a:xfrm>
            <a:off x="3929367" y="5538107"/>
            <a:ext cx="1119217" cy="769441"/>
          </a:xfrm>
          <a:prstGeom prst="rect">
            <a:avLst/>
          </a:prstGeom>
          <a:noFill/>
        </p:spPr>
        <p:txBody>
          <a:bodyPr wrap="none" rtlCol="0">
            <a:spAutoFit/>
          </a:bodyPr>
          <a:lstStyle/>
          <a:p>
            <a:pPr lvl="0"/>
            <a:r>
              <a:rPr lang="en-US" altLang="zh-CN" sz="4400" dirty="0">
                <a:solidFill>
                  <a:srgbClr val="84FFFF"/>
                </a:solidFill>
                <a:cs typeface="+mn-ea"/>
                <a:sym typeface="+mn-lt"/>
              </a:rPr>
              <a:t>32</a:t>
            </a:r>
            <a:r>
              <a:rPr lang="en-US" altLang="zh-CN" sz="2400" dirty="0">
                <a:solidFill>
                  <a:srgbClr val="84FFFF"/>
                </a:solidFill>
                <a:cs typeface="+mn-ea"/>
                <a:sym typeface="+mn-lt"/>
              </a:rPr>
              <a:t>%</a:t>
            </a:r>
            <a:endParaRPr lang="zh-CN" altLang="en-US" sz="2400" dirty="0">
              <a:solidFill>
                <a:srgbClr val="84FFFF"/>
              </a:solidFill>
              <a:cs typeface="+mn-ea"/>
              <a:sym typeface="+mn-lt"/>
            </a:endParaRPr>
          </a:p>
        </p:txBody>
      </p:sp>
      <p:sp>
        <p:nvSpPr>
          <p:cNvPr id="154" name="文本框 153"/>
          <p:cNvSpPr txBox="1"/>
          <p:nvPr/>
        </p:nvSpPr>
        <p:spPr>
          <a:xfrm>
            <a:off x="3935463" y="5384976"/>
            <a:ext cx="1620957" cy="307777"/>
          </a:xfrm>
          <a:prstGeom prst="rect">
            <a:avLst/>
          </a:prstGeom>
          <a:noFill/>
          <a:effectLst/>
        </p:spPr>
        <p:txBody>
          <a:bodyPr wrap="none" rtlCol="0" anchor="ctr">
            <a:spAutoFit/>
          </a:bodyPr>
          <a:lstStyle>
            <a:defPPr>
              <a:defRPr lang="zh-CN"/>
            </a:defPPr>
            <a:lvl1pPr algn="ctr">
              <a:defRPr sz="1600" b="1">
                <a:gradFill>
                  <a:gsLst>
                    <a:gs pos="0">
                      <a:srgbClr val="FFC9C3"/>
                    </a:gs>
                    <a:gs pos="100000">
                      <a:srgbClr val="FFF6F5"/>
                    </a:gs>
                  </a:gsLst>
                  <a:lin ang="16200000" scaled="0"/>
                </a:gradFill>
                <a:effectLst>
                  <a:outerShdw blurRad="101600" dist="63500" dir="5400000" algn="ctr" rotWithShape="0">
                    <a:srgbClr val="BE1414">
                      <a:alpha val="62000"/>
                    </a:srgbClr>
                  </a:outerShdw>
                </a:effectLst>
                <a:latin typeface="微软雅黑" panose="020B0503020204020204" pitchFamily="34" charset="-122"/>
                <a:ea typeface="微软雅黑" panose="020B0503020204020204" pitchFamily="34" charset="-122"/>
              </a:defRPr>
            </a:lvl1pPr>
          </a:lstStyle>
          <a:p>
            <a:pPr algn="l"/>
            <a:r>
              <a:rPr lang="zh-CN" altLang="en-US" sz="1400" b="0" dirty="0">
                <a:solidFill>
                  <a:schemeClr val="bg1"/>
                </a:solidFill>
                <a:effectLst/>
                <a:latin typeface="+mn-lt"/>
                <a:ea typeface="+mn-ea"/>
                <a:cs typeface="+mn-ea"/>
                <a:sym typeface="+mn-lt"/>
              </a:rPr>
              <a:t>填写段落文本描述</a:t>
            </a:r>
          </a:p>
        </p:txBody>
      </p:sp>
      <p:sp>
        <p:nvSpPr>
          <p:cNvPr id="155" name="文本框 154"/>
          <p:cNvSpPr txBox="1"/>
          <p:nvPr/>
        </p:nvSpPr>
        <p:spPr>
          <a:xfrm>
            <a:off x="4756201" y="5681328"/>
            <a:ext cx="800219" cy="276999"/>
          </a:xfrm>
          <a:prstGeom prst="rect">
            <a:avLst/>
          </a:prstGeom>
          <a:noFill/>
          <a:effectLst/>
        </p:spPr>
        <p:txBody>
          <a:bodyPr wrap="none" rtlCol="0" anchor="ctr">
            <a:spAutoFit/>
          </a:bodyPr>
          <a:lstStyle>
            <a:defPPr>
              <a:defRPr lang="zh-CN"/>
            </a:defPPr>
            <a:lvl1pPr algn="ctr">
              <a:defRPr sz="1600" b="1">
                <a:gradFill>
                  <a:gsLst>
                    <a:gs pos="0">
                      <a:srgbClr val="FFC9C3"/>
                    </a:gs>
                    <a:gs pos="100000">
                      <a:srgbClr val="FFF6F5"/>
                    </a:gs>
                  </a:gsLst>
                  <a:lin ang="16200000" scaled="0"/>
                </a:gradFill>
                <a:effectLst>
                  <a:outerShdw blurRad="101600" dist="63500" dir="5400000" algn="ctr" rotWithShape="0">
                    <a:srgbClr val="BE1414">
                      <a:alpha val="62000"/>
                    </a:srgbClr>
                  </a:outerShdw>
                </a:effectLst>
                <a:latin typeface="微软雅黑" panose="020B0503020204020204" pitchFamily="34" charset="-122"/>
                <a:ea typeface="微软雅黑" panose="020B0503020204020204" pitchFamily="34" charset="-122"/>
              </a:defRPr>
            </a:lvl1pPr>
          </a:lstStyle>
          <a:p>
            <a:pPr algn="l"/>
            <a:r>
              <a:rPr lang="zh-CN" altLang="en-US" sz="1200" b="0" dirty="0">
                <a:solidFill>
                  <a:schemeClr val="bg1"/>
                </a:solidFill>
                <a:effectLst/>
                <a:latin typeface="+mn-lt"/>
                <a:ea typeface="+mn-ea"/>
                <a:cs typeface="+mn-ea"/>
                <a:sym typeface="+mn-lt"/>
              </a:rPr>
              <a:t>销售总额</a:t>
            </a:r>
          </a:p>
        </p:txBody>
      </p:sp>
    </p:spTree>
  </p:cSld>
  <p:clrMapOvr>
    <a:masterClrMapping/>
  </p:clrMapOvr>
  <mc:AlternateContent xmlns:mc="http://schemas.openxmlformats.org/markup-compatibility/2006" xmlns:p14="http://schemas.microsoft.com/office/powerpoint/2010/main">
    <mc:Choice Requires="p14">
      <p:transition spd="slow" advTm="0">
        <p14:flash/>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childTnLst>
                    </p:cTn>
                  </p:par>
                  <p:par>
                    <p:cTn id="16" fill="hold">
                      <p:stCondLst>
                        <p:cond delay="indefinite"/>
                      </p:stCondLst>
                      <p:childTnLst>
                        <p:par>
                          <p:cTn id="17" fill="hold">
                            <p:stCondLst>
                              <p:cond delay="0"/>
                            </p:stCondLst>
                            <p:childTnLst>
                              <p:par>
                                <p:cTn id="18" presetID="21" presetClass="entr" presetSubtype="1" fill="hold" nodeType="clickEffect">
                                  <p:stCondLst>
                                    <p:cond delay="0"/>
                                  </p:stCondLst>
                                  <p:childTnLst>
                                    <p:set>
                                      <p:cBhvr>
                                        <p:cTn id="19" dur="1" fill="hold">
                                          <p:stCondLst>
                                            <p:cond delay="0"/>
                                          </p:stCondLst>
                                        </p:cTn>
                                        <p:tgtEl>
                                          <p:spTgt spid="136"/>
                                        </p:tgtEl>
                                        <p:attrNameLst>
                                          <p:attrName>style.visibility</p:attrName>
                                        </p:attrNameLst>
                                      </p:cBhvr>
                                      <p:to>
                                        <p:strVal val="visible"/>
                                      </p:to>
                                    </p:set>
                                    <p:animEffect transition="in" filter="wheel(1)">
                                      <p:cBhvr>
                                        <p:cTn id="20" dur="2000"/>
                                        <p:tgtEl>
                                          <p:spTgt spid="136"/>
                                        </p:tgtEl>
                                      </p:cBhvr>
                                    </p:animEffect>
                                  </p:childTnLst>
                                </p:cTn>
                              </p:par>
                            </p:childTnLst>
                          </p:cTn>
                        </p:par>
                        <p:par>
                          <p:cTn id="21" fill="hold">
                            <p:stCondLst>
                              <p:cond delay="2000"/>
                            </p:stCondLst>
                            <p:childTnLst>
                              <p:par>
                                <p:cTn id="22" presetID="53" presetClass="entr" presetSubtype="16" fill="hold" nodeType="afterEffect">
                                  <p:stCondLst>
                                    <p:cond delay="0"/>
                                  </p:stCondLst>
                                  <p:childTnLst>
                                    <p:set>
                                      <p:cBhvr>
                                        <p:cTn id="23" dur="1" fill="hold">
                                          <p:stCondLst>
                                            <p:cond delay="0"/>
                                          </p:stCondLst>
                                        </p:cTn>
                                        <p:tgtEl>
                                          <p:spTgt spid="137"/>
                                        </p:tgtEl>
                                        <p:attrNameLst>
                                          <p:attrName>style.visibility</p:attrName>
                                        </p:attrNameLst>
                                      </p:cBhvr>
                                      <p:to>
                                        <p:strVal val="visible"/>
                                      </p:to>
                                    </p:set>
                                    <p:anim calcmode="lin" valueType="num">
                                      <p:cBhvr>
                                        <p:cTn id="24" dur="500" fill="hold"/>
                                        <p:tgtEl>
                                          <p:spTgt spid="137"/>
                                        </p:tgtEl>
                                        <p:attrNameLst>
                                          <p:attrName>ppt_w</p:attrName>
                                        </p:attrNameLst>
                                      </p:cBhvr>
                                      <p:tavLst>
                                        <p:tav tm="0">
                                          <p:val>
                                            <p:fltVal val="0"/>
                                          </p:val>
                                        </p:tav>
                                        <p:tav tm="100000">
                                          <p:val>
                                            <p:strVal val="#ppt_w"/>
                                          </p:val>
                                        </p:tav>
                                      </p:tavLst>
                                    </p:anim>
                                    <p:anim calcmode="lin" valueType="num">
                                      <p:cBhvr>
                                        <p:cTn id="25" dur="500" fill="hold"/>
                                        <p:tgtEl>
                                          <p:spTgt spid="137"/>
                                        </p:tgtEl>
                                        <p:attrNameLst>
                                          <p:attrName>ppt_h</p:attrName>
                                        </p:attrNameLst>
                                      </p:cBhvr>
                                      <p:tavLst>
                                        <p:tav tm="0">
                                          <p:val>
                                            <p:fltVal val="0"/>
                                          </p:val>
                                        </p:tav>
                                        <p:tav tm="100000">
                                          <p:val>
                                            <p:strVal val="#ppt_h"/>
                                          </p:val>
                                        </p:tav>
                                      </p:tavLst>
                                    </p:anim>
                                    <p:animEffect transition="in" filter="fade">
                                      <p:cBhvr>
                                        <p:cTn id="26" dur="500"/>
                                        <p:tgtEl>
                                          <p:spTgt spid="137"/>
                                        </p:tgtEl>
                                      </p:cBhvr>
                                    </p:animEffect>
                                  </p:childTnLst>
                                </p:cTn>
                              </p:par>
                            </p:childTnLst>
                          </p:cTn>
                        </p:par>
                        <p:par>
                          <p:cTn id="27" fill="hold">
                            <p:stCondLst>
                              <p:cond delay="2500"/>
                            </p:stCondLst>
                            <p:childTnLst>
                              <p:par>
                                <p:cTn id="28" presetID="55" presetClass="entr" presetSubtype="0" fill="hold" nodeType="afterEffect">
                                  <p:stCondLst>
                                    <p:cond delay="0"/>
                                  </p:stCondLst>
                                  <p:childTnLst>
                                    <p:set>
                                      <p:cBhvr>
                                        <p:cTn id="29" dur="1" fill="hold">
                                          <p:stCondLst>
                                            <p:cond delay="0"/>
                                          </p:stCondLst>
                                        </p:cTn>
                                        <p:tgtEl>
                                          <p:spTgt spid="140"/>
                                        </p:tgtEl>
                                        <p:attrNameLst>
                                          <p:attrName>style.visibility</p:attrName>
                                        </p:attrNameLst>
                                      </p:cBhvr>
                                      <p:to>
                                        <p:strVal val="visible"/>
                                      </p:to>
                                    </p:set>
                                    <p:anim calcmode="lin" valueType="num">
                                      <p:cBhvr>
                                        <p:cTn id="30" dur="1000" fill="hold"/>
                                        <p:tgtEl>
                                          <p:spTgt spid="140"/>
                                        </p:tgtEl>
                                        <p:attrNameLst>
                                          <p:attrName>ppt_w</p:attrName>
                                        </p:attrNameLst>
                                      </p:cBhvr>
                                      <p:tavLst>
                                        <p:tav tm="0">
                                          <p:val>
                                            <p:strVal val="#ppt_w*0.70"/>
                                          </p:val>
                                        </p:tav>
                                        <p:tav tm="100000">
                                          <p:val>
                                            <p:strVal val="#ppt_w"/>
                                          </p:val>
                                        </p:tav>
                                      </p:tavLst>
                                    </p:anim>
                                    <p:anim calcmode="lin" valueType="num">
                                      <p:cBhvr>
                                        <p:cTn id="31" dur="1000" fill="hold"/>
                                        <p:tgtEl>
                                          <p:spTgt spid="140"/>
                                        </p:tgtEl>
                                        <p:attrNameLst>
                                          <p:attrName>ppt_h</p:attrName>
                                        </p:attrNameLst>
                                      </p:cBhvr>
                                      <p:tavLst>
                                        <p:tav tm="0">
                                          <p:val>
                                            <p:strVal val="#ppt_h"/>
                                          </p:val>
                                        </p:tav>
                                        <p:tav tm="100000">
                                          <p:val>
                                            <p:strVal val="#ppt_h"/>
                                          </p:val>
                                        </p:tav>
                                      </p:tavLst>
                                    </p:anim>
                                    <p:animEffect transition="in" filter="fade">
                                      <p:cBhvr>
                                        <p:cTn id="32" dur="1000"/>
                                        <p:tgtEl>
                                          <p:spTgt spid="140"/>
                                        </p:tgtEl>
                                      </p:cBhvr>
                                    </p:animEffect>
                                  </p:childTnLst>
                                </p:cTn>
                              </p:par>
                            </p:childTnLst>
                          </p:cTn>
                        </p:par>
                        <p:par>
                          <p:cTn id="33" fill="hold">
                            <p:stCondLst>
                              <p:cond delay="3500"/>
                            </p:stCondLst>
                            <p:childTnLst>
                              <p:par>
                                <p:cTn id="34" presetID="23" presetClass="entr" presetSubtype="288" decel="100000" fill="hold" grpId="0" nodeType="afterEffect">
                                  <p:stCondLst>
                                    <p:cond delay="0"/>
                                  </p:stCondLst>
                                  <p:iterate type="lt">
                                    <p:tmPct val="15000"/>
                                  </p:iterate>
                                  <p:childTnLst>
                                    <p:set>
                                      <p:cBhvr>
                                        <p:cTn id="35" dur="1" fill="hold">
                                          <p:stCondLst>
                                            <p:cond delay="0"/>
                                          </p:stCondLst>
                                        </p:cTn>
                                        <p:tgtEl>
                                          <p:spTgt spid="138"/>
                                        </p:tgtEl>
                                        <p:attrNameLst>
                                          <p:attrName>style.visibility</p:attrName>
                                        </p:attrNameLst>
                                      </p:cBhvr>
                                      <p:to>
                                        <p:strVal val="visible"/>
                                      </p:to>
                                    </p:set>
                                    <p:anim calcmode="lin" valueType="num">
                                      <p:cBhvr>
                                        <p:cTn id="36" dur="500" fill="hold"/>
                                        <p:tgtEl>
                                          <p:spTgt spid="138"/>
                                        </p:tgtEl>
                                        <p:attrNameLst>
                                          <p:attrName>ppt_w</p:attrName>
                                        </p:attrNameLst>
                                      </p:cBhvr>
                                      <p:tavLst>
                                        <p:tav tm="0">
                                          <p:val>
                                            <p:strVal val="8/3*#ppt_w"/>
                                          </p:val>
                                        </p:tav>
                                        <p:tav tm="100000">
                                          <p:val>
                                            <p:strVal val="#ppt_w"/>
                                          </p:val>
                                        </p:tav>
                                      </p:tavLst>
                                    </p:anim>
                                    <p:anim calcmode="lin" valueType="num">
                                      <p:cBhvr>
                                        <p:cTn id="37" dur="500" fill="hold"/>
                                        <p:tgtEl>
                                          <p:spTgt spid="138"/>
                                        </p:tgtEl>
                                        <p:attrNameLst>
                                          <p:attrName>ppt_h</p:attrName>
                                        </p:attrNameLst>
                                      </p:cBhvr>
                                      <p:tavLst>
                                        <p:tav tm="0">
                                          <p:val>
                                            <p:strVal val="12/3*#ppt_h"/>
                                          </p:val>
                                        </p:tav>
                                        <p:tav tm="100000">
                                          <p:val>
                                            <p:strVal val="#ppt_h"/>
                                          </p:val>
                                        </p:tav>
                                      </p:tavLst>
                                    </p:anim>
                                  </p:childTnLst>
                                </p:cTn>
                              </p:par>
                              <p:par>
                                <p:cTn id="38" presetID="10" presetClass="entr" presetSubtype="0" fill="hold" grpId="1" nodeType="withEffect">
                                  <p:stCondLst>
                                    <p:cond delay="0"/>
                                  </p:stCondLst>
                                  <p:iterate type="lt">
                                    <p:tmPct val="15000"/>
                                  </p:iterate>
                                  <p:childTnLst>
                                    <p:set>
                                      <p:cBhvr>
                                        <p:cTn id="39" dur="1" fill="hold">
                                          <p:stCondLst>
                                            <p:cond delay="0"/>
                                          </p:stCondLst>
                                        </p:cTn>
                                        <p:tgtEl>
                                          <p:spTgt spid="138"/>
                                        </p:tgtEl>
                                        <p:attrNameLst>
                                          <p:attrName>style.visibility</p:attrName>
                                        </p:attrNameLst>
                                      </p:cBhvr>
                                      <p:to>
                                        <p:strVal val="visible"/>
                                      </p:to>
                                    </p:set>
                                    <p:animEffect transition="in" filter="fade">
                                      <p:cBhvr>
                                        <p:cTn id="40" dur="500"/>
                                        <p:tgtEl>
                                          <p:spTgt spid="138"/>
                                        </p:tgtEl>
                                      </p:cBhvr>
                                    </p:animEffect>
                                  </p:childTnLst>
                                </p:cTn>
                              </p:par>
                              <p:par>
                                <p:cTn id="41" presetID="22" presetClass="entr" presetSubtype="1" fill="hold" grpId="0" nodeType="withEffect">
                                  <p:stCondLst>
                                    <p:cond delay="0"/>
                                  </p:stCondLst>
                                  <p:iterate type="lt">
                                    <p:tmPct val="3000"/>
                                  </p:iterate>
                                  <p:childTnLst>
                                    <p:set>
                                      <p:cBhvr>
                                        <p:cTn id="42" dur="1" fill="hold">
                                          <p:stCondLst>
                                            <p:cond delay="0"/>
                                          </p:stCondLst>
                                        </p:cTn>
                                        <p:tgtEl>
                                          <p:spTgt spid="139"/>
                                        </p:tgtEl>
                                        <p:attrNameLst>
                                          <p:attrName>style.visibility</p:attrName>
                                        </p:attrNameLst>
                                      </p:cBhvr>
                                      <p:to>
                                        <p:strVal val="visible"/>
                                      </p:to>
                                    </p:set>
                                    <p:animEffect transition="in" filter="wipe(up)">
                                      <p:cBhvr>
                                        <p:cTn id="43" dur="500"/>
                                        <p:tgtEl>
                                          <p:spTgt spid="139"/>
                                        </p:tgtEl>
                                      </p:cBhvr>
                                    </p:animEffect>
                                  </p:childTnLst>
                                </p:cTn>
                              </p:par>
                            </p:childTnLst>
                          </p:cTn>
                        </p:par>
                        <p:par>
                          <p:cTn id="44" fill="hold">
                            <p:stCondLst>
                              <p:cond delay="4735"/>
                            </p:stCondLst>
                            <p:childTnLst>
                              <p:par>
                                <p:cTn id="45" presetID="55" presetClass="entr" presetSubtype="0" fill="hold" nodeType="afterEffect">
                                  <p:stCondLst>
                                    <p:cond delay="0"/>
                                  </p:stCondLst>
                                  <p:childTnLst>
                                    <p:set>
                                      <p:cBhvr>
                                        <p:cTn id="46" dur="1" fill="hold">
                                          <p:stCondLst>
                                            <p:cond delay="0"/>
                                          </p:stCondLst>
                                        </p:cTn>
                                        <p:tgtEl>
                                          <p:spTgt spid="143"/>
                                        </p:tgtEl>
                                        <p:attrNameLst>
                                          <p:attrName>style.visibility</p:attrName>
                                        </p:attrNameLst>
                                      </p:cBhvr>
                                      <p:to>
                                        <p:strVal val="visible"/>
                                      </p:to>
                                    </p:set>
                                    <p:anim calcmode="lin" valueType="num">
                                      <p:cBhvr>
                                        <p:cTn id="47" dur="1000" fill="hold"/>
                                        <p:tgtEl>
                                          <p:spTgt spid="143"/>
                                        </p:tgtEl>
                                        <p:attrNameLst>
                                          <p:attrName>ppt_w</p:attrName>
                                        </p:attrNameLst>
                                      </p:cBhvr>
                                      <p:tavLst>
                                        <p:tav tm="0">
                                          <p:val>
                                            <p:strVal val="#ppt_w*0.70"/>
                                          </p:val>
                                        </p:tav>
                                        <p:tav tm="100000">
                                          <p:val>
                                            <p:strVal val="#ppt_w"/>
                                          </p:val>
                                        </p:tav>
                                      </p:tavLst>
                                    </p:anim>
                                    <p:anim calcmode="lin" valueType="num">
                                      <p:cBhvr>
                                        <p:cTn id="48" dur="1000" fill="hold"/>
                                        <p:tgtEl>
                                          <p:spTgt spid="143"/>
                                        </p:tgtEl>
                                        <p:attrNameLst>
                                          <p:attrName>ppt_h</p:attrName>
                                        </p:attrNameLst>
                                      </p:cBhvr>
                                      <p:tavLst>
                                        <p:tav tm="0">
                                          <p:val>
                                            <p:strVal val="#ppt_h"/>
                                          </p:val>
                                        </p:tav>
                                        <p:tav tm="100000">
                                          <p:val>
                                            <p:strVal val="#ppt_h"/>
                                          </p:val>
                                        </p:tav>
                                      </p:tavLst>
                                    </p:anim>
                                    <p:animEffect transition="in" filter="fade">
                                      <p:cBhvr>
                                        <p:cTn id="49" dur="1000"/>
                                        <p:tgtEl>
                                          <p:spTgt spid="143"/>
                                        </p:tgtEl>
                                      </p:cBhvr>
                                    </p:animEffect>
                                  </p:childTnLst>
                                </p:cTn>
                              </p:par>
                            </p:childTnLst>
                          </p:cTn>
                        </p:par>
                        <p:par>
                          <p:cTn id="50" fill="hold">
                            <p:stCondLst>
                              <p:cond delay="5735"/>
                            </p:stCondLst>
                            <p:childTnLst>
                              <p:par>
                                <p:cTn id="51" presetID="23" presetClass="entr" presetSubtype="288" decel="100000" fill="hold" grpId="0" nodeType="afterEffect">
                                  <p:stCondLst>
                                    <p:cond delay="0"/>
                                  </p:stCondLst>
                                  <p:iterate type="lt">
                                    <p:tmPct val="15000"/>
                                  </p:iterate>
                                  <p:childTnLst>
                                    <p:set>
                                      <p:cBhvr>
                                        <p:cTn id="52" dur="1" fill="hold">
                                          <p:stCondLst>
                                            <p:cond delay="0"/>
                                          </p:stCondLst>
                                        </p:cTn>
                                        <p:tgtEl>
                                          <p:spTgt spid="146"/>
                                        </p:tgtEl>
                                        <p:attrNameLst>
                                          <p:attrName>style.visibility</p:attrName>
                                        </p:attrNameLst>
                                      </p:cBhvr>
                                      <p:to>
                                        <p:strVal val="visible"/>
                                      </p:to>
                                    </p:set>
                                    <p:anim calcmode="lin" valueType="num">
                                      <p:cBhvr>
                                        <p:cTn id="53" dur="500" fill="hold"/>
                                        <p:tgtEl>
                                          <p:spTgt spid="146"/>
                                        </p:tgtEl>
                                        <p:attrNameLst>
                                          <p:attrName>ppt_w</p:attrName>
                                        </p:attrNameLst>
                                      </p:cBhvr>
                                      <p:tavLst>
                                        <p:tav tm="0">
                                          <p:val>
                                            <p:strVal val="8/3*#ppt_w"/>
                                          </p:val>
                                        </p:tav>
                                        <p:tav tm="100000">
                                          <p:val>
                                            <p:strVal val="#ppt_w"/>
                                          </p:val>
                                        </p:tav>
                                      </p:tavLst>
                                    </p:anim>
                                    <p:anim calcmode="lin" valueType="num">
                                      <p:cBhvr>
                                        <p:cTn id="54" dur="500" fill="hold"/>
                                        <p:tgtEl>
                                          <p:spTgt spid="146"/>
                                        </p:tgtEl>
                                        <p:attrNameLst>
                                          <p:attrName>ppt_h</p:attrName>
                                        </p:attrNameLst>
                                      </p:cBhvr>
                                      <p:tavLst>
                                        <p:tav tm="0">
                                          <p:val>
                                            <p:strVal val="12/3*#ppt_h"/>
                                          </p:val>
                                        </p:tav>
                                        <p:tav tm="100000">
                                          <p:val>
                                            <p:strVal val="#ppt_h"/>
                                          </p:val>
                                        </p:tav>
                                      </p:tavLst>
                                    </p:anim>
                                  </p:childTnLst>
                                </p:cTn>
                              </p:par>
                              <p:par>
                                <p:cTn id="55" presetID="10" presetClass="entr" presetSubtype="0" fill="hold" grpId="1" nodeType="withEffect">
                                  <p:stCondLst>
                                    <p:cond delay="0"/>
                                  </p:stCondLst>
                                  <p:iterate type="lt">
                                    <p:tmPct val="15000"/>
                                  </p:iterate>
                                  <p:childTnLst>
                                    <p:set>
                                      <p:cBhvr>
                                        <p:cTn id="56" dur="1" fill="hold">
                                          <p:stCondLst>
                                            <p:cond delay="0"/>
                                          </p:stCondLst>
                                        </p:cTn>
                                        <p:tgtEl>
                                          <p:spTgt spid="146"/>
                                        </p:tgtEl>
                                        <p:attrNameLst>
                                          <p:attrName>style.visibility</p:attrName>
                                        </p:attrNameLst>
                                      </p:cBhvr>
                                      <p:to>
                                        <p:strVal val="visible"/>
                                      </p:to>
                                    </p:set>
                                    <p:animEffect transition="in" filter="fade">
                                      <p:cBhvr>
                                        <p:cTn id="57" dur="500"/>
                                        <p:tgtEl>
                                          <p:spTgt spid="146"/>
                                        </p:tgtEl>
                                      </p:cBhvr>
                                    </p:animEffect>
                                  </p:childTnLst>
                                </p:cTn>
                              </p:par>
                              <p:par>
                                <p:cTn id="58" presetID="22" presetClass="entr" presetSubtype="1" fill="hold" grpId="0" nodeType="withEffect">
                                  <p:stCondLst>
                                    <p:cond delay="0"/>
                                  </p:stCondLst>
                                  <p:iterate type="lt">
                                    <p:tmPct val="3000"/>
                                  </p:iterate>
                                  <p:childTnLst>
                                    <p:set>
                                      <p:cBhvr>
                                        <p:cTn id="59" dur="1" fill="hold">
                                          <p:stCondLst>
                                            <p:cond delay="0"/>
                                          </p:stCondLst>
                                        </p:cTn>
                                        <p:tgtEl>
                                          <p:spTgt spid="147"/>
                                        </p:tgtEl>
                                        <p:attrNameLst>
                                          <p:attrName>style.visibility</p:attrName>
                                        </p:attrNameLst>
                                      </p:cBhvr>
                                      <p:to>
                                        <p:strVal val="visible"/>
                                      </p:to>
                                    </p:set>
                                    <p:animEffect transition="in" filter="wipe(up)">
                                      <p:cBhvr>
                                        <p:cTn id="60" dur="500"/>
                                        <p:tgtEl>
                                          <p:spTgt spid="147"/>
                                        </p:tgtEl>
                                      </p:cBhvr>
                                    </p:animEffect>
                                  </p:childTnLst>
                                </p:cTn>
                              </p:par>
                            </p:childTnLst>
                          </p:cTn>
                        </p:par>
                        <p:par>
                          <p:cTn id="61" fill="hold">
                            <p:stCondLst>
                              <p:cond delay="6970"/>
                            </p:stCondLst>
                            <p:childTnLst>
                              <p:par>
                                <p:cTn id="62" presetID="53" presetClass="entr" presetSubtype="16" fill="hold" grpId="0" nodeType="afterEffect">
                                  <p:stCondLst>
                                    <p:cond delay="0"/>
                                  </p:stCondLst>
                                  <p:childTnLst>
                                    <p:set>
                                      <p:cBhvr>
                                        <p:cTn id="63" dur="1" fill="hold">
                                          <p:stCondLst>
                                            <p:cond delay="0"/>
                                          </p:stCondLst>
                                        </p:cTn>
                                        <p:tgtEl>
                                          <p:spTgt spid="149"/>
                                        </p:tgtEl>
                                        <p:attrNameLst>
                                          <p:attrName>style.visibility</p:attrName>
                                        </p:attrNameLst>
                                      </p:cBhvr>
                                      <p:to>
                                        <p:strVal val="visible"/>
                                      </p:to>
                                    </p:set>
                                    <p:anim calcmode="lin" valueType="num">
                                      <p:cBhvr>
                                        <p:cTn id="64" dur="500" fill="hold"/>
                                        <p:tgtEl>
                                          <p:spTgt spid="149"/>
                                        </p:tgtEl>
                                        <p:attrNameLst>
                                          <p:attrName>ppt_w</p:attrName>
                                        </p:attrNameLst>
                                      </p:cBhvr>
                                      <p:tavLst>
                                        <p:tav tm="0">
                                          <p:val>
                                            <p:fltVal val="0"/>
                                          </p:val>
                                        </p:tav>
                                        <p:tav tm="100000">
                                          <p:val>
                                            <p:strVal val="#ppt_w"/>
                                          </p:val>
                                        </p:tav>
                                      </p:tavLst>
                                    </p:anim>
                                    <p:anim calcmode="lin" valueType="num">
                                      <p:cBhvr>
                                        <p:cTn id="65" dur="500" fill="hold"/>
                                        <p:tgtEl>
                                          <p:spTgt spid="149"/>
                                        </p:tgtEl>
                                        <p:attrNameLst>
                                          <p:attrName>ppt_h</p:attrName>
                                        </p:attrNameLst>
                                      </p:cBhvr>
                                      <p:tavLst>
                                        <p:tav tm="0">
                                          <p:val>
                                            <p:fltVal val="0"/>
                                          </p:val>
                                        </p:tav>
                                        <p:tav tm="100000">
                                          <p:val>
                                            <p:strVal val="#ppt_h"/>
                                          </p:val>
                                        </p:tav>
                                      </p:tavLst>
                                    </p:anim>
                                    <p:animEffect transition="in" filter="fade">
                                      <p:cBhvr>
                                        <p:cTn id="66" dur="500"/>
                                        <p:tgtEl>
                                          <p:spTgt spid="149"/>
                                        </p:tgtEl>
                                      </p:cBhvr>
                                    </p:animEffect>
                                  </p:childTnLst>
                                </p:cTn>
                              </p:par>
                              <p:par>
                                <p:cTn id="67" presetID="53" presetClass="entr" presetSubtype="16" fill="hold" grpId="0" nodeType="withEffect">
                                  <p:stCondLst>
                                    <p:cond delay="0"/>
                                  </p:stCondLst>
                                  <p:childTnLst>
                                    <p:set>
                                      <p:cBhvr>
                                        <p:cTn id="68" dur="1" fill="hold">
                                          <p:stCondLst>
                                            <p:cond delay="0"/>
                                          </p:stCondLst>
                                        </p:cTn>
                                        <p:tgtEl>
                                          <p:spTgt spid="148"/>
                                        </p:tgtEl>
                                        <p:attrNameLst>
                                          <p:attrName>style.visibility</p:attrName>
                                        </p:attrNameLst>
                                      </p:cBhvr>
                                      <p:to>
                                        <p:strVal val="visible"/>
                                      </p:to>
                                    </p:set>
                                    <p:anim calcmode="lin" valueType="num">
                                      <p:cBhvr>
                                        <p:cTn id="69" dur="500" fill="hold"/>
                                        <p:tgtEl>
                                          <p:spTgt spid="148"/>
                                        </p:tgtEl>
                                        <p:attrNameLst>
                                          <p:attrName>ppt_w</p:attrName>
                                        </p:attrNameLst>
                                      </p:cBhvr>
                                      <p:tavLst>
                                        <p:tav tm="0">
                                          <p:val>
                                            <p:fltVal val="0"/>
                                          </p:val>
                                        </p:tav>
                                        <p:tav tm="100000">
                                          <p:val>
                                            <p:strVal val="#ppt_w"/>
                                          </p:val>
                                        </p:tav>
                                      </p:tavLst>
                                    </p:anim>
                                    <p:anim calcmode="lin" valueType="num">
                                      <p:cBhvr>
                                        <p:cTn id="70" dur="500" fill="hold"/>
                                        <p:tgtEl>
                                          <p:spTgt spid="148"/>
                                        </p:tgtEl>
                                        <p:attrNameLst>
                                          <p:attrName>ppt_h</p:attrName>
                                        </p:attrNameLst>
                                      </p:cBhvr>
                                      <p:tavLst>
                                        <p:tav tm="0">
                                          <p:val>
                                            <p:fltVal val="0"/>
                                          </p:val>
                                        </p:tav>
                                        <p:tav tm="100000">
                                          <p:val>
                                            <p:strVal val="#ppt_h"/>
                                          </p:val>
                                        </p:tav>
                                      </p:tavLst>
                                    </p:anim>
                                    <p:animEffect transition="in" filter="fade">
                                      <p:cBhvr>
                                        <p:cTn id="71" dur="500"/>
                                        <p:tgtEl>
                                          <p:spTgt spid="148"/>
                                        </p:tgtEl>
                                      </p:cBhvr>
                                    </p:animEffect>
                                  </p:childTnLst>
                                </p:cTn>
                              </p:par>
                            </p:childTnLst>
                          </p:cTn>
                        </p:par>
                        <p:par>
                          <p:cTn id="72" fill="hold">
                            <p:stCondLst>
                              <p:cond delay="7470"/>
                            </p:stCondLst>
                            <p:childTnLst>
                              <p:par>
                                <p:cTn id="73" presetID="45" presetClass="entr" presetSubtype="0" fill="hold" grpId="0" nodeType="afterEffect">
                                  <p:stCondLst>
                                    <p:cond delay="0"/>
                                  </p:stCondLst>
                                  <p:childTnLst>
                                    <p:set>
                                      <p:cBhvr>
                                        <p:cTn id="74" dur="1" fill="hold">
                                          <p:stCondLst>
                                            <p:cond delay="0"/>
                                          </p:stCondLst>
                                        </p:cTn>
                                        <p:tgtEl>
                                          <p:spTgt spid="150"/>
                                        </p:tgtEl>
                                        <p:attrNameLst>
                                          <p:attrName>style.visibility</p:attrName>
                                        </p:attrNameLst>
                                      </p:cBhvr>
                                      <p:to>
                                        <p:strVal val="visible"/>
                                      </p:to>
                                    </p:set>
                                    <p:animEffect transition="in" filter="fade">
                                      <p:cBhvr>
                                        <p:cTn id="75" dur="500"/>
                                        <p:tgtEl>
                                          <p:spTgt spid="150"/>
                                        </p:tgtEl>
                                      </p:cBhvr>
                                    </p:animEffect>
                                    <p:anim calcmode="lin" valueType="num">
                                      <p:cBhvr>
                                        <p:cTn id="76" dur="500" fill="hold"/>
                                        <p:tgtEl>
                                          <p:spTgt spid="150"/>
                                        </p:tgtEl>
                                        <p:attrNameLst>
                                          <p:attrName>ppt_w</p:attrName>
                                        </p:attrNameLst>
                                      </p:cBhvr>
                                      <p:tavLst>
                                        <p:tav tm="0" fmla="#ppt_w*sin(2.5*pi*$)">
                                          <p:val>
                                            <p:fltVal val="0"/>
                                          </p:val>
                                        </p:tav>
                                        <p:tav tm="100000">
                                          <p:val>
                                            <p:fltVal val="1"/>
                                          </p:val>
                                        </p:tav>
                                      </p:tavLst>
                                    </p:anim>
                                    <p:anim calcmode="lin" valueType="num">
                                      <p:cBhvr>
                                        <p:cTn id="77" dur="500" fill="hold"/>
                                        <p:tgtEl>
                                          <p:spTgt spid="150"/>
                                        </p:tgtEl>
                                        <p:attrNameLst>
                                          <p:attrName>ppt_h</p:attrName>
                                        </p:attrNameLst>
                                      </p:cBhvr>
                                      <p:tavLst>
                                        <p:tav tm="0">
                                          <p:val>
                                            <p:strVal val="#ppt_h"/>
                                          </p:val>
                                        </p:tav>
                                        <p:tav tm="100000">
                                          <p:val>
                                            <p:strVal val="#ppt_h"/>
                                          </p:val>
                                        </p:tav>
                                      </p:tavLst>
                                    </p:anim>
                                  </p:childTnLst>
                                </p:cTn>
                              </p:par>
                              <p:par>
                                <p:cTn id="78" presetID="45" presetClass="entr" presetSubtype="0" fill="hold" grpId="0" nodeType="withEffect">
                                  <p:stCondLst>
                                    <p:cond delay="0"/>
                                  </p:stCondLst>
                                  <p:childTnLst>
                                    <p:set>
                                      <p:cBhvr>
                                        <p:cTn id="79" dur="1" fill="hold">
                                          <p:stCondLst>
                                            <p:cond delay="0"/>
                                          </p:stCondLst>
                                        </p:cTn>
                                        <p:tgtEl>
                                          <p:spTgt spid="153"/>
                                        </p:tgtEl>
                                        <p:attrNameLst>
                                          <p:attrName>style.visibility</p:attrName>
                                        </p:attrNameLst>
                                      </p:cBhvr>
                                      <p:to>
                                        <p:strVal val="visible"/>
                                      </p:to>
                                    </p:set>
                                    <p:animEffect transition="in" filter="fade">
                                      <p:cBhvr>
                                        <p:cTn id="80" dur="500"/>
                                        <p:tgtEl>
                                          <p:spTgt spid="153"/>
                                        </p:tgtEl>
                                      </p:cBhvr>
                                    </p:animEffect>
                                    <p:anim calcmode="lin" valueType="num">
                                      <p:cBhvr>
                                        <p:cTn id="81" dur="500" fill="hold"/>
                                        <p:tgtEl>
                                          <p:spTgt spid="153"/>
                                        </p:tgtEl>
                                        <p:attrNameLst>
                                          <p:attrName>ppt_w</p:attrName>
                                        </p:attrNameLst>
                                      </p:cBhvr>
                                      <p:tavLst>
                                        <p:tav tm="0" fmla="#ppt_w*sin(2.5*pi*$)">
                                          <p:val>
                                            <p:fltVal val="0"/>
                                          </p:val>
                                        </p:tav>
                                        <p:tav tm="100000">
                                          <p:val>
                                            <p:fltVal val="1"/>
                                          </p:val>
                                        </p:tav>
                                      </p:tavLst>
                                    </p:anim>
                                    <p:anim calcmode="lin" valueType="num">
                                      <p:cBhvr>
                                        <p:cTn id="82" dur="500" fill="hold"/>
                                        <p:tgtEl>
                                          <p:spTgt spid="153"/>
                                        </p:tgtEl>
                                        <p:attrNameLst>
                                          <p:attrName>ppt_h</p:attrName>
                                        </p:attrNameLst>
                                      </p:cBhvr>
                                      <p:tavLst>
                                        <p:tav tm="0">
                                          <p:val>
                                            <p:strVal val="#ppt_h"/>
                                          </p:val>
                                        </p:tav>
                                        <p:tav tm="100000">
                                          <p:val>
                                            <p:strVal val="#ppt_h"/>
                                          </p:val>
                                        </p:tav>
                                      </p:tavLst>
                                    </p:anim>
                                  </p:childTnLst>
                                </p:cTn>
                              </p:par>
                              <p:par>
                                <p:cTn id="83" presetID="10" presetClass="entr" presetSubtype="0" fill="hold" grpId="0" nodeType="withEffect">
                                  <p:stCondLst>
                                    <p:cond delay="0"/>
                                  </p:stCondLst>
                                  <p:childTnLst>
                                    <p:set>
                                      <p:cBhvr>
                                        <p:cTn id="84" dur="1" fill="hold">
                                          <p:stCondLst>
                                            <p:cond delay="0"/>
                                          </p:stCondLst>
                                        </p:cTn>
                                        <p:tgtEl>
                                          <p:spTgt spid="152"/>
                                        </p:tgtEl>
                                        <p:attrNameLst>
                                          <p:attrName>style.visibility</p:attrName>
                                        </p:attrNameLst>
                                      </p:cBhvr>
                                      <p:to>
                                        <p:strVal val="visible"/>
                                      </p:to>
                                    </p:set>
                                    <p:animEffect transition="in" filter="fade">
                                      <p:cBhvr>
                                        <p:cTn id="85" dur="500"/>
                                        <p:tgtEl>
                                          <p:spTgt spid="15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155"/>
                                        </p:tgtEl>
                                        <p:attrNameLst>
                                          <p:attrName>style.visibility</p:attrName>
                                        </p:attrNameLst>
                                      </p:cBhvr>
                                      <p:to>
                                        <p:strVal val="visible"/>
                                      </p:to>
                                    </p:set>
                                    <p:animEffect transition="in" filter="fade">
                                      <p:cBhvr>
                                        <p:cTn id="88" dur="500"/>
                                        <p:tgtEl>
                                          <p:spTgt spid="155"/>
                                        </p:tgtEl>
                                      </p:cBhvr>
                                    </p:animEffect>
                                  </p:childTnLst>
                                </p:cTn>
                              </p:par>
                            </p:childTnLst>
                          </p:cTn>
                        </p:par>
                        <p:par>
                          <p:cTn id="89" fill="hold">
                            <p:stCondLst>
                              <p:cond delay="7970"/>
                            </p:stCondLst>
                            <p:childTnLst>
                              <p:par>
                                <p:cTn id="90" presetID="53" presetClass="entr" presetSubtype="16" fill="hold" grpId="0" nodeType="afterEffect">
                                  <p:stCondLst>
                                    <p:cond delay="0"/>
                                  </p:stCondLst>
                                  <p:childTnLst>
                                    <p:set>
                                      <p:cBhvr>
                                        <p:cTn id="91" dur="1" fill="hold">
                                          <p:stCondLst>
                                            <p:cond delay="0"/>
                                          </p:stCondLst>
                                        </p:cTn>
                                        <p:tgtEl>
                                          <p:spTgt spid="151"/>
                                        </p:tgtEl>
                                        <p:attrNameLst>
                                          <p:attrName>style.visibility</p:attrName>
                                        </p:attrNameLst>
                                      </p:cBhvr>
                                      <p:to>
                                        <p:strVal val="visible"/>
                                      </p:to>
                                    </p:set>
                                    <p:anim calcmode="lin" valueType="num">
                                      <p:cBhvr>
                                        <p:cTn id="92" dur="500" fill="hold"/>
                                        <p:tgtEl>
                                          <p:spTgt spid="151"/>
                                        </p:tgtEl>
                                        <p:attrNameLst>
                                          <p:attrName>ppt_w</p:attrName>
                                        </p:attrNameLst>
                                      </p:cBhvr>
                                      <p:tavLst>
                                        <p:tav tm="0">
                                          <p:val>
                                            <p:fltVal val="0"/>
                                          </p:val>
                                        </p:tav>
                                        <p:tav tm="100000">
                                          <p:val>
                                            <p:strVal val="#ppt_w"/>
                                          </p:val>
                                        </p:tav>
                                      </p:tavLst>
                                    </p:anim>
                                    <p:anim calcmode="lin" valueType="num">
                                      <p:cBhvr>
                                        <p:cTn id="93" dur="500" fill="hold"/>
                                        <p:tgtEl>
                                          <p:spTgt spid="151"/>
                                        </p:tgtEl>
                                        <p:attrNameLst>
                                          <p:attrName>ppt_h</p:attrName>
                                        </p:attrNameLst>
                                      </p:cBhvr>
                                      <p:tavLst>
                                        <p:tav tm="0">
                                          <p:val>
                                            <p:fltVal val="0"/>
                                          </p:val>
                                        </p:tav>
                                        <p:tav tm="100000">
                                          <p:val>
                                            <p:strVal val="#ppt_h"/>
                                          </p:val>
                                        </p:tav>
                                      </p:tavLst>
                                    </p:anim>
                                    <p:animEffect transition="in" filter="fade">
                                      <p:cBhvr>
                                        <p:cTn id="94" dur="500"/>
                                        <p:tgtEl>
                                          <p:spTgt spid="151"/>
                                        </p:tgtEl>
                                      </p:cBhvr>
                                    </p:animEffect>
                                  </p:childTnLst>
                                </p:cTn>
                              </p:par>
                              <p:par>
                                <p:cTn id="95" presetID="53" presetClass="entr" presetSubtype="16" fill="hold" grpId="0" nodeType="withEffect">
                                  <p:stCondLst>
                                    <p:cond delay="0"/>
                                  </p:stCondLst>
                                  <p:childTnLst>
                                    <p:set>
                                      <p:cBhvr>
                                        <p:cTn id="96" dur="1" fill="hold">
                                          <p:stCondLst>
                                            <p:cond delay="0"/>
                                          </p:stCondLst>
                                        </p:cTn>
                                        <p:tgtEl>
                                          <p:spTgt spid="154"/>
                                        </p:tgtEl>
                                        <p:attrNameLst>
                                          <p:attrName>style.visibility</p:attrName>
                                        </p:attrNameLst>
                                      </p:cBhvr>
                                      <p:to>
                                        <p:strVal val="visible"/>
                                      </p:to>
                                    </p:set>
                                    <p:anim calcmode="lin" valueType="num">
                                      <p:cBhvr>
                                        <p:cTn id="97" dur="500" fill="hold"/>
                                        <p:tgtEl>
                                          <p:spTgt spid="154"/>
                                        </p:tgtEl>
                                        <p:attrNameLst>
                                          <p:attrName>ppt_w</p:attrName>
                                        </p:attrNameLst>
                                      </p:cBhvr>
                                      <p:tavLst>
                                        <p:tav tm="0">
                                          <p:val>
                                            <p:fltVal val="0"/>
                                          </p:val>
                                        </p:tav>
                                        <p:tav tm="100000">
                                          <p:val>
                                            <p:strVal val="#ppt_w"/>
                                          </p:val>
                                        </p:tav>
                                      </p:tavLst>
                                    </p:anim>
                                    <p:anim calcmode="lin" valueType="num">
                                      <p:cBhvr>
                                        <p:cTn id="98" dur="500" fill="hold"/>
                                        <p:tgtEl>
                                          <p:spTgt spid="154"/>
                                        </p:tgtEl>
                                        <p:attrNameLst>
                                          <p:attrName>ppt_h</p:attrName>
                                        </p:attrNameLst>
                                      </p:cBhvr>
                                      <p:tavLst>
                                        <p:tav tm="0">
                                          <p:val>
                                            <p:fltVal val="0"/>
                                          </p:val>
                                        </p:tav>
                                        <p:tav tm="100000">
                                          <p:val>
                                            <p:strVal val="#ppt_h"/>
                                          </p:val>
                                        </p:tav>
                                      </p:tavLst>
                                    </p:anim>
                                    <p:animEffect transition="in" filter="fade">
                                      <p:cBhvr>
                                        <p:cTn id="99" dur="5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38" grpId="0"/>
      <p:bldP spid="138" grpId="1"/>
      <p:bldP spid="139" grpId="0"/>
      <p:bldP spid="146" grpId="0"/>
      <p:bldP spid="146" grpId="1"/>
      <p:bldP spid="147" grpId="0"/>
      <p:bldP spid="148" grpId="0" animBg="1"/>
      <p:bldP spid="149" grpId="0" animBg="1"/>
      <p:bldP spid="150" grpId="0"/>
      <p:bldP spid="151" grpId="0"/>
      <p:bldP spid="152" grpId="0"/>
      <p:bldP spid="153" grpId="0"/>
      <p:bldP spid="154" grpId="0"/>
      <p:bldP spid="15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智能制造</a:t>
            </a:r>
          </a:p>
        </p:txBody>
      </p:sp>
      <p:pic>
        <p:nvPicPr>
          <p:cNvPr id="5" name="2"/>
          <p:cNvPicPr>
            <a:picLocks noChangeAspect="1"/>
          </p:cNvPicPr>
          <p:nvPr/>
        </p:nvPicPr>
        <p:blipFill rotWithShape="1">
          <a:blip r:embed="rId2" cstate="screen"/>
          <a:srcRect/>
          <a:stretch>
            <a:fillRect/>
          </a:stretch>
        </p:blipFill>
        <p:spPr>
          <a:xfrm>
            <a:off x="284893" y="56713"/>
            <a:ext cx="750968" cy="1441451"/>
          </a:xfrm>
          <a:prstGeom prst="rect">
            <a:avLst/>
          </a:prstGeom>
        </p:spPr>
      </p:pic>
      <p:grpSp>
        <p:nvGrpSpPr>
          <p:cNvPr id="71" name="Group 677" descr="e7d195523061f1c0205959036996ad55c215b892a7aac5c0B9ADEF7896FB48F2EF97163A2DE1401E1875DEDC438B7864AD24CA23553DBBBD975DAF4CAD4A2592689FFB6CEE59FFA55B2702D0E5EE29CD908F8B157BF8F8399D08F01223CB0B1EBC5650C3AFE340F4E4722CA93B5E940EF49FBB9E99B7DC58FDDEFD6852FB47095B54E1558E4D4F7E"/>
          <p:cNvGrpSpPr>
            <a:grpSpLocks noChangeAspect="1"/>
          </p:cNvGrpSpPr>
          <p:nvPr/>
        </p:nvGrpSpPr>
        <p:grpSpPr bwMode="auto">
          <a:xfrm>
            <a:off x="1989870" y="982341"/>
            <a:ext cx="7733189" cy="5478923"/>
            <a:chOff x="1653" y="1174"/>
            <a:chExt cx="3873" cy="2744"/>
          </a:xfrm>
          <a:gradFill>
            <a:gsLst>
              <a:gs pos="14000">
                <a:srgbClr val="00B0F0"/>
              </a:gs>
              <a:gs pos="64000">
                <a:srgbClr val="0BB0AD"/>
              </a:gs>
              <a:gs pos="42000">
                <a:srgbClr val="13FFEC"/>
              </a:gs>
            </a:gsLst>
            <a:lin ang="5400000" scaled="0"/>
          </a:gradFill>
          <a:effectLst/>
        </p:grpSpPr>
        <p:sp>
          <p:nvSpPr>
            <p:cNvPr id="72" name="Freeform 678"/>
            <p:cNvSpPr>
              <a:spLocks noEditPoints="1"/>
            </p:cNvSpPr>
            <p:nvPr/>
          </p:nvSpPr>
          <p:spPr bwMode="auto">
            <a:xfrm>
              <a:off x="2572" y="1438"/>
              <a:ext cx="2115" cy="652"/>
            </a:xfrm>
            <a:custGeom>
              <a:avLst/>
              <a:gdLst>
                <a:gd name="T0" fmla="*/ 530 w 3430"/>
                <a:gd name="T1" fmla="*/ 907 h 1057"/>
                <a:gd name="T2" fmla="*/ 88 w 3430"/>
                <a:gd name="T3" fmla="*/ 1029 h 1057"/>
                <a:gd name="T4" fmla="*/ 236 w 3430"/>
                <a:gd name="T5" fmla="*/ 943 h 1057"/>
                <a:gd name="T6" fmla="*/ 522 w 3430"/>
                <a:gd name="T7" fmla="*/ 894 h 1057"/>
                <a:gd name="T8" fmla="*/ 199 w 3430"/>
                <a:gd name="T9" fmla="*/ 864 h 1057"/>
                <a:gd name="T10" fmla="*/ 486 w 3430"/>
                <a:gd name="T11" fmla="*/ 794 h 1057"/>
                <a:gd name="T12" fmla="*/ 421 w 3430"/>
                <a:gd name="T13" fmla="*/ 794 h 1057"/>
                <a:gd name="T14" fmla="*/ 229 w 3430"/>
                <a:gd name="T15" fmla="*/ 757 h 1057"/>
                <a:gd name="T16" fmla="*/ 444 w 3430"/>
                <a:gd name="T17" fmla="*/ 696 h 1057"/>
                <a:gd name="T18" fmla="*/ 228 w 3430"/>
                <a:gd name="T19" fmla="*/ 567 h 1057"/>
                <a:gd name="T20" fmla="*/ 357 w 3430"/>
                <a:gd name="T21" fmla="*/ 521 h 1057"/>
                <a:gd name="T22" fmla="*/ 227 w 3430"/>
                <a:gd name="T23" fmla="*/ 459 h 1057"/>
                <a:gd name="T24" fmla="*/ 233 w 3430"/>
                <a:gd name="T25" fmla="*/ 444 h 1057"/>
                <a:gd name="T26" fmla="*/ 476 w 3430"/>
                <a:gd name="T27" fmla="*/ 498 h 1057"/>
                <a:gd name="T28" fmla="*/ 262 w 3430"/>
                <a:gd name="T29" fmla="*/ 437 h 1057"/>
                <a:gd name="T30" fmla="*/ 499 w 3430"/>
                <a:gd name="T31" fmla="*/ 429 h 1057"/>
                <a:gd name="T32" fmla="*/ 290 w 3430"/>
                <a:gd name="T33" fmla="*/ 391 h 1057"/>
                <a:gd name="T34" fmla="*/ 496 w 3430"/>
                <a:gd name="T35" fmla="*/ 351 h 1057"/>
                <a:gd name="T36" fmla="*/ 600 w 3430"/>
                <a:gd name="T37" fmla="*/ 367 h 1057"/>
                <a:gd name="T38" fmla="*/ 399 w 3430"/>
                <a:gd name="T39" fmla="*/ 338 h 1057"/>
                <a:gd name="T40" fmla="*/ 188 w 3430"/>
                <a:gd name="T41" fmla="*/ 489 h 1057"/>
                <a:gd name="T42" fmla="*/ 153 w 3430"/>
                <a:gd name="T43" fmla="*/ 1000 h 1057"/>
                <a:gd name="T44" fmla="*/ 432 w 3430"/>
                <a:gd name="T45" fmla="*/ 995 h 1057"/>
                <a:gd name="T46" fmla="*/ 594 w 3430"/>
                <a:gd name="T47" fmla="*/ 925 h 1057"/>
                <a:gd name="T48" fmla="*/ 573 w 3430"/>
                <a:gd name="T49" fmla="*/ 713 h 1057"/>
                <a:gd name="T50" fmla="*/ 442 w 3430"/>
                <a:gd name="T51" fmla="*/ 304 h 1057"/>
                <a:gd name="T52" fmla="*/ 3008 w 3430"/>
                <a:gd name="T53" fmla="*/ 947 h 1057"/>
                <a:gd name="T54" fmla="*/ 3129 w 3430"/>
                <a:gd name="T55" fmla="*/ 979 h 1057"/>
                <a:gd name="T56" fmla="*/ 2917 w 3430"/>
                <a:gd name="T57" fmla="*/ 960 h 1057"/>
                <a:gd name="T58" fmla="*/ 2893 w 3430"/>
                <a:gd name="T59" fmla="*/ 887 h 1057"/>
                <a:gd name="T60" fmla="*/ 2738 w 3430"/>
                <a:gd name="T61" fmla="*/ 975 h 1057"/>
                <a:gd name="T62" fmla="*/ 3404 w 3430"/>
                <a:gd name="T63" fmla="*/ 946 h 1057"/>
                <a:gd name="T64" fmla="*/ 3353 w 3430"/>
                <a:gd name="T65" fmla="*/ 864 h 1057"/>
                <a:gd name="T66" fmla="*/ 2976 w 3430"/>
                <a:gd name="T67" fmla="*/ 851 h 1057"/>
                <a:gd name="T68" fmla="*/ 2811 w 3430"/>
                <a:gd name="T69" fmla="*/ 730 h 1057"/>
                <a:gd name="T70" fmla="*/ 3100 w 3430"/>
                <a:gd name="T71" fmla="*/ 687 h 1057"/>
                <a:gd name="T72" fmla="*/ 3364 w 3430"/>
                <a:gd name="T73" fmla="*/ 774 h 1057"/>
                <a:gd name="T74" fmla="*/ 2807 w 3430"/>
                <a:gd name="T75" fmla="*/ 719 h 1057"/>
                <a:gd name="T76" fmla="*/ 2817 w 3430"/>
                <a:gd name="T77" fmla="*/ 715 h 1057"/>
                <a:gd name="T78" fmla="*/ 2997 w 3430"/>
                <a:gd name="T79" fmla="*/ 674 h 1057"/>
                <a:gd name="T80" fmla="*/ 2873 w 3430"/>
                <a:gd name="T81" fmla="*/ 600 h 1057"/>
                <a:gd name="T82" fmla="*/ 3275 w 3430"/>
                <a:gd name="T83" fmla="*/ 574 h 1057"/>
                <a:gd name="T84" fmla="*/ 3120 w 3430"/>
                <a:gd name="T85" fmla="*/ 516 h 1057"/>
                <a:gd name="T86" fmla="*/ 3013 w 3430"/>
                <a:gd name="T87" fmla="*/ 469 h 1057"/>
                <a:gd name="T88" fmla="*/ 3203 w 3430"/>
                <a:gd name="T89" fmla="*/ 477 h 1057"/>
                <a:gd name="T90" fmla="*/ 2886 w 3430"/>
                <a:gd name="T91" fmla="*/ 346 h 1057"/>
                <a:gd name="T92" fmla="*/ 2762 w 3430"/>
                <a:gd name="T93" fmla="*/ 273 h 1057"/>
                <a:gd name="T94" fmla="*/ 3160 w 3430"/>
                <a:gd name="T95" fmla="*/ 308 h 1057"/>
                <a:gd name="T96" fmla="*/ 2885 w 3430"/>
                <a:gd name="T97" fmla="*/ 170 h 1057"/>
                <a:gd name="T98" fmla="*/ 2924 w 3430"/>
                <a:gd name="T99" fmla="*/ 93 h 1057"/>
                <a:gd name="T100" fmla="*/ 2982 w 3430"/>
                <a:gd name="T101" fmla="*/ 70 h 1057"/>
                <a:gd name="T102" fmla="*/ 2857 w 3430"/>
                <a:gd name="T103" fmla="*/ 47 h 1057"/>
                <a:gd name="T104" fmla="*/ 2729 w 3430"/>
                <a:gd name="T105" fmla="*/ 19 h 1057"/>
                <a:gd name="T106" fmla="*/ 2699 w 3430"/>
                <a:gd name="T107" fmla="*/ 13 h 1057"/>
                <a:gd name="T108" fmla="*/ 2699 w 3430"/>
                <a:gd name="T109" fmla="*/ 184 h 1057"/>
                <a:gd name="T110" fmla="*/ 2699 w 3430"/>
                <a:gd name="T111" fmla="*/ 574 h 1057"/>
                <a:gd name="T112" fmla="*/ 2699 w 3430"/>
                <a:gd name="T113" fmla="*/ 1035 h 1057"/>
                <a:gd name="T114" fmla="*/ 2913 w 3430"/>
                <a:gd name="T115" fmla="*/ 1057 h 1057"/>
                <a:gd name="T116" fmla="*/ 3231 w 3430"/>
                <a:gd name="T117" fmla="*/ 1057 h 1057"/>
                <a:gd name="T118" fmla="*/ 3423 w 3430"/>
                <a:gd name="T119" fmla="*/ 97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30" h="1057">
                  <a:moveTo>
                    <a:pt x="223" y="1043"/>
                  </a:moveTo>
                  <a:cubicBezTo>
                    <a:pt x="230" y="1019"/>
                    <a:pt x="236" y="994"/>
                    <a:pt x="242" y="969"/>
                  </a:cubicBezTo>
                  <a:cubicBezTo>
                    <a:pt x="243" y="964"/>
                    <a:pt x="244" y="957"/>
                    <a:pt x="246" y="951"/>
                  </a:cubicBezTo>
                  <a:cubicBezTo>
                    <a:pt x="266" y="942"/>
                    <a:pt x="287" y="934"/>
                    <a:pt x="309" y="927"/>
                  </a:cubicBezTo>
                  <a:cubicBezTo>
                    <a:pt x="305" y="943"/>
                    <a:pt x="302" y="958"/>
                    <a:pt x="299" y="972"/>
                  </a:cubicBezTo>
                  <a:cubicBezTo>
                    <a:pt x="296" y="987"/>
                    <a:pt x="292" y="1001"/>
                    <a:pt x="289" y="1015"/>
                  </a:cubicBezTo>
                  <a:cubicBezTo>
                    <a:pt x="266" y="1023"/>
                    <a:pt x="244" y="1033"/>
                    <a:pt x="223" y="1043"/>
                  </a:cubicBezTo>
                  <a:moveTo>
                    <a:pt x="301" y="1011"/>
                  </a:moveTo>
                  <a:cubicBezTo>
                    <a:pt x="304" y="999"/>
                    <a:pt x="307" y="987"/>
                    <a:pt x="310" y="975"/>
                  </a:cubicBezTo>
                  <a:cubicBezTo>
                    <a:pt x="313" y="959"/>
                    <a:pt x="317" y="942"/>
                    <a:pt x="321" y="923"/>
                  </a:cubicBezTo>
                  <a:cubicBezTo>
                    <a:pt x="341" y="917"/>
                    <a:pt x="361" y="912"/>
                    <a:pt x="382" y="908"/>
                  </a:cubicBezTo>
                  <a:cubicBezTo>
                    <a:pt x="376" y="933"/>
                    <a:pt x="371" y="957"/>
                    <a:pt x="367" y="978"/>
                  </a:cubicBezTo>
                  <a:cubicBezTo>
                    <a:pt x="366" y="983"/>
                    <a:pt x="364" y="988"/>
                    <a:pt x="363" y="993"/>
                  </a:cubicBezTo>
                  <a:cubicBezTo>
                    <a:pt x="342" y="998"/>
                    <a:pt x="321" y="1004"/>
                    <a:pt x="301" y="1011"/>
                  </a:cubicBezTo>
                  <a:moveTo>
                    <a:pt x="570" y="999"/>
                  </a:moveTo>
                  <a:cubicBezTo>
                    <a:pt x="552" y="994"/>
                    <a:pt x="534" y="990"/>
                    <a:pt x="514" y="987"/>
                  </a:cubicBezTo>
                  <a:cubicBezTo>
                    <a:pt x="518" y="963"/>
                    <a:pt x="524" y="936"/>
                    <a:pt x="530" y="907"/>
                  </a:cubicBezTo>
                  <a:cubicBezTo>
                    <a:pt x="549" y="911"/>
                    <a:pt x="567" y="916"/>
                    <a:pt x="584" y="922"/>
                  </a:cubicBezTo>
                  <a:cubicBezTo>
                    <a:pt x="578" y="948"/>
                    <a:pt x="574" y="973"/>
                    <a:pt x="570" y="996"/>
                  </a:cubicBezTo>
                  <a:cubicBezTo>
                    <a:pt x="570" y="997"/>
                    <a:pt x="570" y="998"/>
                    <a:pt x="570" y="999"/>
                  </a:cubicBezTo>
                  <a:moveTo>
                    <a:pt x="446" y="983"/>
                  </a:moveTo>
                  <a:cubicBezTo>
                    <a:pt x="451" y="958"/>
                    <a:pt x="456" y="930"/>
                    <a:pt x="463" y="900"/>
                  </a:cubicBezTo>
                  <a:cubicBezTo>
                    <a:pt x="482" y="901"/>
                    <a:pt x="501" y="902"/>
                    <a:pt x="519" y="905"/>
                  </a:cubicBezTo>
                  <a:cubicBezTo>
                    <a:pt x="513" y="934"/>
                    <a:pt x="507" y="961"/>
                    <a:pt x="503" y="986"/>
                  </a:cubicBezTo>
                  <a:cubicBezTo>
                    <a:pt x="488" y="984"/>
                    <a:pt x="473" y="983"/>
                    <a:pt x="457" y="983"/>
                  </a:cubicBezTo>
                  <a:cubicBezTo>
                    <a:pt x="453" y="983"/>
                    <a:pt x="450" y="983"/>
                    <a:pt x="446" y="983"/>
                  </a:cubicBezTo>
                  <a:moveTo>
                    <a:pt x="375" y="991"/>
                  </a:moveTo>
                  <a:cubicBezTo>
                    <a:pt x="376" y="987"/>
                    <a:pt x="377" y="984"/>
                    <a:pt x="377" y="981"/>
                  </a:cubicBezTo>
                  <a:cubicBezTo>
                    <a:pt x="382" y="958"/>
                    <a:pt x="388" y="933"/>
                    <a:pt x="394" y="905"/>
                  </a:cubicBezTo>
                  <a:cubicBezTo>
                    <a:pt x="395" y="905"/>
                    <a:pt x="397" y="905"/>
                    <a:pt x="398" y="905"/>
                  </a:cubicBezTo>
                  <a:cubicBezTo>
                    <a:pt x="416" y="902"/>
                    <a:pt x="434" y="901"/>
                    <a:pt x="451" y="900"/>
                  </a:cubicBezTo>
                  <a:cubicBezTo>
                    <a:pt x="445" y="931"/>
                    <a:pt x="439" y="959"/>
                    <a:pt x="435" y="983"/>
                  </a:cubicBezTo>
                  <a:cubicBezTo>
                    <a:pt x="416" y="984"/>
                    <a:pt x="396" y="987"/>
                    <a:pt x="375" y="991"/>
                  </a:cubicBezTo>
                  <a:moveTo>
                    <a:pt x="88" y="1029"/>
                  </a:moveTo>
                  <a:cubicBezTo>
                    <a:pt x="94" y="1006"/>
                    <a:pt x="99" y="983"/>
                    <a:pt x="105" y="959"/>
                  </a:cubicBezTo>
                  <a:cubicBezTo>
                    <a:pt x="106" y="958"/>
                    <a:pt x="106" y="958"/>
                    <a:pt x="106" y="958"/>
                  </a:cubicBezTo>
                  <a:cubicBezTo>
                    <a:pt x="108" y="947"/>
                    <a:pt x="111" y="936"/>
                    <a:pt x="114" y="925"/>
                  </a:cubicBezTo>
                  <a:cubicBezTo>
                    <a:pt x="134" y="912"/>
                    <a:pt x="157" y="899"/>
                    <a:pt x="182" y="886"/>
                  </a:cubicBezTo>
                  <a:cubicBezTo>
                    <a:pt x="175" y="913"/>
                    <a:pt x="168" y="938"/>
                    <a:pt x="163" y="960"/>
                  </a:cubicBezTo>
                  <a:cubicBezTo>
                    <a:pt x="161" y="968"/>
                    <a:pt x="159" y="976"/>
                    <a:pt x="157" y="984"/>
                  </a:cubicBezTo>
                  <a:cubicBezTo>
                    <a:pt x="131" y="999"/>
                    <a:pt x="108" y="1014"/>
                    <a:pt x="88" y="1029"/>
                  </a:cubicBezTo>
                  <a:moveTo>
                    <a:pt x="34" y="967"/>
                  </a:moveTo>
                  <a:cubicBezTo>
                    <a:pt x="42" y="936"/>
                    <a:pt x="50" y="905"/>
                    <a:pt x="59" y="875"/>
                  </a:cubicBezTo>
                  <a:cubicBezTo>
                    <a:pt x="66" y="870"/>
                    <a:pt x="76" y="862"/>
                    <a:pt x="89" y="853"/>
                  </a:cubicBezTo>
                  <a:cubicBezTo>
                    <a:pt x="80" y="883"/>
                    <a:pt x="71" y="914"/>
                    <a:pt x="62" y="946"/>
                  </a:cubicBezTo>
                  <a:cubicBezTo>
                    <a:pt x="50" y="954"/>
                    <a:pt x="41" y="961"/>
                    <a:pt x="34" y="967"/>
                  </a:cubicBezTo>
                  <a:moveTo>
                    <a:pt x="170" y="976"/>
                  </a:moveTo>
                  <a:cubicBezTo>
                    <a:pt x="172" y="972"/>
                    <a:pt x="173" y="968"/>
                    <a:pt x="174" y="963"/>
                  </a:cubicBezTo>
                  <a:cubicBezTo>
                    <a:pt x="180" y="938"/>
                    <a:pt x="187" y="910"/>
                    <a:pt x="195" y="879"/>
                  </a:cubicBezTo>
                  <a:cubicBezTo>
                    <a:pt x="215" y="869"/>
                    <a:pt x="237" y="859"/>
                    <a:pt x="259" y="850"/>
                  </a:cubicBezTo>
                  <a:cubicBezTo>
                    <a:pt x="251" y="883"/>
                    <a:pt x="243" y="915"/>
                    <a:pt x="236" y="943"/>
                  </a:cubicBezTo>
                  <a:cubicBezTo>
                    <a:pt x="213" y="953"/>
                    <a:pt x="191" y="965"/>
                    <a:pt x="170" y="976"/>
                  </a:cubicBezTo>
                  <a:moveTo>
                    <a:pt x="76" y="936"/>
                  </a:moveTo>
                  <a:cubicBezTo>
                    <a:pt x="85" y="904"/>
                    <a:pt x="94" y="873"/>
                    <a:pt x="104" y="842"/>
                  </a:cubicBezTo>
                  <a:cubicBezTo>
                    <a:pt x="112" y="837"/>
                    <a:pt x="122" y="830"/>
                    <a:pt x="132" y="824"/>
                  </a:cubicBezTo>
                  <a:cubicBezTo>
                    <a:pt x="121" y="858"/>
                    <a:pt x="112" y="889"/>
                    <a:pt x="105" y="917"/>
                  </a:cubicBezTo>
                  <a:cubicBezTo>
                    <a:pt x="94" y="924"/>
                    <a:pt x="85" y="930"/>
                    <a:pt x="76" y="936"/>
                  </a:cubicBezTo>
                  <a:moveTo>
                    <a:pt x="249" y="937"/>
                  </a:moveTo>
                  <a:cubicBezTo>
                    <a:pt x="256" y="909"/>
                    <a:pt x="264" y="878"/>
                    <a:pt x="272" y="844"/>
                  </a:cubicBezTo>
                  <a:cubicBezTo>
                    <a:pt x="292" y="837"/>
                    <a:pt x="313" y="830"/>
                    <a:pt x="334" y="824"/>
                  </a:cubicBezTo>
                  <a:cubicBezTo>
                    <a:pt x="326" y="856"/>
                    <a:pt x="319" y="886"/>
                    <a:pt x="312" y="913"/>
                  </a:cubicBezTo>
                  <a:cubicBezTo>
                    <a:pt x="290" y="920"/>
                    <a:pt x="269" y="928"/>
                    <a:pt x="249" y="937"/>
                  </a:cubicBezTo>
                  <a:moveTo>
                    <a:pt x="324" y="909"/>
                  </a:moveTo>
                  <a:cubicBezTo>
                    <a:pt x="331" y="882"/>
                    <a:pt x="338" y="852"/>
                    <a:pt x="346" y="821"/>
                  </a:cubicBezTo>
                  <a:cubicBezTo>
                    <a:pt x="366" y="815"/>
                    <a:pt x="386" y="811"/>
                    <a:pt x="406" y="809"/>
                  </a:cubicBezTo>
                  <a:cubicBezTo>
                    <a:pt x="398" y="839"/>
                    <a:pt x="391" y="868"/>
                    <a:pt x="385" y="895"/>
                  </a:cubicBezTo>
                  <a:cubicBezTo>
                    <a:pt x="364" y="899"/>
                    <a:pt x="344" y="904"/>
                    <a:pt x="324" y="909"/>
                  </a:cubicBezTo>
                  <a:moveTo>
                    <a:pt x="522" y="894"/>
                  </a:moveTo>
                  <a:cubicBezTo>
                    <a:pt x="503" y="891"/>
                    <a:pt x="485" y="889"/>
                    <a:pt x="465" y="888"/>
                  </a:cubicBezTo>
                  <a:cubicBezTo>
                    <a:pt x="471" y="862"/>
                    <a:pt x="477" y="834"/>
                    <a:pt x="484" y="806"/>
                  </a:cubicBezTo>
                  <a:cubicBezTo>
                    <a:pt x="502" y="807"/>
                    <a:pt x="521" y="810"/>
                    <a:pt x="539" y="814"/>
                  </a:cubicBezTo>
                  <a:cubicBezTo>
                    <a:pt x="539" y="819"/>
                    <a:pt x="538" y="823"/>
                    <a:pt x="537" y="827"/>
                  </a:cubicBezTo>
                  <a:cubicBezTo>
                    <a:pt x="531" y="850"/>
                    <a:pt x="526" y="872"/>
                    <a:pt x="522" y="894"/>
                  </a:cubicBezTo>
                  <a:moveTo>
                    <a:pt x="397" y="893"/>
                  </a:moveTo>
                  <a:cubicBezTo>
                    <a:pt x="403" y="866"/>
                    <a:pt x="410" y="837"/>
                    <a:pt x="418" y="807"/>
                  </a:cubicBezTo>
                  <a:cubicBezTo>
                    <a:pt x="430" y="805"/>
                    <a:pt x="443" y="805"/>
                    <a:pt x="456" y="805"/>
                  </a:cubicBezTo>
                  <a:cubicBezTo>
                    <a:pt x="462" y="805"/>
                    <a:pt x="467" y="805"/>
                    <a:pt x="472" y="805"/>
                  </a:cubicBezTo>
                  <a:cubicBezTo>
                    <a:pt x="466" y="834"/>
                    <a:pt x="460" y="862"/>
                    <a:pt x="454" y="888"/>
                  </a:cubicBezTo>
                  <a:cubicBezTo>
                    <a:pt x="435" y="888"/>
                    <a:pt x="416" y="890"/>
                    <a:pt x="397" y="893"/>
                  </a:cubicBezTo>
                  <a:moveTo>
                    <a:pt x="119" y="908"/>
                  </a:moveTo>
                  <a:cubicBezTo>
                    <a:pt x="127" y="880"/>
                    <a:pt x="136" y="849"/>
                    <a:pt x="146" y="815"/>
                  </a:cubicBezTo>
                  <a:cubicBezTo>
                    <a:pt x="166" y="803"/>
                    <a:pt x="187" y="791"/>
                    <a:pt x="211" y="779"/>
                  </a:cubicBezTo>
                  <a:cubicBezTo>
                    <a:pt x="202" y="811"/>
                    <a:pt x="194" y="842"/>
                    <a:pt x="186" y="871"/>
                  </a:cubicBezTo>
                  <a:cubicBezTo>
                    <a:pt x="161" y="883"/>
                    <a:pt x="139" y="896"/>
                    <a:pt x="119" y="908"/>
                  </a:cubicBezTo>
                  <a:moveTo>
                    <a:pt x="199" y="864"/>
                  </a:moveTo>
                  <a:cubicBezTo>
                    <a:pt x="207" y="835"/>
                    <a:pt x="215" y="804"/>
                    <a:pt x="224" y="772"/>
                  </a:cubicBezTo>
                  <a:cubicBezTo>
                    <a:pt x="244" y="762"/>
                    <a:pt x="265" y="753"/>
                    <a:pt x="287" y="745"/>
                  </a:cubicBezTo>
                  <a:cubicBezTo>
                    <a:pt x="279" y="776"/>
                    <a:pt x="271" y="806"/>
                    <a:pt x="263" y="835"/>
                  </a:cubicBezTo>
                  <a:cubicBezTo>
                    <a:pt x="241" y="844"/>
                    <a:pt x="219" y="854"/>
                    <a:pt x="199" y="864"/>
                  </a:cubicBezTo>
                  <a:moveTo>
                    <a:pt x="65" y="856"/>
                  </a:moveTo>
                  <a:cubicBezTo>
                    <a:pt x="75" y="823"/>
                    <a:pt x="85" y="790"/>
                    <a:pt x="96" y="758"/>
                  </a:cubicBezTo>
                  <a:cubicBezTo>
                    <a:pt x="103" y="752"/>
                    <a:pt x="113" y="745"/>
                    <a:pt x="126" y="736"/>
                  </a:cubicBezTo>
                  <a:cubicBezTo>
                    <a:pt x="115" y="768"/>
                    <a:pt x="105" y="800"/>
                    <a:pt x="94" y="835"/>
                  </a:cubicBezTo>
                  <a:cubicBezTo>
                    <a:pt x="83" y="843"/>
                    <a:pt x="73" y="850"/>
                    <a:pt x="65" y="856"/>
                  </a:cubicBezTo>
                  <a:moveTo>
                    <a:pt x="276" y="830"/>
                  </a:moveTo>
                  <a:cubicBezTo>
                    <a:pt x="284" y="801"/>
                    <a:pt x="292" y="771"/>
                    <a:pt x="300" y="740"/>
                  </a:cubicBezTo>
                  <a:cubicBezTo>
                    <a:pt x="319" y="733"/>
                    <a:pt x="339" y="726"/>
                    <a:pt x="360" y="721"/>
                  </a:cubicBezTo>
                  <a:cubicBezTo>
                    <a:pt x="357" y="734"/>
                    <a:pt x="353" y="747"/>
                    <a:pt x="350" y="760"/>
                  </a:cubicBezTo>
                  <a:cubicBezTo>
                    <a:pt x="346" y="777"/>
                    <a:pt x="342" y="794"/>
                    <a:pt x="337" y="811"/>
                  </a:cubicBezTo>
                  <a:cubicBezTo>
                    <a:pt x="316" y="816"/>
                    <a:pt x="296" y="823"/>
                    <a:pt x="276" y="830"/>
                  </a:cubicBezTo>
                  <a:moveTo>
                    <a:pt x="542" y="803"/>
                  </a:moveTo>
                  <a:cubicBezTo>
                    <a:pt x="524" y="799"/>
                    <a:pt x="505" y="795"/>
                    <a:pt x="486" y="794"/>
                  </a:cubicBezTo>
                  <a:cubicBezTo>
                    <a:pt x="492" y="767"/>
                    <a:pt x="498" y="739"/>
                    <a:pt x="504" y="711"/>
                  </a:cubicBezTo>
                  <a:cubicBezTo>
                    <a:pt x="523" y="713"/>
                    <a:pt x="541" y="717"/>
                    <a:pt x="560" y="722"/>
                  </a:cubicBezTo>
                  <a:cubicBezTo>
                    <a:pt x="554" y="750"/>
                    <a:pt x="548" y="777"/>
                    <a:pt x="542" y="803"/>
                  </a:cubicBezTo>
                  <a:moveTo>
                    <a:pt x="350" y="807"/>
                  </a:moveTo>
                  <a:cubicBezTo>
                    <a:pt x="353" y="793"/>
                    <a:pt x="357" y="778"/>
                    <a:pt x="361" y="763"/>
                  </a:cubicBezTo>
                  <a:cubicBezTo>
                    <a:pt x="365" y="748"/>
                    <a:pt x="368" y="733"/>
                    <a:pt x="372" y="718"/>
                  </a:cubicBezTo>
                  <a:cubicBezTo>
                    <a:pt x="391" y="714"/>
                    <a:pt x="410" y="711"/>
                    <a:pt x="430" y="709"/>
                  </a:cubicBezTo>
                  <a:cubicBezTo>
                    <a:pt x="423" y="737"/>
                    <a:pt x="416" y="764"/>
                    <a:pt x="410" y="791"/>
                  </a:cubicBezTo>
                  <a:cubicBezTo>
                    <a:pt x="410" y="792"/>
                    <a:pt x="409" y="794"/>
                    <a:pt x="409" y="796"/>
                  </a:cubicBezTo>
                  <a:cubicBezTo>
                    <a:pt x="389" y="799"/>
                    <a:pt x="369" y="803"/>
                    <a:pt x="350" y="807"/>
                  </a:cubicBezTo>
                  <a:moveTo>
                    <a:pt x="109" y="825"/>
                  </a:moveTo>
                  <a:cubicBezTo>
                    <a:pt x="120" y="790"/>
                    <a:pt x="130" y="758"/>
                    <a:pt x="141" y="726"/>
                  </a:cubicBezTo>
                  <a:cubicBezTo>
                    <a:pt x="149" y="721"/>
                    <a:pt x="158" y="715"/>
                    <a:pt x="168" y="709"/>
                  </a:cubicBezTo>
                  <a:cubicBezTo>
                    <a:pt x="157" y="744"/>
                    <a:pt x="146" y="777"/>
                    <a:pt x="137" y="807"/>
                  </a:cubicBezTo>
                  <a:cubicBezTo>
                    <a:pt x="127" y="813"/>
                    <a:pt x="118" y="819"/>
                    <a:pt x="109" y="825"/>
                  </a:cubicBezTo>
                  <a:moveTo>
                    <a:pt x="421" y="795"/>
                  </a:moveTo>
                  <a:cubicBezTo>
                    <a:pt x="421" y="794"/>
                    <a:pt x="421" y="794"/>
                    <a:pt x="421" y="794"/>
                  </a:cubicBezTo>
                  <a:cubicBezTo>
                    <a:pt x="428" y="766"/>
                    <a:pt x="435" y="737"/>
                    <a:pt x="441" y="708"/>
                  </a:cubicBezTo>
                  <a:cubicBezTo>
                    <a:pt x="447" y="708"/>
                    <a:pt x="453" y="708"/>
                    <a:pt x="459" y="708"/>
                  </a:cubicBezTo>
                  <a:cubicBezTo>
                    <a:pt x="470" y="708"/>
                    <a:pt x="482" y="708"/>
                    <a:pt x="493" y="709"/>
                  </a:cubicBezTo>
                  <a:cubicBezTo>
                    <a:pt x="487" y="738"/>
                    <a:pt x="481" y="766"/>
                    <a:pt x="475" y="793"/>
                  </a:cubicBezTo>
                  <a:cubicBezTo>
                    <a:pt x="469" y="793"/>
                    <a:pt x="463" y="793"/>
                    <a:pt x="457" y="793"/>
                  </a:cubicBezTo>
                  <a:cubicBezTo>
                    <a:pt x="445" y="793"/>
                    <a:pt x="433" y="793"/>
                    <a:pt x="421" y="795"/>
                  </a:cubicBezTo>
                  <a:moveTo>
                    <a:pt x="152" y="798"/>
                  </a:moveTo>
                  <a:cubicBezTo>
                    <a:pt x="161" y="768"/>
                    <a:pt x="171" y="735"/>
                    <a:pt x="183" y="700"/>
                  </a:cubicBezTo>
                  <a:cubicBezTo>
                    <a:pt x="201" y="690"/>
                    <a:pt x="221" y="679"/>
                    <a:pt x="242" y="669"/>
                  </a:cubicBezTo>
                  <a:cubicBezTo>
                    <a:pt x="233" y="701"/>
                    <a:pt x="224" y="732"/>
                    <a:pt x="215" y="763"/>
                  </a:cubicBezTo>
                  <a:cubicBezTo>
                    <a:pt x="192" y="775"/>
                    <a:pt x="171" y="787"/>
                    <a:pt x="152" y="798"/>
                  </a:cubicBezTo>
                  <a:moveTo>
                    <a:pt x="229" y="757"/>
                  </a:moveTo>
                  <a:cubicBezTo>
                    <a:pt x="237" y="726"/>
                    <a:pt x="246" y="694"/>
                    <a:pt x="255" y="663"/>
                  </a:cubicBezTo>
                  <a:cubicBezTo>
                    <a:pt x="274" y="654"/>
                    <a:pt x="294" y="645"/>
                    <a:pt x="315" y="638"/>
                  </a:cubicBezTo>
                  <a:cubicBezTo>
                    <a:pt x="309" y="661"/>
                    <a:pt x="303" y="685"/>
                    <a:pt x="296" y="709"/>
                  </a:cubicBezTo>
                  <a:cubicBezTo>
                    <a:pt x="294" y="716"/>
                    <a:pt x="293" y="723"/>
                    <a:pt x="291" y="730"/>
                  </a:cubicBezTo>
                  <a:cubicBezTo>
                    <a:pt x="269" y="738"/>
                    <a:pt x="248" y="747"/>
                    <a:pt x="229" y="757"/>
                  </a:cubicBezTo>
                  <a:moveTo>
                    <a:pt x="562" y="710"/>
                  </a:moveTo>
                  <a:cubicBezTo>
                    <a:pt x="544" y="706"/>
                    <a:pt x="525" y="702"/>
                    <a:pt x="507" y="699"/>
                  </a:cubicBezTo>
                  <a:cubicBezTo>
                    <a:pt x="513" y="672"/>
                    <a:pt x="519" y="645"/>
                    <a:pt x="524" y="618"/>
                  </a:cubicBezTo>
                  <a:cubicBezTo>
                    <a:pt x="542" y="622"/>
                    <a:pt x="559" y="628"/>
                    <a:pt x="577" y="636"/>
                  </a:cubicBezTo>
                  <a:cubicBezTo>
                    <a:pt x="573" y="661"/>
                    <a:pt x="568" y="686"/>
                    <a:pt x="562" y="710"/>
                  </a:cubicBezTo>
                  <a:moveTo>
                    <a:pt x="303" y="726"/>
                  </a:moveTo>
                  <a:cubicBezTo>
                    <a:pt x="305" y="721"/>
                    <a:pt x="306" y="717"/>
                    <a:pt x="307" y="712"/>
                  </a:cubicBezTo>
                  <a:cubicBezTo>
                    <a:pt x="314" y="686"/>
                    <a:pt x="321" y="660"/>
                    <a:pt x="328" y="633"/>
                  </a:cubicBezTo>
                  <a:cubicBezTo>
                    <a:pt x="347" y="627"/>
                    <a:pt x="366" y="622"/>
                    <a:pt x="386" y="618"/>
                  </a:cubicBezTo>
                  <a:cubicBezTo>
                    <a:pt x="378" y="648"/>
                    <a:pt x="371" y="678"/>
                    <a:pt x="363" y="708"/>
                  </a:cubicBezTo>
                  <a:cubicBezTo>
                    <a:pt x="343" y="713"/>
                    <a:pt x="323" y="719"/>
                    <a:pt x="303" y="726"/>
                  </a:cubicBezTo>
                  <a:moveTo>
                    <a:pt x="375" y="705"/>
                  </a:moveTo>
                  <a:cubicBezTo>
                    <a:pt x="383" y="676"/>
                    <a:pt x="390" y="645"/>
                    <a:pt x="398" y="615"/>
                  </a:cubicBezTo>
                  <a:cubicBezTo>
                    <a:pt x="416" y="612"/>
                    <a:pt x="434" y="610"/>
                    <a:pt x="453" y="610"/>
                  </a:cubicBezTo>
                  <a:cubicBezTo>
                    <a:pt x="446" y="639"/>
                    <a:pt x="439" y="668"/>
                    <a:pt x="433" y="697"/>
                  </a:cubicBezTo>
                  <a:cubicBezTo>
                    <a:pt x="413" y="698"/>
                    <a:pt x="394" y="701"/>
                    <a:pt x="375" y="705"/>
                  </a:cubicBezTo>
                  <a:moveTo>
                    <a:pt x="444" y="696"/>
                  </a:moveTo>
                  <a:cubicBezTo>
                    <a:pt x="451" y="667"/>
                    <a:pt x="458" y="638"/>
                    <a:pt x="464" y="610"/>
                  </a:cubicBezTo>
                  <a:cubicBezTo>
                    <a:pt x="480" y="610"/>
                    <a:pt x="496" y="612"/>
                    <a:pt x="513" y="615"/>
                  </a:cubicBezTo>
                  <a:cubicBezTo>
                    <a:pt x="508" y="643"/>
                    <a:pt x="502" y="670"/>
                    <a:pt x="496" y="698"/>
                  </a:cubicBezTo>
                  <a:cubicBezTo>
                    <a:pt x="484" y="697"/>
                    <a:pt x="471" y="696"/>
                    <a:pt x="459" y="696"/>
                  </a:cubicBezTo>
                  <a:cubicBezTo>
                    <a:pt x="454" y="696"/>
                    <a:pt x="449" y="696"/>
                    <a:pt x="444" y="696"/>
                  </a:cubicBezTo>
                  <a:moveTo>
                    <a:pt x="102" y="739"/>
                  </a:moveTo>
                  <a:cubicBezTo>
                    <a:pt x="117" y="695"/>
                    <a:pt x="133" y="651"/>
                    <a:pt x="149" y="610"/>
                  </a:cubicBezTo>
                  <a:cubicBezTo>
                    <a:pt x="155" y="606"/>
                    <a:pt x="164" y="600"/>
                    <a:pt x="175" y="594"/>
                  </a:cubicBezTo>
                  <a:cubicBezTo>
                    <a:pt x="162" y="631"/>
                    <a:pt x="147" y="673"/>
                    <a:pt x="132" y="718"/>
                  </a:cubicBezTo>
                  <a:cubicBezTo>
                    <a:pt x="120" y="726"/>
                    <a:pt x="110" y="733"/>
                    <a:pt x="102" y="739"/>
                  </a:cubicBezTo>
                  <a:moveTo>
                    <a:pt x="147" y="709"/>
                  </a:moveTo>
                  <a:cubicBezTo>
                    <a:pt x="162" y="664"/>
                    <a:pt x="177" y="622"/>
                    <a:pt x="190" y="586"/>
                  </a:cubicBezTo>
                  <a:cubicBezTo>
                    <a:pt x="198" y="582"/>
                    <a:pt x="205" y="578"/>
                    <a:pt x="214" y="574"/>
                  </a:cubicBezTo>
                  <a:cubicBezTo>
                    <a:pt x="199" y="616"/>
                    <a:pt x="186" y="655"/>
                    <a:pt x="174" y="692"/>
                  </a:cubicBezTo>
                  <a:cubicBezTo>
                    <a:pt x="164" y="698"/>
                    <a:pt x="155" y="703"/>
                    <a:pt x="147" y="709"/>
                  </a:cubicBezTo>
                  <a:moveTo>
                    <a:pt x="188" y="684"/>
                  </a:moveTo>
                  <a:cubicBezTo>
                    <a:pt x="201" y="647"/>
                    <a:pt x="214" y="608"/>
                    <a:pt x="228" y="567"/>
                  </a:cubicBezTo>
                  <a:cubicBezTo>
                    <a:pt x="243" y="560"/>
                    <a:pt x="259" y="553"/>
                    <a:pt x="276" y="546"/>
                  </a:cubicBezTo>
                  <a:cubicBezTo>
                    <a:pt x="274" y="553"/>
                    <a:pt x="272" y="561"/>
                    <a:pt x="270" y="568"/>
                  </a:cubicBezTo>
                  <a:cubicBezTo>
                    <a:pt x="262" y="596"/>
                    <a:pt x="254" y="625"/>
                    <a:pt x="246" y="654"/>
                  </a:cubicBezTo>
                  <a:cubicBezTo>
                    <a:pt x="225" y="663"/>
                    <a:pt x="206" y="674"/>
                    <a:pt x="188" y="684"/>
                  </a:cubicBezTo>
                  <a:moveTo>
                    <a:pt x="259" y="648"/>
                  </a:moveTo>
                  <a:cubicBezTo>
                    <a:pt x="267" y="622"/>
                    <a:pt x="274" y="596"/>
                    <a:pt x="281" y="571"/>
                  </a:cubicBezTo>
                  <a:cubicBezTo>
                    <a:pt x="284" y="561"/>
                    <a:pt x="287" y="551"/>
                    <a:pt x="290" y="541"/>
                  </a:cubicBezTo>
                  <a:cubicBezTo>
                    <a:pt x="307" y="535"/>
                    <a:pt x="325" y="529"/>
                    <a:pt x="345" y="524"/>
                  </a:cubicBezTo>
                  <a:cubicBezTo>
                    <a:pt x="336" y="557"/>
                    <a:pt x="328" y="590"/>
                    <a:pt x="319" y="624"/>
                  </a:cubicBezTo>
                  <a:cubicBezTo>
                    <a:pt x="298" y="631"/>
                    <a:pt x="278" y="639"/>
                    <a:pt x="259" y="648"/>
                  </a:cubicBezTo>
                  <a:moveTo>
                    <a:pt x="579" y="624"/>
                  </a:moveTo>
                  <a:cubicBezTo>
                    <a:pt x="562" y="617"/>
                    <a:pt x="544" y="611"/>
                    <a:pt x="527" y="606"/>
                  </a:cubicBezTo>
                  <a:cubicBezTo>
                    <a:pt x="532" y="578"/>
                    <a:pt x="538" y="551"/>
                    <a:pt x="542" y="524"/>
                  </a:cubicBezTo>
                  <a:cubicBezTo>
                    <a:pt x="558" y="530"/>
                    <a:pt x="575" y="537"/>
                    <a:pt x="592" y="545"/>
                  </a:cubicBezTo>
                  <a:cubicBezTo>
                    <a:pt x="588" y="571"/>
                    <a:pt x="584" y="597"/>
                    <a:pt x="579" y="624"/>
                  </a:cubicBezTo>
                  <a:moveTo>
                    <a:pt x="331" y="620"/>
                  </a:moveTo>
                  <a:cubicBezTo>
                    <a:pt x="340" y="586"/>
                    <a:pt x="349" y="553"/>
                    <a:pt x="357" y="521"/>
                  </a:cubicBezTo>
                  <a:cubicBezTo>
                    <a:pt x="374" y="517"/>
                    <a:pt x="392" y="514"/>
                    <a:pt x="411" y="512"/>
                  </a:cubicBezTo>
                  <a:cubicBezTo>
                    <a:pt x="404" y="542"/>
                    <a:pt x="396" y="573"/>
                    <a:pt x="389" y="605"/>
                  </a:cubicBezTo>
                  <a:cubicBezTo>
                    <a:pt x="369" y="609"/>
                    <a:pt x="350" y="614"/>
                    <a:pt x="331" y="620"/>
                  </a:cubicBezTo>
                  <a:moveTo>
                    <a:pt x="516" y="604"/>
                  </a:moveTo>
                  <a:cubicBezTo>
                    <a:pt x="499" y="600"/>
                    <a:pt x="483" y="598"/>
                    <a:pt x="467" y="598"/>
                  </a:cubicBezTo>
                  <a:cubicBezTo>
                    <a:pt x="473" y="568"/>
                    <a:pt x="479" y="539"/>
                    <a:pt x="485" y="511"/>
                  </a:cubicBezTo>
                  <a:cubicBezTo>
                    <a:pt x="486" y="511"/>
                    <a:pt x="487" y="511"/>
                    <a:pt x="488" y="511"/>
                  </a:cubicBezTo>
                  <a:cubicBezTo>
                    <a:pt x="502" y="512"/>
                    <a:pt x="516" y="515"/>
                    <a:pt x="532" y="520"/>
                  </a:cubicBezTo>
                  <a:cubicBezTo>
                    <a:pt x="527" y="548"/>
                    <a:pt x="521" y="575"/>
                    <a:pt x="516" y="604"/>
                  </a:cubicBezTo>
                  <a:moveTo>
                    <a:pt x="401" y="603"/>
                  </a:moveTo>
                  <a:cubicBezTo>
                    <a:pt x="408" y="572"/>
                    <a:pt x="416" y="541"/>
                    <a:pt x="422" y="511"/>
                  </a:cubicBezTo>
                  <a:cubicBezTo>
                    <a:pt x="433" y="510"/>
                    <a:pt x="444" y="509"/>
                    <a:pt x="455" y="509"/>
                  </a:cubicBezTo>
                  <a:cubicBezTo>
                    <a:pt x="461" y="509"/>
                    <a:pt x="467" y="509"/>
                    <a:pt x="474" y="510"/>
                  </a:cubicBezTo>
                  <a:cubicBezTo>
                    <a:pt x="468" y="538"/>
                    <a:pt x="462" y="568"/>
                    <a:pt x="455" y="598"/>
                  </a:cubicBezTo>
                  <a:cubicBezTo>
                    <a:pt x="437" y="598"/>
                    <a:pt x="419" y="600"/>
                    <a:pt x="401" y="603"/>
                  </a:cubicBezTo>
                  <a:moveTo>
                    <a:pt x="220" y="462"/>
                  </a:moveTo>
                  <a:cubicBezTo>
                    <a:pt x="220" y="462"/>
                    <a:pt x="223" y="461"/>
                    <a:pt x="227" y="459"/>
                  </a:cubicBezTo>
                  <a:cubicBezTo>
                    <a:pt x="215" y="489"/>
                    <a:pt x="199" y="529"/>
                    <a:pt x="181" y="577"/>
                  </a:cubicBezTo>
                  <a:cubicBezTo>
                    <a:pt x="172" y="582"/>
                    <a:pt x="163" y="587"/>
                    <a:pt x="156" y="592"/>
                  </a:cubicBezTo>
                  <a:cubicBezTo>
                    <a:pt x="170" y="558"/>
                    <a:pt x="184" y="526"/>
                    <a:pt x="198" y="494"/>
                  </a:cubicBezTo>
                  <a:cubicBezTo>
                    <a:pt x="205" y="483"/>
                    <a:pt x="212" y="472"/>
                    <a:pt x="220" y="461"/>
                  </a:cubicBezTo>
                  <a:cubicBezTo>
                    <a:pt x="220" y="462"/>
                    <a:pt x="220" y="462"/>
                    <a:pt x="220" y="462"/>
                  </a:cubicBezTo>
                  <a:moveTo>
                    <a:pt x="594" y="533"/>
                  </a:moveTo>
                  <a:cubicBezTo>
                    <a:pt x="577" y="525"/>
                    <a:pt x="560" y="518"/>
                    <a:pt x="545" y="512"/>
                  </a:cubicBezTo>
                  <a:cubicBezTo>
                    <a:pt x="548" y="493"/>
                    <a:pt x="551" y="474"/>
                    <a:pt x="554" y="456"/>
                  </a:cubicBezTo>
                  <a:cubicBezTo>
                    <a:pt x="569" y="460"/>
                    <a:pt x="584" y="466"/>
                    <a:pt x="600" y="472"/>
                  </a:cubicBezTo>
                  <a:cubicBezTo>
                    <a:pt x="598" y="492"/>
                    <a:pt x="596" y="512"/>
                    <a:pt x="594" y="533"/>
                  </a:cubicBezTo>
                  <a:moveTo>
                    <a:pt x="196" y="569"/>
                  </a:moveTo>
                  <a:cubicBezTo>
                    <a:pt x="214" y="522"/>
                    <a:pt x="230" y="483"/>
                    <a:pt x="241" y="455"/>
                  </a:cubicBezTo>
                  <a:cubicBezTo>
                    <a:pt x="246" y="453"/>
                    <a:pt x="251" y="452"/>
                    <a:pt x="257" y="450"/>
                  </a:cubicBezTo>
                  <a:cubicBezTo>
                    <a:pt x="244" y="488"/>
                    <a:pt x="231" y="524"/>
                    <a:pt x="219" y="558"/>
                  </a:cubicBezTo>
                  <a:cubicBezTo>
                    <a:pt x="211" y="562"/>
                    <a:pt x="204" y="566"/>
                    <a:pt x="196" y="569"/>
                  </a:cubicBezTo>
                  <a:moveTo>
                    <a:pt x="231" y="446"/>
                  </a:moveTo>
                  <a:cubicBezTo>
                    <a:pt x="231" y="445"/>
                    <a:pt x="232" y="444"/>
                    <a:pt x="233" y="444"/>
                  </a:cubicBezTo>
                  <a:cubicBezTo>
                    <a:pt x="233" y="444"/>
                    <a:pt x="233" y="444"/>
                    <a:pt x="233" y="445"/>
                  </a:cubicBezTo>
                  <a:cubicBezTo>
                    <a:pt x="232" y="445"/>
                    <a:pt x="231" y="445"/>
                    <a:pt x="231" y="446"/>
                  </a:cubicBezTo>
                  <a:moveTo>
                    <a:pt x="534" y="508"/>
                  </a:moveTo>
                  <a:cubicBezTo>
                    <a:pt x="518" y="503"/>
                    <a:pt x="503" y="500"/>
                    <a:pt x="489" y="499"/>
                  </a:cubicBezTo>
                  <a:cubicBezTo>
                    <a:pt x="488" y="499"/>
                    <a:pt x="488" y="499"/>
                    <a:pt x="487" y="499"/>
                  </a:cubicBezTo>
                  <a:cubicBezTo>
                    <a:pt x="491" y="479"/>
                    <a:pt x="494" y="460"/>
                    <a:pt x="497" y="441"/>
                  </a:cubicBezTo>
                  <a:cubicBezTo>
                    <a:pt x="512" y="444"/>
                    <a:pt x="527" y="448"/>
                    <a:pt x="543" y="452"/>
                  </a:cubicBezTo>
                  <a:cubicBezTo>
                    <a:pt x="540" y="470"/>
                    <a:pt x="537" y="489"/>
                    <a:pt x="534" y="508"/>
                  </a:cubicBezTo>
                  <a:moveTo>
                    <a:pt x="233" y="551"/>
                  </a:moveTo>
                  <a:cubicBezTo>
                    <a:pt x="245" y="518"/>
                    <a:pt x="257" y="483"/>
                    <a:pt x="270" y="447"/>
                  </a:cubicBezTo>
                  <a:cubicBezTo>
                    <a:pt x="281" y="444"/>
                    <a:pt x="293" y="442"/>
                    <a:pt x="307" y="440"/>
                  </a:cubicBezTo>
                  <a:cubicBezTo>
                    <a:pt x="298" y="469"/>
                    <a:pt x="290" y="500"/>
                    <a:pt x="281" y="532"/>
                  </a:cubicBezTo>
                  <a:cubicBezTo>
                    <a:pt x="264" y="538"/>
                    <a:pt x="248" y="545"/>
                    <a:pt x="233" y="551"/>
                  </a:cubicBezTo>
                  <a:moveTo>
                    <a:pt x="425" y="498"/>
                  </a:moveTo>
                  <a:cubicBezTo>
                    <a:pt x="430" y="476"/>
                    <a:pt x="435" y="454"/>
                    <a:pt x="439" y="434"/>
                  </a:cubicBezTo>
                  <a:cubicBezTo>
                    <a:pt x="454" y="435"/>
                    <a:pt x="470" y="437"/>
                    <a:pt x="486" y="439"/>
                  </a:cubicBezTo>
                  <a:cubicBezTo>
                    <a:pt x="483" y="458"/>
                    <a:pt x="479" y="478"/>
                    <a:pt x="476" y="498"/>
                  </a:cubicBezTo>
                  <a:cubicBezTo>
                    <a:pt x="469" y="497"/>
                    <a:pt x="462" y="497"/>
                    <a:pt x="455" y="497"/>
                  </a:cubicBezTo>
                  <a:cubicBezTo>
                    <a:pt x="445" y="497"/>
                    <a:pt x="435" y="498"/>
                    <a:pt x="425" y="498"/>
                  </a:cubicBezTo>
                  <a:moveTo>
                    <a:pt x="294" y="527"/>
                  </a:moveTo>
                  <a:cubicBezTo>
                    <a:pt x="302" y="496"/>
                    <a:pt x="311" y="466"/>
                    <a:pt x="319" y="438"/>
                  </a:cubicBezTo>
                  <a:cubicBezTo>
                    <a:pt x="334" y="436"/>
                    <a:pt x="350" y="434"/>
                    <a:pt x="367" y="433"/>
                  </a:cubicBezTo>
                  <a:cubicBezTo>
                    <a:pt x="361" y="458"/>
                    <a:pt x="355" y="484"/>
                    <a:pt x="348" y="511"/>
                  </a:cubicBezTo>
                  <a:cubicBezTo>
                    <a:pt x="329" y="516"/>
                    <a:pt x="311" y="521"/>
                    <a:pt x="294" y="527"/>
                  </a:cubicBezTo>
                  <a:moveTo>
                    <a:pt x="360" y="508"/>
                  </a:moveTo>
                  <a:cubicBezTo>
                    <a:pt x="367" y="482"/>
                    <a:pt x="373" y="457"/>
                    <a:pt x="379" y="433"/>
                  </a:cubicBezTo>
                  <a:cubicBezTo>
                    <a:pt x="385" y="432"/>
                    <a:pt x="392" y="432"/>
                    <a:pt x="398" y="432"/>
                  </a:cubicBezTo>
                  <a:cubicBezTo>
                    <a:pt x="408" y="432"/>
                    <a:pt x="418" y="432"/>
                    <a:pt x="427" y="433"/>
                  </a:cubicBezTo>
                  <a:cubicBezTo>
                    <a:pt x="423" y="454"/>
                    <a:pt x="418" y="477"/>
                    <a:pt x="413" y="500"/>
                  </a:cubicBezTo>
                  <a:cubicBezTo>
                    <a:pt x="395" y="501"/>
                    <a:pt x="378" y="504"/>
                    <a:pt x="360" y="508"/>
                  </a:cubicBezTo>
                  <a:moveTo>
                    <a:pt x="247" y="441"/>
                  </a:moveTo>
                  <a:cubicBezTo>
                    <a:pt x="248" y="438"/>
                    <a:pt x="249" y="435"/>
                    <a:pt x="250" y="433"/>
                  </a:cubicBezTo>
                  <a:cubicBezTo>
                    <a:pt x="255" y="430"/>
                    <a:pt x="260" y="427"/>
                    <a:pt x="267" y="424"/>
                  </a:cubicBezTo>
                  <a:cubicBezTo>
                    <a:pt x="265" y="428"/>
                    <a:pt x="263" y="432"/>
                    <a:pt x="262" y="437"/>
                  </a:cubicBezTo>
                  <a:cubicBezTo>
                    <a:pt x="256" y="438"/>
                    <a:pt x="251" y="439"/>
                    <a:pt x="247" y="441"/>
                  </a:cubicBezTo>
                  <a:moveTo>
                    <a:pt x="260" y="414"/>
                  </a:moveTo>
                  <a:cubicBezTo>
                    <a:pt x="264" y="410"/>
                    <a:pt x="269" y="406"/>
                    <a:pt x="274" y="402"/>
                  </a:cubicBezTo>
                  <a:cubicBezTo>
                    <a:pt x="274" y="404"/>
                    <a:pt x="273" y="406"/>
                    <a:pt x="272" y="408"/>
                  </a:cubicBezTo>
                  <a:cubicBezTo>
                    <a:pt x="268" y="410"/>
                    <a:pt x="264" y="412"/>
                    <a:pt x="260" y="414"/>
                  </a:cubicBezTo>
                  <a:moveTo>
                    <a:pt x="275" y="434"/>
                  </a:moveTo>
                  <a:cubicBezTo>
                    <a:pt x="277" y="428"/>
                    <a:pt x="279" y="422"/>
                    <a:pt x="281" y="416"/>
                  </a:cubicBezTo>
                  <a:cubicBezTo>
                    <a:pt x="292" y="411"/>
                    <a:pt x="304" y="406"/>
                    <a:pt x="317" y="402"/>
                  </a:cubicBezTo>
                  <a:cubicBezTo>
                    <a:pt x="315" y="410"/>
                    <a:pt x="313" y="418"/>
                    <a:pt x="310" y="427"/>
                  </a:cubicBezTo>
                  <a:cubicBezTo>
                    <a:pt x="297" y="429"/>
                    <a:pt x="285" y="431"/>
                    <a:pt x="275" y="434"/>
                  </a:cubicBezTo>
                  <a:moveTo>
                    <a:pt x="322" y="425"/>
                  </a:moveTo>
                  <a:cubicBezTo>
                    <a:pt x="325" y="416"/>
                    <a:pt x="328" y="406"/>
                    <a:pt x="330" y="397"/>
                  </a:cubicBezTo>
                  <a:cubicBezTo>
                    <a:pt x="345" y="393"/>
                    <a:pt x="361" y="388"/>
                    <a:pt x="378" y="385"/>
                  </a:cubicBezTo>
                  <a:cubicBezTo>
                    <a:pt x="375" y="397"/>
                    <a:pt x="373" y="409"/>
                    <a:pt x="370" y="421"/>
                  </a:cubicBezTo>
                  <a:cubicBezTo>
                    <a:pt x="353" y="422"/>
                    <a:pt x="337" y="423"/>
                    <a:pt x="322" y="425"/>
                  </a:cubicBezTo>
                  <a:moveTo>
                    <a:pt x="545" y="440"/>
                  </a:moveTo>
                  <a:cubicBezTo>
                    <a:pt x="529" y="436"/>
                    <a:pt x="514" y="432"/>
                    <a:pt x="499" y="429"/>
                  </a:cubicBezTo>
                  <a:cubicBezTo>
                    <a:pt x="501" y="413"/>
                    <a:pt x="503" y="398"/>
                    <a:pt x="504" y="383"/>
                  </a:cubicBezTo>
                  <a:cubicBezTo>
                    <a:pt x="520" y="386"/>
                    <a:pt x="536" y="389"/>
                    <a:pt x="551" y="393"/>
                  </a:cubicBezTo>
                  <a:cubicBezTo>
                    <a:pt x="549" y="408"/>
                    <a:pt x="547" y="424"/>
                    <a:pt x="545" y="440"/>
                  </a:cubicBezTo>
                  <a:moveTo>
                    <a:pt x="381" y="420"/>
                  </a:moveTo>
                  <a:cubicBezTo>
                    <a:pt x="384" y="408"/>
                    <a:pt x="387" y="395"/>
                    <a:pt x="390" y="383"/>
                  </a:cubicBezTo>
                  <a:cubicBezTo>
                    <a:pt x="390" y="383"/>
                    <a:pt x="391" y="383"/>
                    <a:pt x="391" y="383"/>
                  </a:cubicBezTo>
                  <a:cubicBezTo>
                    <a:pt x="407" y="381"/>
                    <a:pt x="422" y="380"/>
                    <a:pt x="437" y="379"/>
                  </a:cubicBezTo>
                  <a:cubicBezTo>
                    <a:pt x="435" y="393"/>
                    <a:pt x="432" y="407"/>
                    <a:pt x="430" y="421"/>
                  </a:cubicBezTo>
                  <a:cubicBezTo>
                    <a:pt x="419" y="421"/>
                    <a:pt x="408" y="420"/>
                    <a:pt x="397" y="420"/>
                  </a:cubicBezTo>
                  <a:cubicBezTo>
                    <a:pt x="392" y="420"/>
                    <a:pt x="387" y="420"/>
                    <a:pt x="381" y="420"/>
                  </a:cubicBezTo>
                  <a:moveTo>
                    <a:pt x="488" y="428"/>
                  </a:moveTo>
                  <a:cubicBezTo>
                    <a:pt x="472" y="425"/>
                    <a:pt x="456" y="423"/>
                    <a:pt x="441" y="422"/>
                  </a:cubicBezTo>
                  <a:cubicBezTo>
                    <a:pt x="444" y="407"/>
                    <a:pt x="446" y="393"/>
                    <a:pt x="449" y="379"/>
                  </a:cubicBezTo>
                  <a:cubicBezTo>
                    <a:pt x="464" y="379"/>
                    <a:pt x="479" y="380"/>
                    <a:pt x="493" y="382"/>
                  </a:cubicBezTo>
                  <a:cubicBezTo>
                    <a:pt x="492" y="396"/>
                    <a:pt x="490" y="412"/>
                    <a:pt x="488" y="428"/>
                  </a:cubicBezTo>
                  <a:moveTo>
                    <a:pt x="287" y="401"/>
                  </a:moveTo>
                  <a:cubicBezTo>
                    <a:pt x="288" y="398"/>
                    <a:pt x="289" y="394"/>
                    <a:pt x="290" y="391"/>
                  </a:cubicBezTo>
                  <a:cubicBezTo>
                    <a:pt x="301" y="384"/>
                    <a:pt x="312" y="378"/>
                    <a:pt x="326" y="372"/>
                  </a:cubicBezTo>
                  <a:cubicBezTo>
                    <a:pt x="324" y="377"/>
                    <a:pt x="323" y="382"/>
                    <a:pt x="321" y="388"/>
                  </a:cubicBezTo>
                  <a:cubicBezTo>
                    <a:pt x="308" y="392"/>
                    <a:pt x="297" y="397"/>
                    <a:pt x="287" y="401"/>
                  </a:cubicBezTo>
                  <a:moveTo>
                    <a:pt x="552" y="381"/>
                  </a:moveTo>
                  <a:cubicBezTo>
                    <a:pt x="536" y="377"/>
                    <a:pt x="521" y="374"/>
                    <a:pt x="506" y="372"/>
                  </a:cubicBezTo>
                  <a:cubicBezTo>
                    <a:pt x="506" y="365"/>
                    <a:pt x="507" y="359"/>
                    <a:pt x="507" y="353"/>
                  </a:cubicBezTo>
                  <a:cubicBezTo>
                    <a:pt x="522" y="355"/>
                    <a:pt x="538" y="359"/>
                    <a:pt x="554" y="364"/>
                  </a:cubicBezTo>
                  <a:cubicBezTo>
                    <a:pt x="553" y="370"/>
                    <a:pt x="553" y="375"/>
                    <a:pt x="552" y="381"/>
                  </a:cubicBezTo>
                  <a:moveTo>
                    <a:pt x="334" y="384"/>
                  </a:moveTo>
                  <a:cubicBezTo>
                    <a:pt x="335" y="378"/>
                    <a:pt x="337" y="372"/>
                    <a:pt x="339" y="366"/>
                  </a:cubicBezTo>
                  <a:cubicBezTo>
                    <a:pt x="353" y="361"/>
                    <a:pt x="368" y="356"/>
                    <a:pt x="385" y="353"/>
                  </a:cubicBezTo>
                  <a:cubicBezTo>
                    <a:pt x="383" y="359"/>
                    <a:pt x="382" y="366"/>
                    <a:pt x="381" y="373"/>
                  </a:cubicBezTo>
                  <a:cubicBezTo>
                    <a:pt x="364" y="376"/>
                    <a:pt x="348" y="380"/>
                    <a:pt x="334" y="384"/>
                  </a:cubicBezTo>
                  <a:moveTo>
                    <a:pt x="494" y="370"/>
                  </a:moveTo>
                  <a:cubicBezTo>
                    <a:pt x="479" y="369"/>
                    <a:pt x="465" y="368"/>
                    <a:pt x="450" y="368"/>
                  </a:cubicBezTo>
                  <a:cubicBezTo>
                    <a:pt x="452" y="361"/>
                    <a:pt x="453" y="354"/>
                    <a:pt x="454" y="347"/>
                  </a:cubicBezTo>
                  <a:cubicBezTo>
                    <a:pt x="467" y="347"/>
                    <a:pt x="481" y="349"/>
                    <a:pt x="496" y="351"/>
                  </a:cubicBezTo>
                  <a:cubicBezTo>
                    <a:pt x="496" y="357"/>
                    <a:pt x="495" y="364"/>
                    <a:pt x="494" y="370"/>
                  </a:cubicBezTo>
                  <a:moveTo>
                    <a:pt x="392" y="372"/>
                  </a:moveTo>
                  <a:cubicBezTo>
                    <a:pt x="394" y="364"/>
                    <a:pt x="395" y="357"/>
                    <a:pt x="397" y="351"/>
                  </a:cubicBezTo>
                  <a:cubicBezTo>
                    <a:pt x="411" y="348"/>
                    <a:pt x="426" y="347"/>
                    <a:pt x="442" y="347"/>
                  </a:cubicBezTo>
                  <a:cubicBezTo>
                    <a:pt x="441" y="354"/>
                    <a:pt x="440" y="361"/>
                    <a:pt x="439" y="368"/>
                  </a:cubicBezTo>
                  <a:cubicBezTo>
                    <a:pt x="423" y="368"/>
                    <a:pt x="407" y="370"/>
                    <a:pt x="392" y="372"/>
                  </a:cubicBezTo>
                  <a:moveTo>
                    <a:pt x="296" y="373"/>
                  </a:moveTo>
                  <a:cubicBezTo>
                    <a:pt x="295" y="373"/>
                    <a:pt x="295" y="373"/>
                    <a:pt x="295" y="373"/>
                  </a:cubicBezTo>
                  <a:cubicBezTo>
                    <a:pt x="300" y="368"/>
                    <a:pt x="306" y="364"/>
                    <a:pt x="311" y="360"/>
                  </a:cubicBezTo>
                  <a:cubicBezTo>
                    <a:pt x="318" y="354"/>
                    <a:pt x="325" y="349"/>
                    <a:pt x="333" y="345"/>
                  </a:cubicBezTo>
                  <a:cubicBezTo>
                    <a:pt x="332" y="349"/>
                    <a:pt x="331" y="353"/>
                    <a:pt x="330" y="357"/>
                  </a:cubicBezTo>
                  <a:cubicBezTo>
                    <a:pt x="317" y="362"/>
                    <a:pt x="306" y="368"/>
                    <a:pt x="296" y="373"/>
                  </a:cubicBezTo>
                  <a:moveTo>
                    <a:pt x="600" y="367"/>
                  </a:moveTo>
                  <a:cubicBezTo>
                    <a:pt x="589" y="363"/>
                    <a:pt x="577" y="359"/>
                    <a:pt x="566" y="355"/>
                  </a:cubicBezTo>
                  <a:cubicBezTo>
                    <a:pt x="566" y="350"/>
                    <a:pt x="566" y="346"/>
                    <a:pt x="567" y="341"/>
                  </a:cubicBezTo>
                  <a:cubicBezTo>
                    <a:pt x="578" y="345"/>
                    <a:pt x="589" y="350"/>
                    <a:pt x="599" y="355"/>
                  </a:cubicBezTo>
                  <a:cubicBezTo>
                    <a:pt x="600" y="359"/>
                    <a:pt x="600" y="363"/>
                    <a:pt x="600" y="367"/>
                  </a:cubicBezTo>
                  <a:moveTo>
                    <a:pt x="555" y="352"/>
                  </a:moveTo>
                  <a:cubicBezTo>
                    <a:pt x="538" y="347"/>
                    <a:pt x="523" y="343"/>
                    <a:pt x="508" y="341"/>
                  </a:cubicBezTo>
                  <a:cubicBezTo>
                    <a:pt x="508" y="335"/>
                    <a:pt x="508" y="329"/>
                    <a:pt x="508" y="323"/>
                  </a:cubicBezTo>
                  <a:cubicBezTo>
                    <a:pt x="524" y="327"/>
                    <a:pt x="540" y="332"/>
                    <a:pt x="556" y="337"/>
                  </a:cubicBezTo>
                  <a:cubicBezTo>
                    <a:pt x="556" y="342"/>
                    <a:pt x="555" y="347"/>
                    <a:pt x="555" y="352"/>
                  </a:cubicBezTo>
                  <a:moveTo>
                    <a:pt x="342" y="352"/>
                  </a:moveTo>
                  <a:cubicBezTo>
                    <a:pt x="344" y="347"/>
                    <a:pt x="345" y="342"/>
                    <a:pt x="347" y="337"/>
                  </a:cubicBezTo>
                  <a:cubicBezTo>
                    <a:pt x="361" y="330"/>
                    <a:pt x="376" y="325"/>
                    <a:pt x="391" y="321"/>
                  </a:cubicBezTo>
                  <a:cubicBezTo>
                    <a:pt x="390" y="327"/>
                    <a:pt x="389" y="334"/>
                    <a:pt x="387" y="340"/>
                  </a:cubicBezTo>
                  <a:cubicBezTo>
                    <a:pt x="371" y="343"/>
                    <a:pt x="356" y="347"/>
                    <a:pt x="342" y="352"/>
                  </a:cubicBezTo>
                  <a:moveTo>
                    <a:pt x="497" y="339"/>
                  </a:moveTo>
                  <a:cubicBezTo>
                    <a:pt x="482" y="337"/>
                    <a:pt x="468" y="336"/>
                    <a:pt x="455" y="335"/>
                  </a:cubicBezTo>
                  <a:cubicBezTo>
                    <a:pt x="456" y="329"/>
                    <a:pt x="457" y="322"/>
                    <a:pt x="457" y="316"/>
                  </a:cubicBezTo>
                  <a:cubicBezTo>
                    <a:pt x="473" y="317"/>
                    <a:pt x="488" y="319"/>
                    <a:pt x="503" y="322"/>
                  </a:cubicBezTo>
                  <a:cubicBezTo>
                    <a:pt x="497" y="322"/>
                    <a:pt x="497" y="322"/>
                    <a:pt x="497" y="322"/>
                  </a:cubicBezTo>
                  <a:cubicBezTo>
                    <a:pt x="497" y="327"/>
                    <a:pt x="497" y="333"/>
                    <a:pt x="497" y="339"/>
                  </a:cubicBezTo>
                  <a:moveTo>
                    <a:pt x="399" y="338"/>
                  </a:moveTo>
                  <a:cubicBezTo>
                    <a:pt x="400" y="332"/>
                    <a:pt x="401" y="325"/>
                    <a:pt x="403" y="320"/>
                  </a:cubicBezTo>
                  <a:cubicBezTo>
                    <a:pt x="401" y="319"/>
                    <a:pt x="401" y="319"/>
                    <a:pt x="401" y="319"/>
                  </a:cubicBezTo>
                  <a:cubicBezTo>
                    <a:pt x="415" y="317"/>
                    <a:pt x="428" y="316"/>
                    <a:pt x="442" y="316"/>
                  </a:cubicBezTo>
                  <a:cubicBezTo>
                    <a:pt x="444" y="316"/>
                    <a:pt x="445" y="316"/>
                    <a:pt x="446" y="316"/>
                  </a:cubicBezTo>
                  <a:cubicBezTo>
                    <a:pt x="445" y="322"/>
                    <a:pt x="445" y="328"/>
                    <a:pt x="444" y="335"/>
                  </a:cubicBezTo>
                  <a:cubicBezTo>
                    <a:pt x="428" y="335"/>
                    <a:pt x="413" y="336"/>
                    <a:pt x="399" y="338"/>
                  </a:cubicBezTo>
                  <a:moveTo>
                    <a:pt x="442" y="304"/>
                  </a:moveTo>
                  <a:cubicBezTo>
                    <a:pt x="394" y="304"/>
                    <a:pt x="347" y="317"/>
                    <a:pt x="304" y="350"/>
                  </a:cubicBezTo>
                  <a:cubicBezTo>
                    <a:pt x="286" y="364"/>
                    <a:pt x="269" y="380"/>
                    <a:pt x="253" y="398"/>
                  </a:cubicBezTo>
                  <a:cubicBezTo>
                    <a:pt x="253" y="398"/>
                    <a:pt x="253" y="398"/>
                    <a:pt x="253" y="398"/>
                  </a:cubicBezTo>
                  <a:cubicBezTo>
                    <a:pt x="253" y="398"/>
                    <a:pt x="252" y="399"/>
                    <a:pt x="252" y="400"/>
                  </a:cubicBezTo>
                  <a:cubicBezTo>
                    <a:pt x="243" y="410"/>
                    <a:pt x="235" y="421"/>
                    <a:pt x="226" y="432"/>
                  </a:cubicBezTo>
                  <a:cubicBezTo>
                    <a:pt x="223" y="436"/>
                    <a:pt x="221" y="438"/>
                    <a:pt x="221" y="439"/>
                  </a:cubicBezTo>
                  <a:cubicBezTo>
                    <a:pt x="220" y="440"/>
                    <a:pt x="220" y="440"/>
                    <a:pt x="220" y="440"/>
                  </a:cubicBezTo>
                  <a:cubicBezTo>
                    <a:pt x="212" y="451"/>
                    <a:pt x="204" y="463"/>
                    <a:pt x="196" y="476"/>
                  </a:cubicBezTo>
                  <a:cubicBezTo>
                    <a:pt x="195" y="475"/>
                    <a:pt x="195" y="475"/>
                    <a:pt x="195" y="475"/>
                  </a:cubicBezTo>
                  <a:cubicBezTo>
                    <a:pt x="192" y="480"/>
                    <a:pt x="190" y="485"/>
                    <a:pt x="188" y="489"/>
                  </a:cubicBezTo>
                  <a:cubicBezTo>
                    <a:pt x="97" y="643"/>
                    <a:pt x="43" y="855"/>
                    <a:pt x="10" y="1014"/>
                  </a:cubicBezTo>
                  <a:cubicBezTo>
                    <a:pt x="7" y="1028"/>
                    <a:pt x="3" y="1042"/>
                    <a:pt x="0" y="1057"/>
                  </a:cubicBezTo>
                  <a:cubicBezTo>
                    <a:pt x="13" y="1057"/>
                    <a:pt x="13" y="1057"/>
                    <a:pt x="13" y="1057"/>
                  </a:cubicBezTo>
                  <a:cubicBezTo>
                    <a:pt x="16" y="1043"/>
                    <a:pt x="19" y="1029"/>
                    <a:pt x="22" y="1014"/>
                  </a:cubicBezTo>
                  <a:cubicBezTo>
                    <a:pt x="24" y="1005"/>
                    <a:pt x="26" y="995"/>
                    <a:pt x="29" y="986"/>
                  </a:cubicBezTo>
                  <a:cubicBezTo>
                    <a:pt x="33" y="982"/>
                    <a:pt x="43" y="974"/>
                    <a:pt x="57" y="964"/>
                  </a:cubicBezTo>
                  <a:cubicBezTo>
                    <a:pt x="49" y="994"/>
                    <a:pt x="41" y="1025"/>
                    <a:pt x="33" y="1057"/>
                  </a:cubicBezTo>
                  <a:cubicBezTo>
                    <a:pt x="44" y="1057"/>
                    <a:pt x="44" y="1057"/>
                    <a:pt x="44" y="1057"/>
                  </a:cubicBezTo>
                  <a:cubicBezTo>
                    <a:pt x="53" y="1022"/>
                    <a:pt x="62" y="987"/>
                    <a:pt x="71" y="954"/>
                  </a:cubicBezTo>
                  <a:cubicBezTo>
                    <a:pt x="80" y="948"/>
                    <a:pt x="90" y="941"/>
                    <a:pt x="100" y="934"/>
                  </a:cubicBezTo>
                  <a:cubicBezTo>
                    <a:pt x="98" y="941"/>
                    <a:pt x="97" y="948"/>
                    <a:pt x="95" y="954"/>
                  </a:cubicBezTo>
                  <a:cubicBezTo>
                    <a:pt x="95" y="956"/>
                    <a:pt x="95" y="956"/>
                    <a:pt x="95" y="956"/>
                  </a:cubicBezTo>
                  <a:cubicBezTo>
                    <a:pt x="87" y="984"/>
                    <a:pt x="81" y="1012"/>
                    <a:pt x="74" y="1039"/>
                  </a:cubicBezTo>
                  <a:cubicBezTo>
                    <a:pt x="65" y="1045"/>
                    <a:pt x="58" y="1051"/>
                    <a:pt x="50" y="1057"/>
                  </a:cubicBezTo>
                  <a:cubicBezTo>
                    <a:pt x="81" y="1057"/>
                    <a:pt x="81" y="1057"/>
                    <a:pt x="81" y="1057"/>
                  </a:cubicBezTo>
                  <a:cubicBezTo>
                    <a:pt x="82" y="1053"/>
                    <a:pt x="83" y="1050"/>
                    <a:pt x="83" y="1046"/>
                  </a:cubicBezTo>
                  <a:cubicBezTo>
                    <a:pt x="104" y="1032"/>
                    <a:pt x="127" y="1016"/>
                    <a:pt x="153" y="1000"/>
                  </a:cubicBezTo>
                  <a:cubicBezTo>
                    <a:pt x="148" y="1019"/>
                    <a:pt x="143" y="1038"/>
                    <a:pt x="138" y="1057"/>
                  </a:cubicBezTo>
                  <a:cubicBezTo>
                    <a:pt x="150" y="1057"/>
                    <a:pt x="150" y="1057"/>
                    <a:pt x="150" y="1057"/>
                  </a:cubicBezTo>
                  <a:cubicBezTo>
                    <a:pt x="155" y="1036"/>
                    <a:pt x="161" y="1014"/>
                    <a:pt x="167" y="992"/>
                  </a:cubicBezTo>
                  <a:cubicBezTo>
                    <a:pt x="187" y="980"/>
                    <a:pt x="209" y="968"/>
                    <a:pt x="233" y="957"/>
                  </a:cubicBezTo>
                  <a:cubicBezTo>
                    <a:pt x="232" y="960"/>
                    <a:pt x="231" y="963"/>
                    <a:pt x="231" y="966"/>
                  </a:cubicBezTo>
                  <a:cubicBezTo>
                    <a:pt x="224" y="995"/>
                    <a:pt x="217" y="1023"/>
                    <a:pt x="210" y="1050"/>
                  </a:cubicBezTo>
                  <a:cubicBezTo>
                    <a:pt x="205" y="1052"/>
                    <a:pt x="201" y="1054"/>
                    <a:pt x="197" y="1057"/>
                  </a:cubicBezTo>
                  <a:cubicBezTo>
                    <a:pt x="222" y="1057"/>
                    <a:pt x="222" y="1057"/>
                    <a:pt x="222" y="1057"/>
                  </a:cubicBezTo>
                  <a:cubicBezTo>
                    <a:pt x="242" y="1047"/>
                    <a:pt x="263" y="1037"/>
                    <a:pt x="285" y="1029"/>
                  </a:cubicBezTo>
                  <a:cubicBezTo>
                    <a:pt x="282" y="1038"/>
                    <a:pt x="280" y="1048"/>
                    <a:pt x="277" y="1057"/>
                  </a:cubicBezTo>
                  <a:cubicBezTo>
                    <a:pt x="289" y="1057"/>
                    <a:pt x="289" y="1057"/>
                    <a:pt x="289" y="1057"/>
                  </a:cubicBezTo>
                  <a:cubicBezTo>
                    <a:pt x="292" y="1046"/>
                    <a:pt x="295" y="1035"/>
                    <a:pt x="298" y="1025"/>
                  </a:cubicBezTo>
                  <a:cubicBezTo>
                    <a:pt x="318" y="1017"/>
                    <a:pt x="339" y="1011"/>
                    <a:pt x="360" y="1006"/>
                  </a:cubicBezTo>
                  <a:cubicBezTo>
                    <a:pt x="356" y="1024"/>
                    <a:pt x="352" y="1040"/>
                    <a:pt x="347" y="1057"/>
                  </a:cubicBezTo>
                  <a:cubicBezTo>
                    <a:pt x="359" y="1057"/>
                    <a:pt x="359" y="1057"/>
                    <a:pt x="359" y="1057"/>
                  </a:cubicBezTo>
                  <a:cubicBezTo>
                    <a:pt x="364" y="1039"/>
                    <a:pt x="368" y="1022"/>
                    <a:pt x="373" y="1004"/>
                  </a:cubicBezTo>
                  <a:cubicBezTo>
                    <a:pt x="393" y="999"/>
                    <a:pt x="413" y="997"/>
                    <a:pt x="432" y="995"/>
                  </a:cubicBezTo>
                  <a:cubicBezTo>
                    <a:pt x="428" y="1017"/>
                    <a:pt x="422" y="1037"/>
                    <a:pt x="416" y="1057"/>
                  </a:cubicBezTo>
                  <a:cubicBezTo>
                    <a:pt x="428" y="1057"/>
                    <a:pt x="428" y="1057"/>
                    <a:pt x="428" y="1057"/>
                  </a:cubicBezTo>
                  <a:cubicBezTo>
                    <a:pt x="434" y="1037"/>
                    <a:pt x="439" y="1017"/>
                    <a:pt x="444" y="995"/>
                  </a:cubicBezTo>
                  <a:cubicBezTo>
                    <a:pt x="448" y="995"/>
                    <a:pt x="453" y="995"/>
                    <a:pt x="458" y="995"/>
                  </a:cubicBezTo>
                  <a:cubicBezTo>
                    <a:pt x="473" y="995"/>
                    <a:pt x="487" y="996"/>
                    <a:pt x="501" y="997"/>
                  </a:cubicBezTo>
                  <a:cubicBezTo>
                    <a:pt x="497" y="1018"/>
                    <a:pt x="492" y="1038"/>
                    <a:pt x="486" y="1057"/>
                  </a:cubicBezTo>
                  <a:cubicBezTo>
                    <a:pt x="498" y="1057"/>
                    <a:pt x="498" y="1057"/>
                    <a:pt x="498" y="1057"/>
                  </a:cubicBezTo>
                  <a:cubicBezTo>
                    <a:pt x="503" y="1038"/>
                    <a:pt x="508" y="1019"/>
                    <a:pt x="512" y="999"/>
                  </a:cubicBezTo>
                  <a:cubicBezTo>
                    <a:pt x="532" y="1001"/>
                    <a:pt x="550" y="1006"/>
                    <a:pt x="568" y="1011"/>
                  </a:cubicBezTo>
                  <a:cubicBezTo>
                    <a:pt x="564" y="1027"/>
                    <a:pt x="560" y="1042"/>
                    <a:pt x="556" y="1057"/>
                  </a:cubicBezTo>
                  <a:cubicBezTo>
                    <a:pt x="567" y="1057"/>
                    <a:pt x="567" y="1057"/>
                    <a:pt x="567" y="1057"/>
                  </a:cubicBezTo>
                  <a:cubicBezTo>
                    <a:pt x="572" y="1043"/>
                    <a:pt x="575" y="1029"/>
                    <a:pt x="578" y="1014"/>
                  </a:cubicBezTo>
                  <a:cubicBezTo>
                    <a:pt x="586" y="1017"/>
                    <a:pt x="594" y="1020"/>
                    <a:pt x="602" y="1023"/>
                  </a:cubicBezTo>
                  <a:cubicBezTo>
                    <a:pt x="602" y="1010"/>
                    <a:pt x="602" y="1010"/>
                    <a:pt x="602" y="1010"/>
                  </a:cubicBezTo>
                  <a:cubicBezTo>
                    <a:pt x="595" y="1008"/>
                    <a:pt x="588" y="1005"/>
                    <a:pt x="581" y="1003"/>
                  </a:cubicBezTo>
                  <a:cubicBezTo>
                    <a:pt x="581" y="1001"/>
                    <a:pt x="581" y="1000"/>
                    <a:pt x="581" y="998"/>
                  </a:cubicBezTo>
                  <a:cubicBezTo>
                    <a:pt x="585" y="976"/>
                    <a:pt x="589" y="951"/>
                    <a:pt x="594" y="925"/>
                  </a:cubicBezTo>
                  <a:cubicBezTo>
                    <a:pt x="597" y="926"/>
                    <a:pt x="599" y="927"/>
                    <a:pt x="602" y="928"/>
                  </a:cubicBezTo>
                  <a:cubicBezTo>
                    <a:pt x="602" y="915"/>
                    <a:pt x="602" y="915"/>
                    <a:pt x="602" y="915"/>
                  </a:cubicBezTo>
                  <a:cubicBezTo>
                    <a:pt x="600" y="915"/>
                    <a:pt x="599" y="914"/>
                    <a:pt x="597" y="913"/>
                  </a:cubicBezTo>
                  <a:cubicBezTo>
                    <a:pt x="598" y="906"/>
                    <a:pt x="600" y="898"/>
                    <a:pt x="602" y="890"/>
                  </a:cubicBezTo>
                  <a:cubicBezTo>
                    <a:pt x="602" y="836"/>
                    <a:pt x="602" y="836"/>
                    <a:pt x="602" y="836"/>
                  </a:cubicBezTo>
                  <a:cubicBezTo>
                    <a:pt x="601" y="840"/>
                    <a:pt x="600" y="843"/>
                    <a:pt x="599" y="847"/>
                  </a:cubicBezTo>
                  <a:cubicBezTo>
                    <a:pt x="595" y="868"/>
                    <a:pt x="590" y="889"/>
                    <a:pt x="586" y="910"/>
                  </a:cubicBezTo>
                  <a:cubicBezTo>
                    <a:pt x="569" y="904"/>
                    <a:pt x="551" y="899"/>
                    <a:pt x="533" y="896"/>
                  </a:cubicBezTo>
                  <a:cubicBezTo>
                    <a:pt x="537" y="874"/>
                    <a:pt x="542" y="852"/>
                    <a:pt x="548" y="830"/>
                  </a:cubicBezTo>
                  <a:cubicBezTo>
                    <a:pt x="548" y="826"/>
                    <a:pt x="549" y="821"/>
                    <a:pt x="550" y="817"/>
                  </a:cubicBezTo>
                  <a:cubicBezTo>
                    <a:pt x="568" y="822"/>
                    <a:pt x="585" y="827"/>
                    <a:pt x="602" y="834"/>
                  </a:cubicBezTo>
                  <a:cubicBezTo>
                    <a:pt x="602" y="821"/>
                    <a:pt x="602" y="821"/>
                    <a:pt x="602" y="821"/>
                  </a:cubicBezTo>
                  <a:cubicBezTo>
                    <a:pt x="586" y="815"/>
                    <a:pt x="570" y="810"/>
                    <a:pt x="553" y="805"/>
                  </a:cubicBezTo>
                  <a:cubicBezTo>
                    <a:pt x="559" y="779"/>
                    <a:pt x="565" y="752"/>
                    <a:pt x="571" y="725"/>
                  </a:cubicBezTo>
                  <a:cubicBezTo>
                    <a:pt x="581" y="728"/>
                    <a:pt x="592" y="731"/>
                    <a:pt x="602" y="735"/>
                  </a:cubicBezTo>
                  <a:cubicBezTo>
                    <a:pt x="602" y="723"/>
                    <a:pt x="602" y="723"/>
                    <a:pt x="602" y="723"/>
                  </a:cubicBezTo>
                  <a:cubicBezTo>
                    <a:pt x="592" y="719"/>
                    <a:pt x="583" y="716"/>
                    <a:pt x="573" y="713"/>
                  </a:cubicBezTo>
                  <a:cubicBezTo>
                    <a:pt x="578" y="689"/>
                    <a:pt x="583" y="665"/>
                    <a:pt x="588" y="640"/>
                  </a:cubicBezTo>
                  <a:cubicBezTo>
                    <a:pt x="592" y="642"/>
                    <a:pt x="597" y="644"/>
                    <a:pt x="602" y="647"/>
                  </a:cubicBezTo>
                  <a:cubicBezTo>
                    <a:pt x="602" y="634"/>
                    <a:pt x="602" y="634"/>
                    <a:pt x="602" y="634"/>
                  </a:cubicBezTo>
                  <a:cubicBezTo>
                    <a:pt x="598" y="632"/>
                    <a:pt x="594" y="630"/>
                    <a:pt x="590" y="628"/>
                  </a:cubicBezTo>
                  <a:cubicBezTo>
                    <a:pt x="594" y="604"/>
                    <a:pt x="598" y="580"/>
                    <a:pt x="602" y="556"/>
                  </a:cubicBezTo>
                  <a:cubicBezTo>
                    <a:pt x="602" y="439"/>
                    <a:pt x="602" y="439"/>
                    <a:pt x="602" y="439"/>
                  </a:cubicBezTo>
                  <a:cubicBezTo>
                    <a:pt x="602" y="446"/>
                    <a:pt x="601" y="453"/>
                    <a:pt x="601" y="460"/>
                  </a:cubicBezTo>
                  <a:cubicBezTo>
                    <a:pt x="586" y="454"/>
                    <a:pt x="571" y="448"/>
                    <a:pt x="556" y="444"/>
                  </a:cubicBezTo>
                  <a:cubicBezTo>
                    <a:pt x="558" y="427"/>
                    <a:pt x="560" y="411"/>
                    <a:pt x="562" y="396"/>
                  </a:cubicBezTo>
                  <a:cubicBezTo>
                    <a:pt x="575" y="399"/>
                    <a:pt x="589" y="404"/>
                    <a:pt x="602" y="409"/>
                  </a:cubicBezTo>
                  <a:cubicBezTo>
                    <a:pt x="602" y="396"/>
                    <a:pt x="602" y="396"/>
                    <a:pt x="602" y="396"/>
                  </a:cubicBezTo>
                  <a:cubicBezTo>
                    <a:pt x="589" y="391"/>
                    <a:pt x="576" y="387"/>
                    <a:pt x="563" y="384"/>
                  </a:cubicBezTo>
                  <a:cubicBezTo>
                    <a:pt x="564" y="378"/>
                    <a:pt x="564" y="373"/>
                    <a:pt x="565" y="367"/>
                  </a:cubicBezTo>
                  <a:cubicBezTo>
                    <a:pt x="577" y="371"/>
                    <a:pt x="589" y="376"/>
                    <a:pt x="601" y="381"/>
                  </a:cubicBezTo>
                  <a:cubicBezTo>
                    <a:pt x="602" y="383"/>
                    <a:pt x="602" y="386"/>
                    <a:pt x="602" y="388"/>
                  </a:cubicBezTo>
                  <a:cubicBezTo>
                    <a:pt x="602" y="343"/>
                    <a:pt x="602" y="343"/>
                    <a:pt x="602" y="343"/>
                  </a:cubicBezTo>
                  <a:cubicBezTo>
                    <a:pt x="551" y="320"/>
                    <a:pt x="496" y="304"/>
                    <a:pt x="442" y="304"/>
                  </a:cubicBezTo>
                  <a:moveTo>
                    <a:pt x="3415" y="1045"/>
                  </a:moveTo>
                  <a:cubicBezTo>
                    <a:pt x="3413" y="1044"/>
                    <a:pt x="3410" y="1044"/>
                    <a:pt x="3407" y="1043"/>
                  </a:cubicBezTo>
                  <a:cubicBezTo>
                    <a:pt x="3408" y="1034"/>
                    <a:pt x="3408" y="1025"/>
                    <a:pt x="3408" y="1016"/>
                  </a:cubicBezTo>
                  <a:cubicBezTo>
                    <a:pt x="3408" y="1012"/>
                    <a:pt x="3408" y="1007"/>
                    <a:pt x="3408" y="1003"/>
                  </a:cubicBezTo>
                  <a:cubicBezTo>
                    <a:pt x="3411" y="1016"/>
                    <a:pt x="3413" y="1030"/>
                    <a:pt x="3415" y="1045"/>
                  </a:cubicBezTo>
                  <a:moveTo>
                    <a:pt x="3376" y="1036"/>
                  </a:moveTo>
                  <a:cubicBezTo>
                    <a:pt x="3356" y="1032"/>
                    <a:pt x="3335" y="1028"/>
                    <a:pt x="3314" y="1025"/>
                  </a:cubicBezTo>
                  <a:cubicBezTo>
                    <a:pt x="3311" y="1001"/>
                    <a:pt x="3305" y="977"/>
                    <a:pt x="3299" y="955"/>
                  </a:cubicBezTo>
                  <a:cubicBezTo>
                    <a:pt x="3323" y="960"/>
                    <a:pt x="3348" y="966"/>
                    <a:pt x="3373" y="974"/>
                  </a:cubicBezTo>
                  <a:cubicBezTo>
                    <a:pt x="3374" y="972"/>
                    <a:pt x="3374" y="972"/>
                    <a:pt x="3374" y="972"/>
                  </a:cubicBezTo>
                  <a:cubicBezTo>
                    <a:pt x="3376" y="989"/>
                    <a:pt x="3377" y="1006"/>
                    <a:pt x="3377" y="1024"/>
                  </a:cubicBezTo>
                  <a:cubicBezTo>
                    <a:pt x="3377" y="1028"/>
                    <a:pt x="3377" y="1032"/>
                    <a:pt x="3376" y="1036"/>
                  </a:cubicBezTo>
                  <a:moveTo>
                    <a:pt x="2969" y="1036"/>
                  </a:moveTo>
                  <a:cubicBezTo>
                    <a:pt x="2957" y="1016"/>
                    <a:pt x="2946" y="995"/>
                    <a:pt x="2936" y="975"/>
                  </a:cubicBezTo>
                  <a:cubicBezTo>
                    <a:pt x="2934" y="970"/>
                    <a:pt x="2934" y="970"/>
                    <a:pt x="2934" y="970"/>
                  </a:cubicBezTo>
                  <a:cubicBezTo>
                    <a:pt x="2934" y="969"/>
                    <a:pt x="2933" y="968"/>
                    <a:pt x="2933" y="967"/>
                  </a:cubicBezTo>
                  <a:cubicBezTo>
                    <a:pt x="2955" y="960"/>
                    <a:pt x="2980" y="953"/>
                    <a:pt x="3008" y="947"/>
                  </a:cubicBezTo>
                  <a:cubicBezTo>
                    <a:pt x="3009" y="949"/>
                    <a:pt x="3010" y="951"/>
                    <a:pt x="3011" y="953"/>
                  </a:cubicBezTo>
                  <a:cubicBezTo>
                    <a:pt x="3021" y="975"/>
                    <a:pt x="3032" y="998"/>
                    <a:pt x="3043" y="1020"/>
                  </a:cubicBezTo>
                  <a:cubicBezTo>
                    <a:pt x="3017" y="1024"/>
                    <a:pt x="2992" y="1030"/>
                    <a:pt x="2969" y="1036"/>
                  </a:cubicBezTo>
                  <a:moveTo>
                    <a:pt x="3303" y="1023"/>
                  </a:moveTo>
                  <a:cubicBezTo>
                    <a:pt x="3279" y="1020"/>
                    <a:pt x="3255" y="1017"/>
                    <a:pt x="3231" y="1015"/>
                  </a:cubicBezTo>
                  <a:cubicBezTo>
                    <a:pt x="3223" y="989"/>
                    <a:pt x="3214" y="964"/>
                    <a:pt x="3206" y="940"/>
                  </a:cubicBezTo>
                  <a:cubicBezTo>
                    <a:pt x="3232" y="942"/>
                    <a:pt x="3259" y="946"/>
                    <a:pt x="3287" y="952"/>
                  </a:cubicBezTo>
                  <a:cubicBezTo>
                    <a:pt x="3293" y="975"/>
                    <a:pt x="3299" y="999"/>
                    <a:pt x="3303" y="1023"/>
                  </a:cubicBezTo>
                  <a:moveTo>
                    <a:pt x="3054" y="1019"/>
                  </a:moveTo>
                  <a:cubicBezTo>
                    <a:pt x="3043" y="995"/>
                    <a:pt x="3031" y="971"/>
                    <a:pt x="3021" y="948"/>
                  </a:cubicBezTo>
                  <a:cubicBezTo>
                    <a:pt x="3020" y="947"/>
                    <a:pt x="3020" y="946"/>
                    <a:pt x="3020" y="945"/>
                  </a:cubicBezTo>
                  <a:cubicBezTo>
                    <a:pt x="3044" y="941"/>
                    <a:pt x="3071" y="938"/>
                    <a:pt x="3099" y="936"/>
                  </a:cubicBezTo>
                  <a:cubicBezTo>
                    <a:pt x="3106" y="952"/>
                    <a:pt x="3112" y="968"/>
                    <a:pt x="3119" y="984"/>
                  </a:cubicBezTo>
                  <a:cubicBezTo>
                    <a:pt x="3123" y="994"/>
                    <a:pt x="3127" y="1003"/>
                    <a:pt x="3131" y="1013"/>
                  </a:cubicBezTo>
                  <a:cubicBezTo>
                    <a:pt x="3105" y="1014"/>
                    <a:pt x="3079" y="1015"/>
                    <a:pt x="3054" y="1019"/>
                  </a:cubicBezTo>
                  <a:moveTo>
                    <a:pt x="3143" y="1012"/>
                  </a:moveTo>
                  <a:cubicBezTo>
                    <a:pt x="3139" y="1001"/>
                    <a:pt x="3134" y="990"/>
                    <a:pt x="3129" y="979"/>
                  </a:cubicBezTo>
                  <a:cubicBezTo>
                    <a:pt x="3123" y="964"/>
                    <a:pt x="3117" y="950"/>
                    <a:pt x="3111" y="936"/>
                  </a:cubicBezTo>
                  <a:cubicBezTo>
                    <a:pt x="3118" y="936"/>
                    <a:pt x="3124" y="936"/>
                    <a:pt x="3131" y="936"/>
                  </a:cubicBezTo>
                  <a:cubicBezTo>
                    <a:pt x="3151" y="936"/>
                    <a:pt x="3172" y="936"/>
                    <a:pt x="3193" y="938"/>
                  </a:cubicBezTo>
                  <a:cubicBezTo>
                    <a:pt x="3202" y="962"/>
                    <a:pt x="3211" y="988"/>
                    <a:pt x="3219" y="1014"/>
                  </a:cubicBezTo>
                  <a:cubicBezTo>
                    <a:pt x="3198" y="1013"/>
                    <a:pt x="3177" y="1012"/>
                    <a:pt x="3157" y="1012"/>
                  </a:cubicBezTo>
                  <a:cubicBezTo>
                    <a:pt x="3152" y="1012"/>
                    <a:pt x="3148" y="1012"/>
                    <a:pt x="3143" y="1012"/>
                  </a:cubicBezTo>
                  <a:moveTo>
                    <a:pt x="2780" y="1048"/>
                  </a:moveTo>
                  <a:cubicBezTo>
                    <a:pt x="2776" y="1042"/>
                    <a:pt x="2771" y="1035"/>
                    <a:pt x="2767" y="1028"/>
                  </a:cubicBezTo>
                  <a:cubicBezTo>
                    <a:pt x="2759" y="1015"/>
                    <a:pt x="2751" y="1000"/>
                    <a:pt x="2743" y="986"/>
                  </a:cubicBezTo>
                  <a:cubicBezTo>
                    <a:pt x="2759" y="967"/>
                    <a:pt x="2778" y="949"/>
                    <a:pt x="2803" y="932"/>
                  </a:cubicBezTo>
                  <a:cubicBezTo>
                    <a:pt x="2814" y="954"/>
                    <a:pt x="2826" y="977"/>
                    <a:pt x="2838" y="999"/>
                  </a:cubicBezTo>
                  <a:cubicBezTo>
                    <a:pt x="2815" y="1014"/>
                    <a:pt x="2796" y="1031"/>
                    <a:pt x="2780" y="1048"/>
                  </a:cubicBezTo>
                  <a:moveTo>
                    <a:pt x="2848" y="993"/>
                  </a:moveTo>
                  <a:cubicBezTo>
                    <a:pt x="2835" y="970"/>
                    <a:pt x="2824" y="948"/>
                    <a:pt x="2812" y="925"/>
                  </a:cubicBezTo>
                  <a:cubicBezTo>
                    <a:pt x="2820" y="921"/>
                    <a:pt x="2828" y="916"/>
                    <a:pt x="2837" y="911"/>
                  </a:cubicBezTo>
                  <a:cubicBezTo>
                    <a:pt x="2851" y="904"/>
                    <a:pt x="2866" y="897"/>
                    <a:pt x="2882" y="890"/>
                  </a:cubicBezTo>
                  <a:cubicBezTo>
                    <a:pt x="2894" y="914"/>
                    <a:pt x="2905" y="937"/>
                    <a:pt x="2917" y="960"/>
                  </a:cubicBezTo>
                  <a:cubicBezTo>
                    <a:pt x="2901" y="966"/>
                    <a:pt x="2887" y="973"/>
                    <a:pt x="2875" y="978"/>
                  </a:cubicBezTo>
                  <a:cubicBezTo>
                    <a:pt x="2865" y="983"/>
                    <a:pt x="2856" y="988"/>
                    <a:pt x="2848" y="993"/>
                  </a:cubicBezTo>
                  <a:moveTo>
                    <a:pt x="3396" y="1040"/>
                  </a:moveTo>
                  <a:cubicBezTo>
                    <a:pt x="3394" y="1040"/>
                    <a:pt x="3391" y="1039"/>
                    <a:pt x="3388" y="1038"/>
                  </a:cubicBezTo>
                  <a:cubicBezTo>
                    <a:pt x="3388" y="1034"/>
                    <a:pt x="3388" y="1030"/>
                    <a:pt x="3388" y="1026"/>
                  </a:cubicBezTo>
                  <a:cubicBezTo>
                    <a:pt x="3388" y="977"/>
                    <a:pt x="3379" y="930"/>
                    <a:pt x="3370" y="889"/>
                  </a:cubicBezTo>
                  <a:cubicBezTo>
                    <a:pt x="3377" y="905"/>
                    <a:pt x="3385" y="926"/>
                    <a:pt x="3393" y="949"/>
                  </a:cubicBezTo>
                  <a:cubicBezTo>
                    <a:pt x="3395" y="971"/>
                    <a:pt x="3397" y="993"/>
                    <a:pt x="3397" y="1015"/>
                  </a:cubicBezTo>
                  <a:cubicBezTo>
                    <a:pt x="3397" y="1024"/>
                    <a:pt x="3397" y="1032"/>
                    <a:pt x="3396" y="1040"/>
                  </a:cubicBezTo>
                  <a:moveTo>
                    <a:pt x="3372" y="961"/>
                  </a:moveTo>
                  <a:cubicBezTo>
                    <a:pt x="3346" y="953"/>
                    <a:pt x="3320" y="947"/>
                    <a:pt x="3296" y="942"/>
                  </a:cubicBezTo>
                  <a:cubicBezTo>
                    <a:pt x="3291" y="925"/>
                    <a:pt x="3286" y="909"/>
                    <a:pt x="3282" y="893"/>
                  </a:cubicBezTo>
                  <a:cubicBezTo>
                    <a:pt x="3280" y="886"/>
                    <a:pt x="3278" y="879"/>
                    <a:pt x="3276" y="872"/>
                  </a:cubicBezTo>
                  <a:cubicBezTo>
                    <a:pt x="3303" y="879"/>
                    <a:pt x="3332" y="887"/>
                    <a:pt x="3360" y="897"/>
                  </a:cubicBezTo>
                  <a:cubicBezTo>
                    <a:pt x="3365" y="917"/>
                    <a:pt x="3369" y="939"/>
                    <a:pt x="3372" y="961"/>
                  </a:cubicBezTo>
                  <a:moveTo>
                    <a:pt x="2927" y="957"/>
                  </a:moveTo>
                  <a:cubicBezTo>
                    <a:pt x="2916" y="934"/>
                    <a:pt x="2904" y="910"/>
                    <a:pt x="2893" y="887"/>
                  </a:cubicBezTo>
                  <a:cubicBezTo>
                    <a:pt x="2917" y="878"/>
                    <a:pt x="2942" y="871"/>
                    <a:pt x="2970" y="865"/>
                  </a:cubicBezTo>
                  <a:cubicBezTo>
                    <a:pt x="2971" y="868"/>
                    <a:pt x="2972" y="870"/>
                    <a:pt x="2974" y="873"/>
                  </a:cubicBezTo>
                  <a:cubicBezTo>
                    <a:pt x="2984" y="895"/>
                    <a:pt x="2994" y="915"/>
                    <a:pt x="3003" y="936"/>
                  </a:cubicBezTo>
                  <a:cubicBezTo>
                    <a:pt x="2974" y="942"/>
                    <a:pt x="2949" y="949"/>
                    <a:pt x="2927" y="957"/>
                  </a:cubicBezTo>
                  <a:moveTo>
                    <a:pt x="3284" y="939"/>
                  </a:moveTo>
                  <a:cubicBezTo>
                    <a:pt x="3255" y="933"/>
                    <a:pt x="3227" y="930"/>
                    <a:pt x="3201" y="927"/>
                  </a:cubicBezTo>
                  <a:cubicBezTo>
                    <a:pt x="3197" y="916"/>
                    <a:pt x="3193" y="905"/>
                    <a:pt x="3190" y="894"/>
                  </a:cubicBezTo>
                  <a:cubicBezTo>
                    <a:pt x="3185" y="881"/>
                    <a:pt x="3180" y="868"/>
                    <a:pt x="3175" y="855"/>
                  </a:cubicBezTo>
                  <a:cubicBezTo>
                    <a:pt x="3204" y="858"/>
                    <a:pt x="3233" y="862"/>
                    <a:pt x="3263" y="869"/>
                  </a:cubicBezTo>
                  <a:cubicBezTo>
                    <a:pt x="3263" y="870"/>
                    <a:pt x="3263" y="870"/>
                    <a:pt x="3263" y="871"/>
                  </a:cubicBezTo>
                  <a:cubicBezTo>
                    <a:pt x="3266" y="879"/>
                    <a:pt x="3268" y="888"/>
                    <a:pt x="3271" y="897"/>
                  </a:cubicBezTo>
                  <a:cubicBezTo>
                    <a:pt x="3275" y="910"/>
                    <a:pt x="3279" y="924"/>
                    <a:pt x="3284" y="939"/>
                  </a:cubicBezTo>
                  <a:moveTo>
                    <a:pt x="2738" y="975"/>
                  </a:moveTo>
                  <a:cubicBezTo>
                    <a:pt x="2727" y="955"/>
                    <a:pt x="2716" y="934"/>
                    <a:pt x="2706" y="912"/>
                  </a:cubicBezTo>
                  <a:cubicBezTo>
                    <a:pt x="2722" y="891"/>
                    <a:pt x="2743" y="872"/>
                    <a:pt x="2766" y="855"/>
                  </a:cubicBezTo>
                  <a:cubicBezTo>
                    <a:pt x="2776" y="877"/>
                    <a:pt x="2787" y="899"/>
                    <a:pt x="2798" y="921"/>
                  </a:cubicBezTo>
                  <a:cubicBezTo>
                    <a:pt x="2773" y="938"/>
                    <a:pt x="2753" y="956"/>
                    <a:pt x="2738" y="975"/>
                  </a:cubicBezTo>
                  <a:moveTo>
                    <a:pt x="3014" y="934"/>
                  </a:moveTo>
                  <a:cubicBezTo>
                    <a:pt x="3004" y="912"/>
                    <a:pt x="2994" y="890"/>
                    <a:pt x="2984" y="868"/>
                  </a:cubicBezTo>
                  <a:cubicBezTo>
                    <a:pt x="2983" y="866"/>
                    <a:pt x="2982" y="864"/>
                    <a:pt x="2981" y="863"/>
                  </a:cubicBezTo>
                  <a:cubicBezTo>
                    <a:pt x="3007" y="858"/>
                    <a:pt x="3035" y="854"/>
                    <a:pt x="3063" y="853"/>
                  </a:cubicBezTo>
                  <a:cubicBezTo>
                    <a:pt x="3074" y="877"/>
                    <a:pt x="3085" y="900"/>
                    <a:pt x="3095" y="925"/>
                  </a:cubicBezTo>
                  <a:cubicBezTo>
                    <a:pt x="3066" y="926"/>
                    <a:pt x="3039" y="929"/>
                    <a:pt x="3014" y="934"/>
                  </a:cubicBezTo>
                  <a:moveTo>
                    <a:pt x="3107" y="924"/>
                  </a:moveTo>
                  <a:cubicBezTo>
                    <a:pt x="3106" y="923"/>
                    <a:pt x="3106" y="922"/>
                    <a:pt x="3105" y="921"/>
                  </a:cubicBezTo>
                  <a:cubicBezTo>
                    <a:pt x="3096" y="898"/>
                    <a:pt x="3086" y="875"/>
                    <a:pt x="3076" y="852"/>
                  </a:cubicBezTo>
                  <a:cubicBezTo>
                    <a:pt x="3086" y="852"/>
                    <a:pt x="3095" y="851"/>
                    <a:pt x="3106" y="851"/>
                  </a:cubicBezTo>
                  <a:cubicBezTo>
                    <a:pt x="3124" y="851"/>
                    <a:pt x="3143" y="852"/>
                    <a:pt x="3162" y="854"/>
                  </a:cubicBezTo>
                  <a:cubicBezTo>
                    <a:pt x="3168" y="868"/>
                    <a:pt x="3174" y="883"/>
                    <a:pt x="3179" y="898"/>
                  </a:cubicBezTo>
                  <a:cubicBezTo>
                    <a:pt x="3182" y="907"/>
                    <a:pt x="3186" y="916"/>
                    <a:pt x="3189" y="926"/>
                  </a:cubicBezTo>
                  <a:cubicBezTo>
                    <a:pt x="3169" y="924"/>
                    <a:pt x="3150" y="924"/>
                    <a:pt x="3131" y="924"/>
                  </a:cubicBezTo>
                  <a:cubicBezTo>
                    <a:pt x="3123" y="924"/>
                    <a:pt x="3115" y="924"/>
                    <a:pt x="3107" y="924"/>
                  </a:cubicBezTo>
                  <a:moveTo>
                    <a:pt x="3410" y="967"/>
                  </a:moveTo>
                  <a:cubicBezTo>
                    <a:pt x="3408" y="960"/>
                    <a:pt x="3406" y="953"/>
                    <a:pt x="3404" y="946"/>
                  </a:cubicBezTo>
                  <a:cubicBezTo>
                    <a:pt x="3399" y="910"/>
                    <a:pt x="3392" y="875"/>
                    <a:pt x="3384" y="842"/>
                  </a:cubicBezTo>
                  <a:cubicBezTo>
                    <a:pt x="3388" y="853"/>
                    <a:pt x="3392" y="864"/>
                    <a:pt x="3395" y="876"/>
                  </a:cubicBezTo>
                  <a:cubicBezTo>
                    <a:pt x="3400" y="903"/>
                    <a:pt x="3406" y="934"/>
                    <a:pt x="3410" y="967"/>
                  </a:cubicBezTo>
                  <a:moveTo>
                    <a:pt x="2807" y="915"/>
                  </a:moveTo>
                  <a:cubicBezTo>
                    <a:pt x="2796" y="893"/>
                    <a:pt x="2786" y="870"/>
                    <a:pt x="2776" y="848"/>
                  </a:cubicBezTo>
                  <a:cubicBezTo>
                    <a:pt x="2782" y="844"/>
                    <a:pt x="2788" y="840"/>
                    <a:pt x="2795" y="836"/>
                  </a:cubicBezTo>
                  <a:cubicBezTo>
                    <a:pt x="2810" y="827"/>
                    <a:pt x="2827" y="819"/>
                    <a:pt x="2846" y="812"/>
                  </a:cubicBezTo>
                  <a:cubicBezTo>
                    <a:pt x="2856" y="835"/>
                    <a:pt x="2867" y="858"/>
                    <a:pt x="2877" y="880"/>
                  </a:cubicBezTo>
                  <a:cubicBezTo>
                    <a:pt x="2861" y="886"/>
                    <a:pt x="2846" y="893"/>
                    <a:pt x="2832" y="901"/>
                  </a:cubicBezTo>
                  <a:cubicBezTo>
                    <a:pt x="2823" y="905"/>
                    <a:pt x="2815" y="910"/>
                    <a:pt x="2807" y="915"/>
                  </a:cubicBezTo>
                  <a:moveTo>
                    <a:pt x="3357" y="883"/>
                  </a:moveTo>
                  <a:cubicBezTo>
                    <a:pt x="3328" y="873"/>
                    <a:pt x="3300" y="865"/>
                    <a:pt x="3271" y="858"/>
                  </a:cubicBezTo>
                  <a:cubicBezTo>
                    <a:pt x="3264" y="835"/>
                    <a:pt x="3256" y="813"/>
                    <a:pt x="3246" y="790"/>
                  </a:cubicBezTo>
                  <a:cubicBezTo>
                    <a:pt x="3278" y="799"/>
                    <a:pt x="3309" y="809"/>
                    <a:pt x="3341" y="823"/>
                  </a:cubicBezTo>
                  <a:cubicBezTo>
                    <a:pt x="3342" y="821"/>
                    <a:pt x="3342" y="821"/>
                    <a:pt x="3342" y="821"/>
                  </a:cubicBezTo>
                  <a:cubicBezTo>
                    <a:pt x="3344" y="829"/>
                    <a:pt x="3346" y="836"/>
                    <a:pt x="3348" y="843"/>
                  </a:cubicBezTo>
                  <a:cubicBezTo>
                    <a:pt x="3349" y="850"/>
                    <a:pt x="3351" y="857"/>
                    <a:pt x="3353" y="864"/>
                  </a:cubicBezTo>
                  <a:cubicBezTo>
                    <a:pt x="3354" y="870"/>
                    <a:pt x="3356" y="877"/>
                    <a:pt x="3357" y="883"/>
                  </a:cubicBezTo>
                  <a:moveTo>
                    <a:pt x="2888" y="876"/>
                  </a:moveTo>
                  <a:cubicBezTo>
                    <a:pt x="2877" y="854"/>
                    <a:pt x="2867" y="831"/>
                    <a:pt x="2856" y="807"/>
                  </a:cubicBezTo>
                  <a:cubicBezTo>
                    <a:pt x="2880" y="798"/>
                    <a:pt x="2905" y="791"/>
                    <a:pt x="2933" y="784"/>
                  </a:cubicBezTo>
                  <a:cubicBezTo>
                    <a:pt x="2943" y="808"/>
                    <a:pt x="2954" y="831"/>
                    <a:pt x="2965" y="854"/>
                  </a:cubicBezTo>
                  <a:cubicBezTo>
                    <a:pt x="2937" y="860"/>
                    <a:pt x="2911" y="867"/>
                    <a:pt x="2888" y="876"/>
                  </a:cubicBezTo>
                  <a:moveTo>
                    <a:pt x="3259" y="855"/>
                  </a:moveTo>
                  <a:cubicBezTo>
                    <a:pt x="3228" y="849"/>
                    <a:pt x="3199" y="845"/>
                    <a:pt x="3170" y="842"/>
                  </a:cubicBezTo>
                  <a:cubicBezTo>
                    <a:pt x="3160" y="819"/>
                    <a:pt x="3149" y="795"/>
                    <a:pt x="3138" y="771"/>
                  </a:cubicBezTo>
                  <a:cubicBezTo>
                    <a:pt x="3169" y="774"/>
                    <a:pt x="3200" y="779"/>
                    <a:pt x="3232" y="787"/>
                  </a:cubicBezTo>
                  <a:cubicBezTo>
                    <a:pt x="3242" y="810"/>
                    <a:pt x="3251" y="832"/>
                    <a:pt x="3259" y="855"/>
                  </a:cubicBezTo>
                  <a:moveTo>
                    <a:pt x="2976" y="851"/>
                  </a:moveTo>
                  <a:cubicBezTo>
                    <a:pt x="2965" y="829"/>
                    <a:pt x="2955" y="805"/>
                    <a:pt x="2944" y="782"/>
                  </a:cubicBezTo>
                  <a:cubicBezTo>
                    <a:pt x="2970" y="776"/>
                    <a:pt x="2997" y="772"/>
                    <a:pt x="3026" y="770"/>
                  </a:cubicBezTo>
                  <a:cubicBezTo>
                    <a:pt x="3032" y="784"/>
                    <a:pt x="3038" y="797"/>
                    <a:pt x="3044" y="811"/>
                  </a:cubicBezTo>
                  <a:cubicBezTo>
                    <a:pt x="3049" y="821"/>
                    <a:pt x="3054" y="831"/>
                    <a:pt x="3058" y="841"/>
                  </a:cubicBezTo>
                  <a:cubicBezTo>
                    <a:pt x="3029" y="843"/>
                    <a:pt x="3002" y="846"/>
                    <a:pt x="2976" y="851"/>
                  </a:cubicBezTo>
                  <a:moveTo>
                    <a:pt x="3070" y="840"/>
                  </a:moveTo>
                  <a:cubicBezTo>
                    <a:pt x="3065" y="829"/>
                    <a:pt x="3060" y="817"/>
                    <a:pt x="3054" y="805"/>
                  </a:cubicBezTo>
                  <a:cubicBezTo>
                    <a:pt x="3049" y="794"/>
                    <a:pt x="3043" y="782"/>
                    <a:pt x="3038" y="769"/>
                  </a:cubicBezTo>
                  <a:cubicBezTo>
                    <a:pt x="3050" y="769"/>
                    <a:pt x="3063" y="768"/>
                    <a:pt x="3076" y="768"/>
                  </a:cubicBezTo>
                  <a:cubicBezTo>
                    <a:pt x="3092" y="768"/>
                    <a:pt x="3109" y="769"/>
                    <a:pt x="3125" y="770"/>
                  </a:cubicBezTo>
                  <a:cubicBezTo>
                    <a:pt x="3136" y="794"/>
                    <a:pt x="3147" y="818"/>
                    <a:pt x="3157" y="841"/>
                  </a:cubicBezTo>
                  <a:cubicBezTo>
                    <a:pt x="3139" y="840"/>
                    <a:pt x="3122" y="839"/>
                    <a:pt x="3105" y="839"/>
                  </a:cubicBezTo>
                  <a:cubicBezTo>
                    <a:pt x="3093" y="839"/>
                    <a:pt x="3082" y="839"/>
                    <a:pt x="3070" y="840"/>
                  </a:cubicBezTo>
                  <a:moveTo>
                    <a:pt x="3384" y="893"/>
                  </a:moveTo>
                  <a:cubicBezTo>
                    <a:pt x="3371" y="863"/>
                    <a:pt x="3361" y="843"/>
                    <a:pt x="3358" y="840"/>
                  </a:cubicBezTo>
                  <a:cubicBezTo>
                    <a:pt x="3350" y="802"/>
                    <a:pt x="3336" y="768"/>
                    <a:pt x="3320" y="732"/>
                  </a:cubicBezTo>
                  <a:cubicBezTo>
                    <a:pt x="3329" y="743"/>
                    <a:pt x="3342" y="759"/>
                    <a:pt x="3354" y="779"/>
                  </a:cubicBezTo>
                  <a:cubicBezTo>
                    <a:pt x="3365" y="815"/>
                    <a:pt x="3376" y="853"/>
                    <a:pt x="3384" y="893"/>
                  </a:cubicBezTo>
                  <a:moveTo>
                    <a:pt x="2771" y="837"/>
                  </a:moveTo>
                  <a:cubicBezTo>
                    <a:pt x="2760" y="814"/>
                    <a:pt x="2750" y="791"/>
                    <a:pt x="2741" y="767"/>
                  </a:cubicBezTo>
                  <a:cubicBezTo>
                    <a:pt x="2745" y="765"/>
                    <a:pt x="2749" y="762"/>
                    <a:pt x="2753" y="760"/>
                  </a:cubicBezTo>
                  <a:cubicBezTo>
                    <a:pt x="2771" y="749"/>
                    <a:pt x="2790" y="739"/>
                    <a:pt x="2811" y="730"/>
                  </a:cubicBezTo>
                  <a:cubicBezTo>
                    <a:pt x="2821" y="754"/>
                    <a:pt x="2831" y="778"/>
                    <a:pt x="2841" y="801"/>
                  </a:cubicBezTo>
                  <a:cubicBezTo>
                    <a:pt x="2822" y="809"/>
                    <a:pt x="2805" y="817"/>
                    <a:pt x="2790" y="826"/>
                  </a:cubicBezTo>
                  <a:cubicBezTo>
                    <a:pt x="2783" y="829"/>
                    <a:pt x="2777" y="833"/>
                    <a:pt x="2771" y="837"/>
                  </a:cubicBezTo>
                  <a:moveTo>
                    <a:pt x="3338" y="809"/>
                  </a:moveTo>
                  <a:cubicBezTo>
                    <a:pt x="3305" y="795"/>
                    <a:pt x="3273" y="785"/>
                    <a:pt x="3240" y="777"/>
                  </a:cubicBezTo>
                  <a:cubicBezTo>
                    <a:pt x="3232" y="758"/>
                    <a:pt x="3224" y="740"/>
                    <a:pt x="3215" y="721"/>
                  </a:cubicBezTo>
                  <a:cubicBezTo>
                    <a:pt x="3213" y="716"/>
                    <a:pt x="3210" y="712"/>
                    <a:pt x="3208" y="707"/>
                  </a:cubicBezTo>
                  <a:cubicBezTo>
                    <a:pt x="3244" y="717"/>
                    <a:pt x="3279" y="730"/>
                    <a:pt x="3314" y="747"/>
                  </a:cubicBezTo>
                  <a:cubicBezTo>
                    <a:pt x="3323" y="768"/>
                    <a:pt x="3332" y="788"/>
                    <a:pt x="3338" y="809"/>
                  </a:cubicBezTo>
                  <a:moveTo>
                    <a:pt x="2851" y="797"/>
                  </a:moveTo>
                  <a:cubicBezTo>
                    <a:pt x="2841" y="774"/>
                    <a:pt x="2831" y="750"/>
                    <a:pt x="2822" y="726"/>
                  </a:cubicBezTo>
                  <a:cubicBezTo>
                    <a:pt x="2845" y="716"/>
                    <a:pt x="2871" y="708"/>
                    <a:pt x="2898" y="702"/>
                  </a:cubicBezTo>
                  <a:cubicBezTo>
                    <a:pt x="2907" y="726"/>
                    <a:pt x="2918" y="750"/>
                    <a:pt x="2928" y="773"/>
                  </a:cubicBezTo>
                  <a:cubicBezTo>
                    <a:pt x="2900" y="780"/>
                    <a:pt x="2875" y="788"/>
                    <a:pt x="2851" y="797"/>
                  </a:cubicBezTo>
                  <a:moveTo>
                    <a:pt x="3226" y="773"/>
                  </a:moveTo>
                  <a:cubicBezTo>
                    <a:pt x="3194" y="766"/>
                    <a:pt x="3163" y="761"/>
                    <a:pt x="3132" y="759"/>
                  </a:cubicBezTo>
                  <a:cubicBezTo>
                    <a:pt x="3122" y="736"/>
                    <a:pt x="3111" y="712"/>
                    <a:pt x="3100" y="687"/>
                  </a:cubicBezTo>
                  <a:cubicBezTo>
                    <a:pt x="3131" y="690"/>
                    <a:pt x="3163" y="695"/>
                    <a:pt x="3194" y="703"/>
                  </a:cubicBezTo>
                  <a:cubicBezTo>
                    <a:pt x="3198" y="711"/>
                    <a:pt x="3201" y="719"/>
                    <a:pt x="3205" y="726"/>
                  </a:cubicBezTo>
                  <a:cubicBezTo>
                    <a:pt x="3212" y="742"/>
                    <a:pt x="3220" y="758"/>
                    <a:pt x="3226" y="773"/>
                  </a:cubicBezTo>
                  <a:moveTo>
                    <a:pt x="2939" y="771"/>
                  </a:moveTo>
                  <a:cubicBezTo>
                    <a:pt x="2929" y="748"/>
                    <a:pt x="2919" y="724"/>
                    <a:pt x="2909" y="699"/>
                  </a:cubicBezTo>
                  <a:cubicBezTo>
                    <a:pt x="2935" y="693"/>
                    <a:pt x="2962" y="689"/>
                    <a:pt x="2989" y="687"/>
                  </a:cubicBezTo>
                  <a:cubicBezTo>
                    <a:pt x="3000" y="712"/>
                    <a:pt x="3010" y="736"/>
                    <a:pt x="3020" y="759"/>
                  </a:cubicBezTo>
                  <a:cubicBezTo>
                    <a:pt x="2992" y="761"/>
                    <a:pt x="2965" y="765"/>
                    <a:pt x="2939" y="771"/>
                  </a:cubicBezTo>
                  <a:moveTo>
                    <a:pt x="3032" y="758"/>
                  </a:moveTo>
                  <a:cubicBezTo>
                    <a:pt x="3022" y="735"/>
                    <a:pt x="3012" y="711"/>
                    <a:pt x="3001" y="686"/>
                  </a:cubicBezTo>
                  <a:cubicBezTo>
                    <a:pt x="3015" y="685"/>
                    <a:pt x="3028" y="685"/>
                    <a:pt x="3042" y="685"/>
                  </a:cubicBezTo>
                  <a:cubicBezTo>
                    <a:pt x="3057" y="685"/>
                    <a:pt x="3072" y="685"/>
                    <a:pt x="3087" y="686"/>
                  </a:cubicBezTo>
                  <a:cubicBezTo>
                    <a:pt x="3098" y="711"/>
                    <a:pt x="3109" y="735"/>
                    <a:pt x="3120" y="758"/>
                  </a:cubicBezTo>
                  <a:cubicBezTo>
                    <a:pt x="3105" y="757"/>
                    <a:pt x="3091" y="756"/>
                    <a:pt x="3076" y="756"/>
                  </a:cubicBezTo>
                  <a:cubicBezTo>
                    <a:pt x="3061" y="756"/>
                    <a:pt x="3047" y="757"/>
                    <a:pt x="3032" y="758"/>
                  </a:cubicBezTo>
                  <a:moveTo>
                    <a:pt x="3376" y="795"/>
                  </a:moveTo>
                  <a:cubicBezTo>
                    <a:pt x="3372" y="788"/>
                    <a:pt x="3368" y="780"/>
                    <a:pt x="3364" y="774"/>
                  </a:cubicBezTo>
                  <a:cubicBezTo>
                    <a:pt x="3363" y="771"/>
                    <a:pt x="3363" y="769"/>
                    <a:pt x="3362" y="767"/>
                  </a:cubicBezTo>
                  <a:cubicBezTo>
                    <a:pt x="3351" y="734"/>
                    <a:pt x="3339" y="703"/>
                    <a:pt x="3327" y="676"/>
                  </a:cubicBezTo>
                  <a:cubicBezTo>
                    <a:pt x="3331" y="680"/>
                    <a:pt x="3335" y="684"/>
                    <a:pt x="3339" y="689"/>
                  </a:cubicBezTo>
                  <a:cubicBezTo>
                    <a:pt x="3351" y="717"/>
                    <a:pt x="3364" y="751"/>
                    <a:pt x="3376" y="795"/>
                  </a:cubicBezTo>
                  <a:moveTo>
                    <a:pt x="3306" y="702"/>
                  </a:moveTo>
                  <a:cubicBezTo>
                    <a:pt x="3304" y="697"/>
                    <a:pt x="3301" y="692"/>
                    <a:pt x="3299" y="686"/>
                  </a:cubicBezTo>
                  <a:cubicBezTo>
                    <a:pt x="3293" y="675"/>
                    <a:pt x="3288" y="663"/>
                    <a:pt x="3282" y="651"/>
                  </a:cubicBezTo>
                  <a:cubicBezTo>
                    <a:pt x="3283" y="651"/>
                    <a:pt x="3283" y="651"/>
                    <a:pt x="3283" y="651"/>
                  </a:cubicBezTo>
                  <a:cubicBezTo>
                    <a:pt x="3288" y="651"/>
                    <a:pt x="3297" y="653"/>
                    <a:pt x="3308" y="660"/>
                  </a:cubicBezTo>
                  <a:cubicBezTo>
                    <a:pt x="3318" y="682"/>
                    <a:pt x="3328" y="708"/>
                    <a:pt x="3339" y="736"/>
                  </a:cubicBezTo>
                  <a:cubicBezTo>
                    <a:pt x="3321" y="714"/>
                    <a:pt x="3308" y="702"/>
                    <a:pt x="3306" y="701"/>
                  </a:cubicBezTo>
                  <a:cubicBezTo>
                    <a:pt x="3306" y="702"/>
                    <a:pt x="3306" y="702"/>
                    <a:pt x="3306" y="702"/>
                  </a:cubicBezTo>
                  <a:moveTo>
                    <a:pt x="2737" y="756"/>
                  </a:moveTo>
                  <a:cubicBezTo>
                    <a:pt x="2727" y="732"/>
                    <a:pt x="2718" y="708"/>
                    <a:pt x="2710" y="684"/>
                  </a:cubicBezTo>
                  <a:cubicBezTo>
                    <a:pt x="2710" y="684"/>
                    <a:pt x="2710" y="683"/>
                    <a:pt x="2711" y="683"/>
                  </a:cubicBezTo>
                  <a:cubicBezTo>
                    <a:pt x="2732" y="669"/>
                    <a:pt x="2755" y="657"/>
                    <a:pt x="2780" y="645"/>
                  </a:cubicBezTo>
                  <a:cubicBezTo>
                    <a:pt x="2789" y="671"/>
                    <a:pt x="2798" y="695"/>
                    <a:pt x="2807" y="719"/>
                  </a:cubicBezTo>
                  <a:cubicBezTo>
                    <a:pt x="2786" y="728"/>
                    <a:pt x="2766" y="738"/>
                    <a:pt x="2747" y="749"/>
                  </a:cubicBezTo>
                  <a:cubicBezTo>
                    <a:pt x="2744" y="751"/>
                    <a:pt x="2740" y="754"/>
                    <a:pt x="2737" y="756"/>
                  </a:cubicBezTo>
                  <a:moveTo>
                    <a:pt x="3323" y="656"/>
                  </a:moveTo>
                  <a:cubicBezTo>
                    <a:pt x="3321" y="655"/>
                    <a:pt x="3319" y="653"/>
                    <a:pt x="3317" y="652"/>
                  </a:cubicBezTo>
                  <a:cubicBezTo>
                    <a:pt x="3312" y="640"/>
                    <a:pt x="3307" y="629"/>
                    <a:pt x="3302" y="620"/>
                  </a:cubicBezTo>
                  <a:cubicBezTo>
                    <a:pt x="3309" y="631"/>
                    <a:pt x="3316" y="643"/>
                    <a:pt x="3323" y="656"/>
                  </a:cubicBezTo>
                  <a:moveTo>
                    <a:pt x="3307" y="730"/>
                  </a:moveTo>
                  <a:cubicBezTo>
                    <a:pt x="3272" y="714"/>
                    <a:pt x="3237" y="702"/>
                    <a:pt x="3202" y="693"/>
                  </a:cubicBezTo>
                  <a:cubicBezTo>
                    <a:pt x="3191" y="670"/>
                    <a:pt x="3180" y="645"/>
                    <a:pt x="3169" y="618"/>
                  </a:cubicBezTo>
                  <a:cubicBezTo>
                    <a:pt x="3204" y="629"/>
                    <a:pt x="3240" y="644"/>
                    <a:pt x="3276" y="663"/>
                  </a:cubicBezTo>
                  <a:cubicBezTo>
                    <a:pt x="3280" y="673"/>
                    <a:pt x="3285" y="683"/>
                    <a:pt x="3289" y="692"/>
                  </a:cubicBezTo>
                  <a:cubicBezTo>
                    <a:pt x="3295" y="705"/>
                    <a:pt x="3301" y="718"/>
                    <a:pt x="3307" y="730"/>
                  </a:cubicBezTo>
                  <a:moveTo>
                    <a:pt x="2817" y="715"/>
                  </a:moveTo>
                  <a:cubicBezTo>
                    <a:pt x="2808" y="691"/>
                    <a:pt x="2799" y="666"/>
                    <a:pt x="2791" y="641"/>
                  </a:cubicBezTo>
                  <a:cubicBezTo>
                    <a:pt x="2814" y="631"/>
                    <a:pt x="2840" y="622"/>
                    <a:pt x="2866" y="615"/>
                  </a:cubicBezTo>
                  <a:cubicBezTo>
                    <a:pt x="2875" y="641"/>
                    <a:pt x="2884" y="666"/>
                    <a:pt x="2893" y="691"/>
                  </a:cubicBezTo>
                  <a:cubicBezTo>
                    <a:pt x="2867" y="697"/>
                    <a:pt x="2841" y="705"/>
                    <a:pt x="2817" y="715"/>
                  </a:cubicBezTo>
                  <a:moveTo>
                    <a:pt x="2904" y="688"/>
                  </a:moveTo>
                  <a:cubicBezTo>
                    <a:pt x="2895" y="664"/>
                    <a:pt x="2886" y="638"/>
                    <a:pt x="2877" y="612"/>
                  </a:cubicBezTo>
                  <a:cubicBezTo>
                    <a:pt x="2902" y="605"/>
                    <a:pt x="2929" y="601"/>
                    <a:pt x="2956" y="598"/>
                  </a:cubicBezTo>
                  <a:cubicBezTo>
                    <a:pt x="2965" y="625"/>
                    <a:pt x="2975" y="651"/>
                    <a:pt x="2985" y="675"/>
                  </a:cubicBezTo>
                  <a:cubicBezTo>
                    <a:pt x="2957" y="678"/>
                    <a:pt x="2930" y="682"/>
                    <a:pt x="2904" y="688"/>
                  </a:cubicBezTo>
                  <a:moveTo>
                    <a:pt x="3188" y="690"/>
                  </a:moveTo>
                  <a:cubicBezTo>
                    <a:pt x="3157" y="682"/>
                    <a:pt x="3125" y="677"/>
                    <a:pt x="3095" y="675"/>
                  </a:cubicBezTo>
                  <a:cubicBezTo>
                    <a:pt x="3084" y="651"/>
                    <a:pt x="3074" y="625"/>
                    <a:pt x="3064" y="597"/>
                  </a:cubicBezTo>
                  <a:cubicBezTo>
                    <a:pt x="3094" y="600"/>
                    <a:pt x="3124" y="606"/>
                    <a:pt x="3155" y="614"/>
                  </a:cubicBezTo>
                  <a:cubicBezTo>
                    <a:pt x="3166" y="641"/>
                    <a:pt x="3177" y="666"/>
                    <a:pt x="3188" y="690"/>
                  </a:cubicBezTo>
                  <a:moveTo>
                    <a:pt x="2997" y="674"/>
                  </a:moveTo>
                  <a:cubicBezTo>
                    <a:pt x="2987" y="650"/>
                    <a:pt x="2977" y="624"/>
                    <a:pt x="2968" y="597"/>
                  </a:cubicBezTo>
                  <a:cubicBezTo>
                    <a:pt x="2982" y="595"/>
                    <a:pt x="2997" y="595"/>
                    <a:pt x="3012" y="595"/>
                  </a:cubicBezTo>
                  <a:cubicBezTo>
                    <a:pt x="3025" y="595"/>
                    <a:pt x="3038" y="595"/>
                    <a:pt x="3052" y="596"/>
                  </a:cubicBezTo>
                  <a:cubicBezTo>
                    <a:pt x="3062" y="624"/>
                    <a:pt x="3072" y="650"/>
                    <a:pt x="3082" y="674"/>
                  </a:cubicBezTo>
                  <a:cubicBezTo>
                    <a:pt x="3069" y="673"/>
                    <a:pt x="3056" y="673"/>
                    <a:pt x="3043" y="673"/>
                  </a:cubicBezTo>
                  <a:cubicBezTo>
                    <a:pt x="3027" y="673"/>
                    <a:pt x="3012" y="673"/>
                    <a:pt x="2997" y="674"/>
                  </a:cubicBezTo>
                  <a:moveTo>
                    <a:pt x="3277" y="640"/>
                  </a:moveTo>
                  <a:cubicBezTo>
                    <a:pt x="3268" y="619"/>
                    <a:pt x="3258" y="597"/>
                    <a:pt x="3249" y="573"/>
                  </a:cubicBezTo>
                  <a:cubicBezTo>
                    <a:pt x="3257" y="577"/>
                    <a:pt x="3265" y="582"/>
                    <a:pt x="3273" y="586"/>
                  </a:cubicBezTo>
                  <a:cubicBezTo>
                    <a:pt x="3278" y="596"/>
                    <a:pt x="3288" y="616"/>
                    <a:pt x="3300" y="643"/>
                  </a:cubicBezTo>
                  <a:cubicBezTo>
                    <a:pt x="3293" y="640"/>
                    <a:pt x="3288" y="639"/>
                    <a:pt x="3283" y="639"/>
                  </a:cubicBezTo>
                  <a:cubicBezTo>
                    <a:pt x="3281" y="639"/>
                    <a:pt x="3279" y="640"/>
                    <a:pt x="3277" y="640"/>
                  </a:cubicBezTo>
                  <a:moveTo>
                    <a:pt x="2787" y="629"/>
                  </a:moveTo>
                  <a:cubicBezTo>
                    <a:pt x="2779" y="606"/>
                    <a:pt x="2772" y="582"/>
                    <a:pt x="2765" y="557"/>
                  </a:cubicBezTo>
                  <a:cubicBezTo>
                    <a:pt x="2789" y="547"/>
                    <a:pt x="2815" y="539"/>
                    <a:pt x="2841" y="533"/>
                  </a:cubicBezTo>
                  <a:cubicBezTo>
                    <a:pt x="2848" y="557"/>
                    <a:pt x="2855" y="581"/>
                    <a:pt x="2862" y="603"/>
                  </a:cubicBezTo>
                  <a:cubicBezTo>
                    <a:pt x="2836" y="610"/>
                    <a:pt x="2811" y="619"/>
                    <a:pt x="2787" y="629"/>
                  </a:cubicBezTo>
                  <a:moveTo>
                    <a:pt x="3267" y="646"/>
                  </a:moveTo>
                  <a:cubicBezTo>
                    <a:pt x="3233" y="628"/>
                    <a:pt x="3198" y="614"/>
                    <a:pt x="3163" y="604"/>
                  </a:cubicBezTo>
                  <a:cubicBezTo>
                    <a:pt x="3154" y="582"/>
                    <a:pt x="3146" y="558"/>
                    <a:pt x="3137" y="532"/>
                  </a:cubicBezTo>
                  <a:cubicBezTo>
                    <a:pt x="3170" y="541"/>
                    <a:pt x="3202" y="552"/>
                    <a:pt x="3234" y="566"/>
                  </a:cubicBezTo>
                  <a:cubicBezTo>
                    <a:pt x="3245" y="595"/>
                    <a:pt x="3256" y="621"/>
                    <a:pt x="3267" y="646"/>
                  </a:cubicBezTo>
                  <a:moveTo>
                    <a:pt x="2873" y="600"/>
                  </a:moveTo>
                  <a:cubicBezTo>
                    <a:pt x="2866" y="578"/>
                    <a:pt x="2859" y="555"/>
                    <a:pt x="2852" y="530"/>
                  </a:cubicBezTo>
                  <a:cubicBezTo>
                    <a:pt x="2878" y="524"/>
                    <a:pt x="2904" y="520"/>
                    <a:pt x="2932" y="518"/>
                  </a:cubicBezTo>
                  <a:cubicBezTo>
                    <a:pt x="2938" y="542"/>
                    <a:pt x="2945" y="564"/>
                    <a:pt x="2952" y="586"/>
                  </a:cubicBezTo>
                  <a:cubicBezTo>
                    <a:pt x="2925" y="589"/>
                    <a:pt x="2898" y="594"/>
                    <a:pt x="2873" y="600"/>
                  </a:cubicBezTo>
                  <a:moveTo>
                    <a:pt x="3150" y="600"/>
                  </a:moveTo>
                  <a:cubicBezTo>
                    <a:pt x="3119" y="592"/>
                    <a:pt x="3089" y="587"/>
                    <a:pt x="3059" y="585"/>
                  </a:cubicBezTo>
                  <a:cubicBezTo>
                    <a:pt x="3052" y="563"/>
                    <a:pt x="3044" y="541"/>
                    <a:pt x="3037" y="516"/>
                  </a:cubicBezTo>
                  <a:cubicBezTo>
                    <a:pt x="3066" y="519"/>
                    <a:pt x="3096" y="523"/>
                    <a:pt x="3124" y="529"/>
                  </a:cubicBezTo>
                  <a:cubicBezTo>
                    <a:pt x="3133" y="555"/>
                    <a:pt x="3141" y="578"/>
                    <a:pt x="3150" y="600"/>
                  </a:cubicBezTo>
                  <a:moveTo>
                    <a:pt x="2964" y="585"/>
                  </a:moveTo>
                  <a:cubicBezTo>
                    <a:pt x="2956" y="563"/>
                    <a:pt x="2949" y="541"/>
                    <a:pt x="2943" y="517"/>
                  </a:cubicBezTo>
                  <a:cubicBezTo>
                    <a:pt x="2959" y="516"/>
                    <a:pt x="2975" y="515"/>
                    <a:pt x="2992" y="515"/>
                  </a:cubicBezTo>
                  <a:cubicBezTo>
                    <a:pt x="3003" y="515"/>
                    <a:pt x="3014" y="515"/>
                    <a:pt x="3025" y="516"/>
                  </a:cubicBezTo>
                  <a:cubicBezTo>
                    <a:pt x="3032" y="540"/>
                    <a:pt x="3040" y="562"/>
                    <a:pt x="3047" y="584"/>
                  </a:cubicBezTo>
                  <a:cubicBezTo>
                    <a:pt x="3035" y="583"/>
                    <a:pt x="3024" y="583"/>
                    <a:pt x="3012" y="583"/>
                  </a:cubicBezTo>
                  <a:cubicBezTo>
                    <a:pt x="2996" y="583"/>
                    <a:pt x="2979" y="584"/>
                    <a:pt x="2964" y="585"/>
                  </a:cubicBezTo>
                  <a:moveTo>
                    <a:pt x="3275" y="574"/>
                  </a:moveTo>
                  <a:cubicBezTo>
                    <a:pt x="3264" y="568"/>
                    <a:pt x="3253" y="563"/>
                    <a:pt x="3242" y="557"/>
                  </a:cubicBezTo>
                  <a:cubicBezTo>
                    <a:pt x="3236" y="539"/>
                    <a:pt x="3229" y="520"/>
                    <a:pt x="3222" y="500"/>
                  </a:cubicBezTo>
                  <a:cubicBezTo>
                    <a:pt x="3235" y="507"/>
                    <a:pt x="3247" y="514"/>
                    <a:pt x="3260" y="523"/>
                  </a:cubicBezTo>
                  <a:cubicBezTo>
                    <a:pt x="3260" y="527"/>
                    <a:pt x="3262" y="532"/>
                    <a:pt x="3262" y="536"/>
                  </a:cubicBezTo>
                  <a:cubicBezTo>
                    <a:pt x="3265" y="546"/>
                    <a:pt x="3265" y="546"/>
                    <a:pt x="3265" y="546"/>
                  </a:cubicBezTo>
                  <a:cubicBezTo>
                    <a:pt x="3267" y="556"/>
                    <a:pt x="3270" y="565"/>
                    <a:pt x="3275" y="574"/>
                  </a:cubicBezTo>
                  <a:moveTo>
                    <a:pt x="3228" y="551"/>
                  </a:moveTo>
                  <a:cubicBezTo>
                    <a:pt x="3197" y="537"/>
                    <a:pt x="3165" y="527"/>
                    <a:pt x="3133" y="519"/>
                  </a:cubicBezTo>
                  <a:cubicBezTo>
                    <a:pt x="3127" y="499"/>
                    <a:pt x="3121" y="478"/>
                    <a:pt x="3115" y="456"/>
                  </a:cubicBezTo>
                  <a:cubicBezTo>
                    <a:pt x="3147" y="465"/>
                    <a:pt x="3178" y="477"/>
                    <a:pt x="3208" y="492"/>
                  </a:cubicBezTo>
                  <a:cubicBezTo>
                    <a:pt x="3215" y="513"/>
                    <a:pt x="3221" y="532"/>
                    <a:pt x="3228" y="551"/>
                  </a:cubicBezTo>
                  <a:moveTo>
                    <a:pt x="2762" y="545"/>
                  </a:moveTo>
                  <a:cubicBezTo>
                    <a:pt x="2755" y="521"/>
                    <a:pt x="2748" y="496"/>
                    <a:pt x="2740" y="471"/>
                  </a:cubicBezTo>
                  <a:cubicBezTo>
                    <a:pt x="2764" y="462"/>
                    <a:pt x="2790" y="454"/>
                    <a:pt x="2816" y="449"/>
                  </a:cubicBezTo>
                  <a:cubicBezTo>
                    <a:pt x="2824" y="473"/>
                    <a:pt x="2832" y="497"/>
                    <a:pt x="2838" y="521"/>
                  </a:cubicBezTo>
                  <a:cubicBezTo>
                    <a:pt x="2812" y="528"/>
                    <a:pt x="2786" y="536"/>
                    <a:pt x="2762" y="545"/>
                  </a:cubicBezTo>
                  <a:moveTo>
                    <a:pt x="3120" y="516"/>
                  </a:moveTo>
                  <a:cubicBezTo>
                    <a:pt x="3092" y="510"/>
                    <a:pt x="3063" y="506"/>
                    <a:pt x="3034" y="504"/>
                  </a:cubicBezTo>
                  <a:cubicBezTo>
                    <a:pt x="3030" y="492"/>
                    <a:pt x="3027" y="479"/>
                    <a:pt x="3024" y="466"/>
                  </a:cubicBezTo>
                  <a:cubicBezTo>
                    <a:pt x="3021" y="456"/>
                    <a:pt x="3018" y="446"/>
                    <a:pt x="3015" y="437"/>
                  </a:cubicBezTo>
                  <a:cubicBezTo>
                    <a:pt x="3045" y="440"/>
                    <a:pt x="3074" y="445"/>
                    <a:pt x="3102" y="452"/>
                  </a:cubicBezTo>
                  <a:cubicBezTo>
                    <a:pt x="3108" y="475"/>
                    <a:pt x="3114" y="496"/>
                    <a:pt x="3120" y="516"/>
                  </a:cubicBezTo>
                  <a:moveTo>
                    <a:pt x="2849" y="519"/>
                  </a:moveTo>
                  <a:cubicBezTo>
                    <a:pt x="2843" y="495"/>
                    <a:pt x="2835" y="471"/>
                    <a:pt x="2827" y="446"/>
                  </a:cubicBezTo>
                  <a:cubicBezTo>
                    <a:pt x="2853" y="441"/>
                    <a:pt x="2880" y="437"/>
                    <a:pt x="2908" y="435"/>
                  </a:cubicBezTo>
                  <a:cubicBezTo>
                    <a:pt x="2914" y="456"/>
                    <a:pt x="2921" y="477"/>
                    <a:pt x="2926" y="497"/>
                  </a:cubicBezTo>
                  <a:cubicBezTo>
                    <a:pt x="2927" y="500"/>
                    <a:pt x="2928" y="503"/>
                    <a:pt x="2928" y="506"/>
                  </a:cubicBezTo>
                  <a:cubicBezTo>
                    <a:pt x="2901" y="509"/>
                    <a:pt x="2875" y="513"/>
                    <a:pt x="2849" y="519"/>
                  </a:cubicBezTo>
                  <a:moveTo>
                    <a:pt x="2940" y="505"/>
                  </a:moveTo>
                  <a:cubicBezTo>
                    <a:pt x="2939" y="501"/>
                    <a:pt x="2938" y="498"/>
                    <a:pt x="2937" y="494"/>
                  </a:cubicBezTo>
                  <a:cubicBezTo>
                    <a:pt x="2932" y="474"/>
                    <a:pt x="2926" y="454"/>
                    <a:pt x="2919" y="434"/>
                  </a:cubicBezTo>
                  <a:cubicBezTo>
                    <a:pt x="2930" y="434"/>
                    <a:pt x="2942" y="434"/>
                    <a:pt x="2953" y="434"/>
                  </a:cubicBezTo>
                  <a:cubicBezTo>
                    <a:pt x="2970" y="434"/>
                    <a:pt x="2987" y="434"/>
                    <a:pt x="3003" y="436"/>
                  </a:cubicBezTo>
                  <a:cubicBezTo>
                    <a:pt x="3007" y="447"/>
                    <a:pt x="3010" y="458"/>
                    <a:pt x="3013" y="469"/>
                  </a:cubicBezTo>
                  <a:cubicBezTo>
                    <a:pt x="3016" y="481"/>
                    <a:pt x="3019" y="492"/>
                    <a:pt x="3022" y="504"/>
                  </a:cubicBezTo>
                  <a:cubicBezTo>
                    <a:pt x="3012" y="503"/>
                    <a:pt x="3002" y="503"/>
                    <a:pt x="2992" y="503"/>
                  </a:cubicBezTo>
                  <a:cubicBezTo>
                    <a:pt x="2975" y="503"/>
                    <a:pt x="2957" y="504"/>
                    <a:pt x="2940" y="505"/>
                  </a:cubicBezTo>
                  <a:moveTo>
                    <a:pt x="3256" y="506"/>
                  </a:moveTo>
                  <a:cubicBezTo>
                    <a:pt x="3243" y="498"/>
                    <a:pt x="3230" y="491"/>
                    <a:pt x="3217" y="484"/>
                  </a:cubicBezTo>
                  <a:cubicBezTo>
                    <a:pt x="3210" y="461"/>
                    <a:pt x="3204" y="437"/>
                    <a:pt x="3197" y="410"/>
                  </a:cubicBezTo>
                  <a:cubicBezTo>
                    <a:pt x="3197" y="409"/>
                    <a:pt x="3197" y="409"/>
                    <a:pt x="3197" y="409"/>
                  </a:cubicBezTo>
                  <a:cubicBezTo>
                    <a:pt x="3211" y="417"/>
                    <a:pt x="3224" y="426"/>
                    <a:pt x="3237" y="436"/>
                  </a:cubicBezTo>
                  <a:cubicBezTo>
                    <a:pt x="3238" y="435"/>
                    <a:pt x="3238" y="435"/>
                    <a:pt x="3238" y="435"/>
                  </a:cubicBezTo>
                  <a:cubicBezTo>
                    <a:pt x="3244" y="458"/>
                    <a:pt x="3250" y="482"/>
                    <a:pt x="3256" y="506"/>
                  </a:cubicBezTo>
                  <a:moveTo>
                    <a:pt x="3203" y="477"/>
                  </a:moveTo>
                  <a:cubicBezTo>
                    <a:pt x="3174" y="462"/>
                    <a:pt x="3143" y="451"/>
                    <a:pt x="3112" y="442"/>
                  </a:cubicBezTo>
                  <a:cubicBezTo>
                    <a:pt x="3111" y="441"/>
                    <a:pt x="3111" y="440"/>
                    <a:pt x="3110" y="438"/>
                  </a:cubicBezTo>
                  <a:cubicBezTo>
                    <a:pt x="3104" y="413"/>
                    <a:pt x="3096" y="388"/>
                    <a:pt x="3086" y="363"/>
                  </a:cubicBezTo>
                  <a:cubicBezTo>
                    <a:pt x="3120" y="372"/>
                    <a:pt x="3152" y="385"/>
                    <a:pt x="3183" y="402"/>
                  </a:cubicBezTo>
                  <a:cubicBezTo>
                    <a:pt x="3184" y="406"/>
                    <a:pt x="3186" y="409"/>
                    <a:pt x="3186" y="413"/>
                  </a:cubicBezTo>
                  <a:cubicBezTo>
                    <a:pt x="3192" y="436"/>
                    <a:pt x="3198" y="457"/>
                    <a:pt x="3203" y="477"/>
                  </a:cubicBezTo>
                  <a:moveTo>
                    <a:pt x="2736" y="460"/>
                  </a:moveTo>
                  <a:cubicBezTo>
                    <a:pt x="2728" y="435"/>
                    <a:pt x="2720" y="410"/>
                    <a:pt x="2711" y="385"/>
                  </a:cubicBezTo>
                  <a:cubicBezTo>
                    <a:pt x="2735" y="376"/>
                    <a:pt x="2760" y="368"/>
                    <a:pt x="2785" y="362"/>
                  </a:cubicBezTo>
                  <a:cubicBezTo>
                    <a:pt x="2795" y="387"/>
                    <a:pt x="2804" y="412"/>
                    <a:pt x="2813" y="437"/>
                  </a:cubicBezTo>
                  <a:cubicBezTo>
                    <a:pt x="2786" y="443"/>
                    <a:pt x="2761" y="451"/>
                    <a:pt x="2736" y="460"/>
                  </a:cubicBezTo>
                  <a:moveTo>
                    <a:pt x="2824" y="435"/>
                  </a:moveTo>
                  <a:cubicBezTo>
                    <a:pt x="2815" y="410"/>
                    <a:pt x="2806" y="384"/>
                    <a:pt x="2797" y="359"/>
                  </a:cubicBezTo>
                  <a:cubicBezTo>
                    <a:pt x="2822" y="354"/>
                    <a:pt x="2848" y="349"/>
                    <a:pt x="2874" y="347"/>
                  </a:cubicBezTo>
                  <a:cubicBezTo>
                    <a:pt x="2885" y="372"/>
                    <a:pt x="2895" y="398"/>
                    <a:pt x="2904" y="424"/>
                  </a:cubicBezTo>
                  <a:cubicBezTo>
                    <a:pt x="2876" y="426"/>
                    <a:pt x="2850" y="430"/>
                    <a:pt x="2824" y="435"/>
                  </a:cubicBezTo>
                  <a:moveTo>
                    <a:pt x="3099" y="439"/>
                  </a:moveTo>
                  <a:cubicBezTo>
                    <a:pt x="3070" y="432"/>
                    <a:pt x="3041" y="427"/>
                    <a:pt x="3012" y="424"/>
                  </a:cubicBezTo>
                  <a:cubicBezTo>
                    <a:pt x="3003" y="398"/>
                    <a:pt x="2992" y="371"/>
                    <a:pt x="2981" y="345"/>
                  </a:cubicBezTo>
                  <a:cubicBezTo>
                    <a:pt x="3012" y="347"/>
                    <a:pt x="3043" y="352"/>
                    <a:pt x="3073" y="359"/>
                  </a:cubicBezTo>
                  <a:cubicBezTo>
                    <a:pt x="3083" y="386"/>
                    <a:pt x="3092" y="412"/>
                    <a:pt x="3099" y="439"/>
                  </a:cubicBezTo>
                  <a:moveTo>
                    <a:pt x="2915" y="423"/>
                  </a:moveTo>
                  <a:cubicBezTo>
                    <a:pt x="2906" y="397"/>
                    <a:pt x="2896" y="371"/>
                    <a:pt x="2886" y="346"/>
                  </a:cubicBezTo>
                  <a:cubicBezTo>
                    <a:pt x="2903" y="344"/>
                    <a:pt x="2920" y="343"/>
                    <a:pt x="2938" y="343"/>
                  </a:cubicBezTo>
                  <a:cubicBezTo>
                    <a:pt x="2948" y="343"/>
                    <a:pt x="2958" y="344"/>
                    <a:pt x="2968" y="344"/>
                  </a:cubicBezTo>
                  <a:cubicBezTo>
                    <a:pt x="2980" y="370"/>
                    <a:pt x="2990" y="397"/>
                    <a:pt x="2999" y="423"/>
                  </a:cubicBezTo>
                  <a:cubicBezTo>
                    <a:pt x="2984" y="422"/>
                    <a:pt x="2969" y="422"/>
                    <a:pt x="2954" y="422"/>
                  </a:cubicBezTo>
                  <a:cubicBezTo>
                    <a:pt x="2941" y="422"/>
                    <a:pt x="2928" y="422"/>
                    <a:pt x="2915" y="423"/>
                  </a:cubicBezTo>
                  <a:moveTo>
                    <a:pt x="3232" y="418"/>
                  </a:moveTo>
                  <a:cubicBezTo>
                    <a:pt x="3219" y="409"/>
                    <a:pt x="3206" y="401"/>
                    <a:pt x="3193" y="393"/>
                  </a:cubicBezTo>
                  <a:cubicBezTo>
                    <a:pt x="3186" y="371"/>
                    <a:pt x="3179" y="349"/>
                    <a:pt x="3169" y="328"/>
                  </a:cubicBezTo>
                  <a:cubicBezTo>
                    <a:pt x="3184" y="337"/>
                    <a:pt x="3199" y="347"/>
                    <a:pt x="3212" y="357"/>
                  </a:cubicBezTo>
                  <a:cubicBezTo>
                    <a:pt x="3219" y="377"/>
                    <a:pt x="3226" y="397"/>
                    <a:pt x="3232" y="418"/>
                  </a:cubicBezTo>
                  <a:moveTo>
                    <a:pt x="3179" y="386"/>
                  </a:moveTo>
                  <a:cubicBezTo>
                    <a:pt x="3147" y="370"/>
                    <a:pt x="3114" y="357"/>
                    <a:pt x="3080" y="348"/>
                  </a:cubicBezTo>
                  <a:cubicBezTo>
                    <a:pt x="3070" y="324"/>
                    <a:pt x="3058" y="299"/>
                    <a:pt x="3046" y="276"/>
                  </a:cubicBezTo>
                  <a:cubicBezTo>
                    <a:pt x="3084" y="287"/>
                    <a:pt x="3120" y="301"/>
                    <a:pt x="3153" y="318"/>
                  </a:cubicBezTo>
                  <a:cubicBezTo>
                    <a:pt x="3163" y="340"/>
                    <a:pt x="3172" y="363"/>
                    <a:pt x="3179" y="386"/>
                  </a:cubicBezTo>
                  <a:moveTo>
                    <a:pt x="2792" y="347"/>
                  </a:moveTo>
                  <a:cubicBezTo>
                    <a:pt x="2782" y="321"/>
                    <a:pt x="2772" y="296"/>
                    <a:pt x="2762" y="273"/>
                  </a:cubicBezTo>
                  <a:cubicBezTo>
                    <a:pt x="2786" y="267"/>
                    <a:pt x="2810" y="263"/>
                    <a:pt x="2834" y="260"/>
                  </a:cubicBezTo>
                  <a:cubicBezTo>
                    <a:pt x="2846" y="284"/>
                    <a:pt x="2857" y="308"/>
                    <a:pt x="2868" y="334"/>
                  </a:cubicBezTo>
                  <a:cubicBezTo>
                    <a:pt x="2842" y="337"/>
                    <a:pt x="2817" y="341"/>
                    <a:pt x="2792" y="347"/>
                  </a:cubicBezTo>
                  <a:moveTo>
                    <a:pt x="3067" y="345"/>
                  </a:moveTo>
                  <a:cubicBezTo>
                    <a:pt x="3036" y="338"/>
                    <a:pt x="3006" y="333"/>
                    <a:pt x="2975" y="331"/>
                  </a:cubicBezTo>
                  <a:cubicBezTo>
                    <a:pt x="2963" y="306"/>
                    <a:pt x="2951" y="282"/>
                    <a:pt x="2938" y="258"/>
                  </a:cubicBezTo>
                  <a:cubicBezTo>
                    <a:pt x="2970" y="261"/>
                    <a:pt x="3001" y="265"/>
                    <a:pt x="3031" y="272"/>
                  </a:cubicBezTo>
                  <a:cubicBezTo>
                    <a:pt x="3044" y="296"/>
                    <a:pt x="3056" y="320"/>
                    <a:pt x="3067" y="345"/>
                  </a:cubicBezTo>
                  <a:moveTo>
                    <a:pt x="2880" y="332"/>
                  </a:moveTo>
                  <a:cubicBezTo>
                    <a:pt x="2869" y="307"/>
                    <a:pt x="2858" y="283"/>
                    <a:pt x="2846" y="259"/>
                  </a:cubicBezTo>
                  <a:cubicBezTo>
                    <a:pt x="2864" y="258"/>
                    <a:pt x="2881" y="257"/>
                    <a:pt x="2898" y="257"/>
                  </a:cubicBezTo>
                  <a:cubicBezTo>
                    <a:pt x="2907" y="257"/>
                    <a:pt x="2916" y="257"/>
                    <a:pt x="2925" y="258"/>
                  </a:cubicBezTo>
                  <a:cubicBezTo>
                    <a:pt x="2938" y="281"/>
                    <a:pt x="2950" y="305"/>
                    <a:pt x="2962" y="330"/>
                  </a:cubicBezTo>
                  <a:cubicBezTo>
                    <a:pt x="2953" y="330"/>
                    <a:pt x="2945" y="330"/>
                    <a:pt x="2936" y="330"/>
                  </a:cubicBezTo>
                  <a:cubicBezTo>
                    <a:pt x="2917" y="330"/>
                    <a:pt x="2899" y="331"/>
                    <a:pt x="2880" y="332"/>
                  </a:cubicBezTo>
                  <a:moveTo>
                    <a:pt x="3203" y="336"/>
                  </a:moveTo>
                  <a:cubicBezTo>
                    <a:pt x="3190" y="326"/>
                    <a:pt x="3175" y="316"/>
                    <a:pt x="3160" y="308"/>
                  </a:cubicBezTo>
                  <a:cubicBezTo>
                    <a:pt x="3148" y="282"/>
                    <a:pt x="3133" y="257"/>
                    <a:pt x="3118" y="233"/>
                  </a:cubicBezTo>
                  <a:cubicBezTo>
                    <a:pt x="3138" y="245"/>
                    <a:pt x="3158" y="259"/>
                    <a:pt x="3176" y="275"/>
                  </a:cubicBezTo>
                  <a:cubicBezTo>
                    <a:pt x="3176" y="275"/>
                    <a:pt x="3176" y="275"/>
                    <a:pt x="3176" y="275"/>
                  </a:cubicBezTo>
                  <a:cubicBezTo>
                    <a:pt x="3186" y="294"/>
                    <a:pt x="3195" y="315"/>
                    <a:pt x="3203" y="336"/>
                  </a:cubicBezTo>
                  <a:moveTo>
                    <a:pt x="3143" y="299"/>
                  </a:moveTo>
                  <a:cubicBezTo>
                    <a:pt x="3109" y="281"/>
                    <a:pt x="3074" y="269"/>
                    <a:pt x="3037" y="260"/>
                  </a:cubicBezTo>
                  <a:cubicBezTo>
                    <a:pt x="3022" y="232"/>
                    <a:pt x="3005" y="206"/>
                    <a:pt x="2989" y="182"/>
                  </a:cubicBezTo>
                  <a:cubicBezTo>
                    <a:pt x="3026" y="190"/>
                    <a:pt x="3062" y="203"/>
                    <a:pt x="3096" y="221"/>
                  </a:cubicBezTo>
                  <a:cubicBezTo>
                    <a:pt x="3113" y="245"/>
                    <a:pt x="3129" y="271"/>
                    <a:pt x="3143" y="299"/>
                  </a:cubicBezTo>
                  <a:moveTo>
                    <a:pt x="2758" y="263"/>
                  </a:moveTo>
                  <a:cubicBezTo>
                    <a:pt x="2746" y="237"/>
                    <a:pt x="2735" y="212"/>
                    <a:pt x="2725" y="189"/>
                  </a:cubicBezTo>
                  <a:cubicBezTo>
                    <a:pt x="2746" y="184"/>
                    <a:pt x="2768" y="179"/>
                    <a:pt x="2791" y="176"/>
                  </a:cubicBezTo>
                  <a:cubicBezTo>
                    <a:pt x="2803" y="199"/>
                    <a:pt x="2816" y="224"/>
                    <a:pt x="2829" y="250"/>
                  </a:cubicBezTo>
                  <a:cubicBezTo>
                    <a:pt x="2805" y="253"/>
                    <a:pt x="2781" y="257"/>
                    <a:pt x="2758" y="263"/>
                  </a:cubicBezTo>
                  <a:moveTo>
                    <a:pt x="3022" y="257"/>
                  </a:moveTo>
                  <a:cubicBezTo>
                    <a:pt x="2992" y="250"/>
                    <a:pt x="2962" y="247"/>
                    <a:pt x="2931" y="245"/>
                  </a:cubicBezTo>
                  <a:cubicBezTo>
                    <a:pt x="2916" y="219"/>
                    <a:pt x="2900" y="193"/>
                    <a:pt x="2885" y="170"/>
                  </a:cubicBezTo>
                  <a:cubicBezTo>
                    <a:pt x="2915" y="170"/>
                    <a:pt x="2944" y="173"/>
                    <a:pt x="2973" y="179"/>
                  </a:cubicBezTo>
                  <a:cubicBezTo>
                    <a:pt x="2990" y="203"/>
                    <a:pt x="3006" y="229"/>
                    <a:pt x="3022" y="257"/>
                  </a:cubicBezTo>
                  <a:moveTo>
                    <a:pt x="2841" y="248"/>
                  </a:moveTo>
                  <a:cubicBezTo>
                    <a:pt x="2828" y="222"/>
                    <a:pt x="2815" y="197"/>
                    <a:pt x="2803" y="174"/>
                  </a:cubicBezTo>
                  <a:cubicBezTo>
                    <a:pt x="2826" y="171"/>
                    <a:pt x="2849" y="170"/>
                    <a:pt x="2872" y="170"/>
                  </a:cubicBezTo>
                  <a:cubicBezTo>
                    <a:pt x="2887" y="193"/>
                    <a:pt x="2902" y="218"/>
                    <a:pt x="2918" y="245"/>
                  </a:cubicBezTo>
                  <a:cubicBezTo>
                    <a:pt x="2914" y="245"/>
                    <a:pt x="2911" y="245"/>
                    <a:pt x="2907" y="245"/>
                  </a:cubicBezTo>
                  <a:cubicBezTo>
                    <a:pt x="2885" y="245"/>
                    <a:pt x="2863" y="246"/>
                    <a:pt x="2841" y="248"/>
                  </a:cubicBezTo>
                  <a:moveTo>
                    <a:pt x="3163" y="250"/>
                  </a:moveTo>
                  <a:cubicBezTo>
                    <a:pt x="3144" y="235"/>
                    <a:pt x="3123" y="222"/>
                    <a:pt x="3103" y="211"/>
                  </a:cubicBezTo>
                  <a:cubicBezTo>
                    <a:pt x="3084" y="184"/>
                    <a:pt x="3065" y="159"/>
                    <a:pt x="3046" y="137"/>
                  </a:cubicBezTo>
                  <a:cubicBezTo>
                    <a:pt x="3077" y="154"/>
                    <a:pt x="3105" y="174"/>
                    <a:pt x="3130" y="198"/>
                  </a:cubicBezTo>
                  <a:cubicBezTo>
                    <a:pt x="3131" y="196"/>
                    <a:pt x="3131" y="196"/>
                    <a:pt x="3131" y="196"/>
                  </a:cubicBezTo>
                  <a:cubicBezTo>
                    <a:pt x="3142" y="213"/>
                    <a:pt x="3153" y="231"/>
                    <a:pt x="3163" y="250"/>
                  </a:cubicBezTo>
                  <a:moveTo>
                    <a:pt x="3081" y="200"/>
                  </a:moveTo>
                  <a:cubicBezTo>
                    <a:pt x="3047" y="184"/>
                    <a:pt x="3012" y="173"/>
                    <a:pt x="2978" y="166"/>
                  </a:cubicBezTo>
                  <a:cubicBezTo>
                    <a:pt x="2960" y="139"/>
                    <a:pt x="2941" y="114"/>
                    <a:pt x="2924" y="93"/>
                  </a:cubicBezTo>
                  <a:cubicBezTo>
                    <a:pt x="2957" y="100"/>
                    <a:pt x="2989" y="110"/>
                    <a:pt x="3018" y="123"/>
                  </a:cubicBezTo>
                  <a:cubicBezTo>
                    <a:pt x="3038" y="146"/>
                    <a:pt x="3060" y="171"/>
                    <a:pt x="3081" y="200"/>
                  </a:cubicBezTo>
                  <a:moveTo>
                    <a:pt x="2796" y="162"/>
                  </a:moveTo>
                  <a:cubicBezTo>
                    <a:pt x="2780" y="134"/>
                    <a:pt x="2766" y="109"/>
                    <a:pt x="2753" y="88"/>
                  </a:cubicBezTo>
                  <a:cubicBezTo>
                    <a:pt x="2773" y="85"/>
                    <a:pt x="2792" y="83"/>
                    <a:pt x="2812" y="83"/>
                  </a:cubicBezTo>
                  <a:cubicBezTo>
                    <a:pt x="2827" y="104"/>
                    <a:pt x="2845" y="129"/>
                    <a:pt x="2863" y="157"/>
                  </a:cubicBezTo>
                  <a:cubicBezTo>
                    <a:pt x="2850" y="157"/>
                    <a:pt x="2837" y="158"/>
                    <a:pt x="2825" y="159"/>
                  </a:cubicBezTo>
                  <a:cubicBezTo>
                    <a:pt x="2816" y="160"/>
                    <a:pt x="2806" y="161"/>
                    <a:pt x="2796" y="162"/>
                  </a:cubicBezTo>
                  <a:moveTo>
                    <a:pt x="2877" y="157"/>
                  </a:moveTo>
                  <a:cubicBezTo>
                    <a:pt x="2859" y="129"/>
                    <a:pt x="2841" y="104"/>
                    <a:pt x="2826" y="83"/>
                  </a:cubicBezTo>
                  <a:cubicBezTo>
                    <a:pt x="2853" y="83"/>
                    <a:pt x="2880" y="85"/>
                    <a:pt x="2907" y="90"/>
                  </a:cubicBezTo>
                  <a:cubicBezTo>
                    <a:pt x="2924" y="111"/>
                    <a:pt x="2943" y="136"/>
                    <a:pt x="2963" y="163"/>
                  </a:cubicBezTo>
                  <a:cubicBezTo>
                    <a:pt x="2933" y="159"/>
                    <a:pt x="2904" y="157"/>
                    <a:pt x="2878" y="157"/>
                  </a:cubicBezTo>
                  <a:cubicBezTo>
                    <a:pt x="2877" y="157"/>
                    <a:pt x="2877" y="157"/>
                    <a:pt x="2877" y="157"/>
                  </a:cubicBezTo>
                  <a:moveTo>
                    <a:pt x="3104" y="160"/>
                  </a:moveTo>
                  <a:cubicBezTo>
                    <a:pt x="3077" y="139"/>
                    <a:pt x="3049" y="123"/>
                    <a:pt x="3021" y="110"/>
                  </a:cubicBezTo>
                  <a:cubicBezTo>
                    <a:pt x="3007" y="95"/>
                    <a:pt x="2994" y="82"/>
                    <a:pt x="2982" y="70"/>
                  </a:cubicBezTo>
                  <a:cubicBezTo>
                    <a:pt x="3018" y="86"/>
                    <a:pt x="3045" y="108"/>
                    <a:pt x="3075" y="132"/>
                  </a:cubicBezTo>
                  <a:cubicBezTo>
                    <a:pt x="3080" y="136"/>
                    <a:pt x="3085" y="140"/>
                    <a:pt x="3091" y="144"/>
                  </a:cubicBezTo>
                  <a:cubicBezTo>
                    <a:pt x="3095" y="150"/>
                    <a:pt x="3100" y="155"/>
                    <a:pt x="3104" y="160"/>
                  </a:cubicBezTo>
                  <a:moveTo>
                    <a:pt x="2747" y="78"/>
                  </a:moveTo>
                  <a:cubicBezTo>
                    <a:pt x="2743" y="71"/>
                    <a:pt x="2739" y="65"/>
                    <a:pt x="2735" y="59"/>
                  </a:cubicBezTo>
                  <a:cubicBezTo>
                    <a:pt x="2754" y="56"/>
                    <a:pt x="2772" y="53"/>
                    <a:pt x="2788" y="52"/>
                  </a:cubicBezTo>
                  <a:cubicBezTo>
                    <a:pt x="2793" y="58"/>
                    <a:pt x="2798" y="64"/>
                    <a:pt x="2803" y="72"/>
                  </a:cubicBezTo>
                  <a:cubicBezTo>
                    <a:pt x="2797" y="72"/>
                    <a:pt x="2790" y="73"/>
                    <a:pt x="2784" y="73"/>
                  </a:cubicBezTo>
                  <a:cubicBezTo>
                    <a:pt x="2772" y="75"/>
                    <a:pt x="2760" y="76"/>
                    <a:pt x="2747" y="78"/>
                  </a:cubicBezTo>
                  <a:moveTo>
                    <a:pt x="2995" y="99"/>
                  </a:moveTo>
                  <a:cubicBezTo>
                    <a:pt x="2966" y="88"/>
                    <a:pt x="2938" y="81"/>
                    <a:pt x="2911" y="77"/>
                  </a:cubicBezTo>
                  <a:cubicBezTo>
                    <a:pt x="2902" y="66"/>
                    <a:pt x="2894" y="57"/>
                    <a:pt x="2887" y="48"/>
                  </a:cubicBezTo>
                  <a:cubicBezTo>
                    <a:pt x="2913" y="50"/>
                    <a:pt x="2935" y="54"/>
                    <a:pt x="2954" y="60"/>
                  </a:cubicBezTo>
                  <a:cubicBezTo>
                    <a:pt x="2966" y="71"/>
                    <a:pt x="2979" y="84"/>
                    <a:pt x="2995" y="99"/>
                  </a:cubicBezTo>
                  <a:moveTo>
                    <a:pt x="2817" y="71"/>
                  </a:moveTo>
                  <a:cubicBezTo>
                    <a:pt x="2812" y="64"/>
                    <a:pt x="2806" y="57"/>
                    <a:pt x="2801" y="50"/>
                  </a:cubicBezTo>
                  <a:cubicBezTo>
                    <a:pt x="2821" y="48"/>
                    <a:pt x="2840" y="47"/>
                    <a:pt x="2857" y="47"/>
                  </a:cubicBezTo>
                  <a:cubicBezTo>
                    <a:pt x="2862" y="47"/>
                    <a:pt x="2866" y="47"/>
                    <a:pt x="2871" y="48"/>
                  </a:cubicBezTo>
                  <a:cubicBezTo>
                    <a:pt x="2878" y="55"/>
                    <a:pt x="2886" y="64"/>
                    <a:pt x="2894" y="75"/>
                  </a:cubicBezTo>
                  <a:cubicBezTo>
                    <a:pt x="2873" y="72"/>
                    <a:pt x="2853" y="71"/>
                    <a:pt x="2834" y="71"/>
                  </a:cubicBezTo>
                  <a:cubicBezTo>
                    <a:pt x="2828" y="71"/>
                    <a:pt x="2823" y="71"/>
                    <a:pt x="2817" y="71"/>
                  </a:cubicBezTo>
                  <a:moveTo>
                    <a:pt x="2997" y="64"/>
                  </a:moveTo>
                  <a:cubicBezTo>
                    <a:pt x="2985" y="58"/>
                    <a:pt x="2973" y="53"/>
                    <a:pt x="2959" y="49"/>
                  </a:cubicBezTo>
                  <a:cubicBezTo>
                    <a:pt x="2955" y="45"/>
                    <a:pt x="2951" y="42"/>
                    <a:pt x="2948" y="39"/>
                  </a:cubicBezTo>
                  <a:cubicBezTo>
                    <a:pt x="2965" y="46"/>
                    <a:pt x="2981" y="54"/>
                    <a:pt x="2997" y="64"/>
                  </a:cubicBezTo>
                  <a:moveTo>
                    <a:pt x="2934" y="42"/>
                  </a:moveTo>
                  <a:cubicBezTo>
                    <a:pt x="2917" y="39"/>
                    <a:pt x="2897" y="36"/>
                    <a:pt x="2876" y="36"/>
                  </a:cubicBezTo>
                  <a:cubicBezTo>
                    <a:pt x="2868" y="27"/>
                    <a:pt x="2861" y="20"/>
                    <a:pt x="2857" y="15"/>
                  </a:cubicBezTo>
                  <a:cubicBezTo>
                    <a:pt x="2879" y="18"/>
                    <a:pt x="2900" y="22"/>
                    <a:pt x="2921" y="29"/>
                  </a:cubicBezTo>
                  <a:cubicBezTo>
                    <a:pt x="2920" y="31"/>
                    <a:pt x="2920" y="31"/>
                    <a:pt x="2920" y="31"/>
                  </a:cubicBezTo>
                  <a:cubicBezTo>
                    <a:pt x="2920" y="31"/>
                    <a:pt x="2925" y="35"/>
                    <a:pt x="2934" y="42"/>
                  </a:cubicBezTo>
                  <a:moveTo>
                    <a:pt x="2728" y="48"/>
                  </a:moveTo>
                  <a:cubicBezTo>
                    <a:pt x="2720" y="35"/>
                    <a:pt x="2714" y="26"/>
                    <a:pt x="2712" y="22"/>
                  </a:cubicBezTo>
                  <a:cubicBezTo>
                    <a:pt x="2717" y="21"/>
                    <a:pt x="2723" y="20"/>
                    <a:pt x="2729" y="19"/>
                  </a:cubicBezTo>
                  <a:cubicBezTo>
                    <a:pt x="2733" y="18"/>
                    <a:pt x="2737" y="18"/>
                    <a:pt x="2740" y="17"/>
                  </a:cubicBezTo>
                  <a:cubicBezTo>
                    <a:pt x="2747" y="16"/>
                    <a:pt x="2754" y="15"/>
                    <a:pt x="2760" y="15"/>
                  </a:cubicBezTo>
                  <a:cubicBezTo>
                    <a:pt x="2759" y="16"/>
                    <a:pt x="2759" y="16"/>
                    <a:pt x="2759" y="16"/>
                  </a:cubicBezTo>
                  <a:cubicBezTo>
                    <a:pt x="2760" y="16"/>
                    <a:pt x="2767" y="25"/>
                    <a:pt x="2779" y="40"/>
                  </a:cubicBezTo>
                  <a:cubicBezTo>
                    <a:pt x="2763" y="42"/>
                    <a:pt x="2746" y="45"/>
                    <a:pt x="2728" y="48"/>
                  </a:cubicBezTo>
                  <a:moveTo>
                    <a:pt x="2793" y="39"/>
                  </a:moveTo>
                  <a:cubicBezTo>
                    <a:pt x="2784" y="27"/>
                    <a:pt x="2777" y="19"/>
                    <a:pt x="2772" y="13"/>
                  </a:cubicBezTo>
                  <a:cubicBezTo>
                    <a:pt x="2785" y="12"/>
                    <a:pt x="2797" y="12"/>
                    <a:pt x="2808" y="12"/>
                  </a:cubicBezTo>
                  <a:cubicBezTo>
                    <a:pt x="2820" y="12"/>
                    <a:pt x="2832" y="12"/>
                    <a:pt x="2843" y="13"/>
                  </a:cubicBezTo>
                  <a:cubicBezTo>
                    <a:pt x="2841" y="15"/>
                    <a:pt x="2841" y="15"/>
                    <a:pt x="2841" y="15"/>
                  </a:cubicBezTo>
                  <a:cubicBezTo>
                    <a:pt x="2842" y="16"/>
                    <a:pt x="2848" y="23"/>
                    <a:pt x="2860" y="35"/>
                  </a:cubicBezTo>
                  <a:cubicBezTo>
                    <a:pt x="2859" y="35"/>
                    <a:pt x="2858" y="35"/>
                    <a:pt x="2858" y="35"/>
                  </a:cubicBezTo>
                  <a:cubicBezTo>
                    <a:pt x="2838" y="35"/>
                    <a:pt x="2817" y="36"/>
                    <a:pt x="2793" y="39"/>
                  </a:cubicBezTo>
                  <a:moveTo>
                    <a:pt x="2809" y="0"/>
                  </a:moveTo>
                  <a:cubicBezTo>
                    <a:pt x="2786" y="0"/>
                    <a:pt x="2763" y="2"/>
                    <a:pt x="2739" y="5"/>
                  </a:cubicBezTo>
                  <a:cubicBezTo>
                    <a:pt x="2735" y="6"/>
                    <a:pt x="2731" y="7"/>
                    <a:pt x="2727" y="7"/>
                  </a:cubicBezTo>
                  <a:cubicBezTo>
                    <a:pt x="2718" y="9"/>
                    <a:pt x="2709" y="11"/>
                    <a:pt x="2699" y="13"/>
                  </a:cubicBezTo>
                  <a:cubicBezTo>
                    <a:pt x="2699" y="25"/>
                    <a:pt x="2699" y="25"/>
                    <a:pt x="2699" y="25"/>
                  </a:cubicBezTo>
                  <a:cubicBezTo>
                    <a:pt x="2701" y="25"/>
                    <a:pt x="2704" y="24"/>
                    <a:pt x="2706" y="24"/>
                  </a:cubicBezTo>
                  <a:cubicBezTo>
                    <a:pt x="2701" y="27"/>
                    <a:pt x="2701" y="27"/>
                    <a:pt x="2701" y="27"/>
                  </a:cubicBezTo>
                  <a:cubicBezTo>
                    <a:pt x="2701" y="28"/>
                    <a:pt x="2707" y="36"/>
                    <a:pt x="2716" y="50"/>
                  </a:cubicBezTo>
                  <a:cubicBezTo>
                    <a:pt x="2711" y="51"/>
                    <a:pt x="2705" y="52"/>
                    <a:pt x="2699" y="53"/>
                  </a:cubicBezTo>
                  <a:cubicBezTo>
                    <a:pt x="2699" y="66"/>
                    <a:pt x="2699" y="66"/>
                    <a:pt x="2699" y="66"/>
                  </a:cubicBezTo>
                  <a:cubicBezTo>
                    <a:pt x="2708" y="64"/>
                    <a:pt x="2715" y="62"/>
                    <a:pt x="2723" y="61"/>
                  </a:cubicBezTo>
                  <a:cubicBezTo>
                    <a:pt x="2727" y="67"/>
                    <a:pt x="2731" y="73"/>
                    <a:pt x="2735" y="80"/>
                  </a:cubicBezTo>
                  <a:cubicBezTo>
                    <a:pt x="2723" y="83"/>
                    <a:pt x="2711" y="85"/>
                    <a:pt x="2699" y="88"/>
                  </a:cubicBezTo>
                  <a:cubicBezTo>
                    <a:pt x="2699" y="98"/>
                    <a:pt x="2699" y="98"/>
                    <a:pt x="2699" y="98"/>
                  </a:cubicBezTo>
                  <a:cubicBezTo>
                    <a:pt x="2713" y="95"/>
                    <a:pt x="2727" y="92"/>
                    <a:pt x="2741" y="89"/>
                  </a:cubicBezTo>
                  <a:cubicBezTo>
                    <a:pt x="2753" y="110"/>
                    <a:pt x="2768" y="136"/>
                    <a:pt x="2784" y="164"/>
                  </a:cubicBezTo>
                  <a:cubicBezTo>
                    <a:pt x="2762" y="168"/>
                    <a:pt x="2741" y="172"/>
                    <a:pt x="2719" y="178"/>
                  </a:cubicBezTo>
                  <a:cubicBezTo>
                    <a:pt x="2712" y="163"/>
                    <a:pt x="2706" y="149"/>
                    <a:pt x="2699" y="136"/>
                  </a:cubicBezTo>
                  <a:cubicBezTo>
                    <a:pt x="2699" y="162"/>
                    <a:pt x="2699" y="162"/>
                    <a:pt x="2699" y="162"/>
                  </a:cubicBezTo>
                  <a:cubicBezTo>
                    <a:pt x="2702" y="168"/>
                    <a:pt x="2705" y="175"/>
                    <a:pt x="2708" y="181"/>
                  </a:cubicBezTo>
                  <a:cubicBezTo>
                    <a:pt x="2705" y="182"/>
                    <a:pt x="2702" y="183"/>
                    <a:pt x="2699" y="184"/>
                  </a:cubicBezTo>
                  <a:cubicBezTo>
                    <a:pt x="2699" y="196"/>
                    <a:pt x="2699" y="196"/>
                    <a:pt x="2699" y="196"/>
                  </a:cubicBezTo>
                  <a:cubicBezTo>
                    <a:pt x="2704" y="195"/>
                    <a:pt x="2709" y="194"/>
                    <a:pt x="2714" y="192"/>
                  </a:cubicBezTo>
                  <a:cubicBezTo>
                    <a:pt x="2724" y="215"/>
                    <a:pt x="2735" y="240"/>
                    <a:pt x="2746" y="266"/>
                  </a:cubicBezTo>
                  <a:cubicBezTo>
                    <a:pt x="2730" y="270"/>
                    <a:pt x="2715" y="275"/>
                    <a:pt x="2699" y="280"/>
                  </a:cubicBezTo>
                  <a:cubicBezTo>
                    <a:pt x="2699" y="291"/>
                    <a:pt x="2699" y="291"/>
                    <a:pt x="2699" y="291"/>
                  </a:cubicBezTo>
                  <a:cubicBezTo>
                    <a:pt x="2716" y="285"/>
                    <a:pt x="2733" y="280"/>
                    <a:pt x="2750" y="275"/>
                  </a:cubicBezTo>
                  <a:cubicBezTo>
                    <a:pt x="2761" y="299"/>
                    <a:pt x="2771" y="324"/>
                    <a:pt x="2781" y="350"/>
                  </a:cubicBezTo>
                  <a:cubicBezTo>
                    <a:pt x="2755" y="356"/>
                    <a:pt x="2731" y="364"/>
                    <a:pt x="2707" y="373"/>
                  </a:cubicBezTo>
                  <a:cubicBezTo>
                    <a:pt x="2705" y="366"/>
                    <a:pt x="2702" y="358"/>
                    <a:pt x="2699" y="351"/>
                  </a:cubicBezTo>
                  <a:cubicBezTo>
                    <a:pt x="2699" y="390"/>
                    <a:pt x="2699" y="390"/>
                    <a:pt x="2699" y="390"/>
                  </a:cubicBezTo>
                  <a:cubicBezTo>
                    <a:pt x="2700" y="389"/>
                    <a:pt x="2700" y="389"/>
                    <a:pt x="2701" y="389"/>
                  </a:cubicBezTo>
                  <a:cubicBezTo>
                    <a:pt x="2709" y="414"/>
                    <a:pt x="2718" y="439"/>
                    <a:pt x="2726" y="464"/>
                  </a:cubicBezTo>
                  <a:cubicBezTo>
                    <a:pt x="2717" y="467"/>
                    <a:pt x="2708" y="471"/>
                    <a:pt x="2699" y="475"/>
                  </a:cubicBezTo>
                  <a:cubicBezTo>
                    <a:pt x="2699" y="488"/>
                    <a:pt x="2699" y="488"/>
                    <a:pt x="2699" y="488"/>
                  </a:cubicBezTo>
                  <a:cubicBezTo>
                    <a:pt x="2709" y="483"/>
                    <a:pt x="2719" y="479"/>
                    <a:pt x="2729" y="475"/>
                  </a:cubicBezTo>
                  <a:cubicBezTo>
                    <a:pt x="2737" y="500"/>
                    <a:pt x="2745" y="525"/>
                    <a:pt x="2751" y="549"/>
                  </a:cubicBezTo>
                  <a:cubicBezTo>
                    <a:pt x="2733" y="557"/>
                    <a:pt x="2716" y="565"/>
                    <a:pt x="2699" y="574"/>
                  </a:cubicBezTo>
                  <a:cubicBezTo>
                    <a:pt x="2699" y="587"/>
                    <a:pt x="2699" y="587"/>
                    <a:pt x="2699" y="587"/>
                  </a:cubicBezTo>
                  <a:cubicBezTo>
                    <a:pt x="2717" y="578"/>
                    <a:pt x="2735" y="569"/>
                    <a:pt x="2755" y="561"/>
                  </a:cubicBezTo>
                  <a:cubicBezTo>
                    <a:pt x="2762" y="586"/>
                    <a:pt x="2769" y="610"/>
                    <a:pt x="2777" y="634"/>
                  </a:cubicBezTo>
                  <a:cubicBezTo>
                    <a:pt x="2751" y="645"/>
                    <a:pt x="2727" y="658"/>
                    <a:pt x="2706" y="672"/>
                  </a:cubicBezTo>
                  <a:cubicBezTo>
                    <a:pt x="2704" y="666"/>
                    <a:pt x="2701" y="660"/>
                    <a:pt x="2699" y="653"/>
                  </a:cubicBezTo>
                  <a:cubicBezTo>
                    <a:pt x="2699" y="691"/>
                    <a:pt x="2699" y="691"/>
                    <a:pt x="2699" y="691"/>
                  </a:cubicBezTo>
                  <a:cubicBezTo>
                    <a:pt x="2700" y="691"/>
                    <a:pt x="2700" y="691"/>
                    <a:pt x="2700" y="691"/>
                  </a:cubicBezTo>
                  <a:cubicBezTo>
                    <a:pt x="2708" y="715"/>
                    <a:pt x="2718" y="739"/>
                    <a:pt x="2727" y="763"/>
                  </a:cubicBezTo>
                  <a:cubicBezTo>
                    <a:pt x="2717" y="770"/>
                    <a:pt x="2708" y="777"/>
                    <a:pt x="2699" y="785"/>
                  </a:cubicBezTo>
                  <a:cubicBezTo>
                    <a:pt x="2699" y="801"/>
                    <a:pt x="2699" y="801"/>
                    <a:pt x="2699" y="801"/>
                  </a:cubicBezTo>
                  <a:cubicBezTo>
                    <a:pt x="2709" y="792"/>
                    <a:pt x="2720" y="783"/>
                    <a:pt x="2731" y="774"/>
                  </a:cubicBezTo>
                  <a:cubicBezTo>
                    <a:pt x="2741" y="797"/>
                    <a:pt x="2751" y="821"/>
                    <a:pt x="2761" y="844"/>
                  </a:cubicBezTo>
                  <a:cubicBezTo>
                    <a:pt x="2736" y="862"/>
                    <a:pt x="2716" y="881"/>
                    <a:pt x="2700" y="901"/>
                  </a:cubicBezTo>
                  <a:cubicBezTo>
                    <a:pt x="2700" y="900"/>
                    <a:pt x="2700" y="900"/>
                    <a:pt x="2699" y="899"/>
                  </a:cubicBezTo>
                  <a:cubicBezTo>
                    <a:pt x="2699" y="925"/>
                    <a:pt x="2699" y="925"/>
                    <a:pt x="2699" y="925"/>
                  </a:cubicBezTo>
                  <a:cubicBezTo>
                    <a:pt x="2709" y="945"/>
                    <a:pt x="2719" y="965"/>
                    <a:pt x="2730" y="985"/>
                  </a:cubicBezTo>
                  <a:cubicBezTo>
                    <a:pt x="2717" y="1001"/>
                    <a:pt x="2707" y="1018"/>
                    <a:pt x="2699" y="1035"/>
                  </a:cubicBezTo>
                  <a:cubicBezTo>
                    <a:pt x="2699" y="1057"/>
                    <a:pt x="2699" y="1057"/>
                    <a:pt x="2699" y="1057"/>
                  </a:cubicBezTo>
                  <a:cubicBezTo>
                    <a:pt x="2702" y="1057"/>
                    <a:pt x="2702" y="1057"/>
                    <a:pt x="2702" y="1057"/>
                  </a:cubicBezTo>
                  <a:cubicBezTo>
                    <a:pt x="2710" y="1037"/>
                    <a:pt x="2721" y="1016"/>
                    <a:pt x="2736" y="996"/>
                  </a:cubicBezTo>
                  <a:cubicBezTo>
                    <a:pt x="2743" y="1009"/>
                    <a:pt x="2750" y="1022"/>
                    <a:pt x="2758" y="1035"/>
                  </a:cubicBezTo>
                  <a:cubicBezTo>
                    <a:pt x="2762" y="1042"/>
                    <a:pt x="2767" y="1049"/>
                    <a:pt x="2771" y="1057"/>
                  </a:cubicBezTo>
                  <a:cubicBezTo>
                    <a:pt x="2788" y="1057"/>
                    <a:pt x="2788" y="1057"/>
                    <a:pt x="2788" y="1057"/>
                  </a:cubicBezTo>
                  <a:cubicBezTo>
                    <a:pt x="2804" y="1040"/>
                    <a:pt x="2822" y="1024"/>
                    <a:pt x="2843" y="1010"/>
                  </a:cubicBezTo>
                  <a:cubicBezTo>
                    <a:pt x="2852" y="1026"/>
                    <a:pt x="2861" y="1041"/>
                    <a:pt x="2870" y="1057"/>
                  </a:cubicBezTo>
                  <a:cubicBezTo>
                    <a:pt x="2884" y="1057"/>
                    <a:pt x="2884" y="1057"/>
                    <a:pt x="2884" y="1057"/>
                  </a:cubicBezTo>
                  <a:cubicBezTo>
                    <a:pt x="2873" y="1039"/>
                    <a:pt x="2863" y="1022"/>
                    <a:pt x="2853" y="1004"/>
                  </a:cubicBezTo>
                  <a:cubicBezTo>
                    <a:pt x="2861" y="999"/>
                    <a:pt x="2870" y="994"/>
                    <a:pt x="2879" y="989"/>
                  </a:cubicBezTo>
                  <a:cubicBezTo>
                    <a:pt x="2891" y="983"/>
                    <a:pt x="2906" y="977"/>
                    <a:pt x="2922" y="971"/>
                  </a:cubicBezTo>
                  <a:cubicBezTo>
                    <a:pt x="2923" y="973"/>
                    <a:pt x="2923" y="974"/>
                    <a:pt x="2924" y="975"/>
                  </a:cubicBezTo>
                  <a:cubicBezTo>
                    <a:pt x="2926" y="980"/>
                    <a:pt x="2926" y="980"/>
                    <a:pt x="2926" y="980"/>
                  </a:cubicBezTo>
                  <a:cubicBezTo>
                    <a:pt x="2936" y="1000"/>
                    <a:pt x="2947" y="1020"/>
                    <a:pt x="2958" y="1040"/>
                  </a:cubicBezTo>
                  <a:cubicBezTo>
                    <a:pt x="2944" y="1044"/>
                    <a:pt x="2930" y="1049"/>
                    <a:pt x="2917" y="1055"/>
                  </a:cubicBezTo>
                  <a:cubicBezTo>
                    <a:pt x="2916" y="1055"/>
                    <a:pt x="2914" y="1056"/>
                    <a:pt x="2913" y="1057"/>
                  </a:cubicBezTo>
                  <a:cubicBezTo>
                    <a:pt x="2944" y="1057"/>
                    <a:pt x="2944" y="1057"/>
                    <a:pt x="2944" y="1057"/>
                  </a:cubicBezTo>
                  <a:cubicBezTo>
                    <a:pt x="2951" y="1054"/>
                    <a:pt x="2957" y="1052"/>
                    <a:pt x="2964" y="1050"/>
                  </a:cubicBezTo>
                  <a:cubicBezTo>
                    <a:pt x="2965" y="1052"/>
                    <a:pt x="2966" y="1055"/>
                    <a:pt x="2967" y="1057"/>
                  </a:cubicBezTo>
                  <a:cubicBezTo>
                    <a:pt x="2980" y="1057"/>
                    <a:pt x="2980" y="1057"/>
                    <a:pt x="2980" y="1057"/>
                  </a:cubicBezTo>
                  <a:cubicBezTo>
                    <a:pt x="2979" y="1053"/>
                    <a:pt x="2977" y="1050"/>
                    <a:pt x="2975" y="1047"/>
                  </a:cubicBezTo>
                  <a:cubicBezTo>
                    <a:pt x="2998" y="1040"/>
                    <a:pt x="3022" y="1035"/>
                    <a:pt x="3048" y="1032"/>
                  </a:cubicBezTo>
                  <a:cubicBezTo>
                    <a:pt x="3052" y="1040"/>
                    <a:pt x="3056" y="1048"/>
                    <a:pt x="3061" y="1057"/>
                  </a:cubicBezTo>
                  <a:cubicBezTo>
                    <a:pt x="3073" y="1057"/>
                    <a:pt x="3073" y="1057"/>
                    <a:pt x="3073" y="1057"/>
                  </a:cubicBezTo>
                  <a:cubicBezTo>
                    <a:pt x="3073" y="1055"/>
                    <a:pt x="3072" y="1054"/>
                    <a:pt x="3071" y="1052"/>
                  </a:cubicBezTo>
                  <a:cubicBezTo>
                    <a:pt x="3067" y="1045"/>
                    <a:pt x="3064" y="1037"/>
                    <a:pt x="3060" y="1030"/>
                  </a:cubicBezTo>
                  <a:cubicBezTo>
                    <a:pt x="3084" y="1027"/>
                    <a:pt x="3110" y="1025"/>
                    <a:pt x="3136" y="1024"/>
                  </a:cubicBezTo>
                  <a:cubicBezTo>
                    <a:pt x="3141" y="1035"/>
                    <a:pt x="3145" y="1046"/>
                    <a:pt x="3149" y="1057"/>
                  </a:cubicBezTo>
                  <a:cubicBezTo>
                    <a:pt x="3161" y="1057"/>
                    <a:pt x="3161" y="1057"/>
                    <a:pt x="3161" y="1057"/>
                  </a:cubicBezTo>
                  <a:cubicBezTo>
                    <a:pt x="3157" y="1046"/>
                    <a:pt x="3153" y="1035"/>
                    <a:pt x="3148" y="1024"/>
                  </a:cubicBezTo>
                  <a:cubicBezTo>
                    <a:pt x="3151" y="1024"/>
                    <a:pt x="3154" y="1024"/>
                    <a:pt x="3157" y="1024"/>
                  </a:cubicBezTo>
                  <a:cubicBezTo>
                    <a:pt x="3179" y="1024"/>
                    <a:pt x="3201" y="1025"/>
                    <a:pt x="3223" y="1027"/>
                  </a:cubicBezTo>
                  <a:cubicBezTo>
                    <a:pt x="3226" y="1037"/>
                    <a:pt x="3229" y="1047"/>
                    <a:pt x="3231" y="1057"/>
                  </a:cubicBezTo>
                  <a:cubicBezTo>
                    <a:pt x="3243" y="1057"/>
                    <a:pt x="3243" y="1057"/>
                    <a:pt x="3243" y="1057"/>
                  </a:cubicBezTo>
                  <a:cubicBezTo>
                    <a:pt x="3241" y="1047"/>
                    <a:pt x="3238" y="1037"/>
                    <a:pt x="3235" y="1027"/>
                  </a:cubicBezTo>
                  <a:cubicBezTo>
                    <a:pt x="3258" y="1029"/>
                    <a:pt x="3281" y="1032"/>
                    <a:pt x="3304" y="1035"/>
                  </a:cubicBezTo>
                  <a:cubicBezTo>
                    <a:pt x="3305" y="1042"/>
                    <a:pt x="3306" y="1050"/>
                    <a:pt x="3307" y="1057"/>
                  </a:cubicBezTo>
                  <a:cubicBezTo>
                    <a:pt x="3318" y="1057"/>
                    <a:pt x="3318" y="1057"/>
                    <a:pt x="3318" y="1057"/>
                  </a:cubicBezTo>
                  <a:cubicBezTo>
                    <a:pt x="3318" y="1050"/>
                    <a:pt x="3317" y="1044"/>
                    <a:pt x="3316" y="1037"/>
                  </a:cubicBezTo>
                  <a:cubicBezTo>
                    <a:pt x="3336" y="1040"/>
                    <a:pt x="3356" y="1044"/>
                    <a:pt x="3376" y="1048"/>
                  </a:cubicBezTo>
                  <a:cubicBezTo>
                    <a:pt x="3376" y="1051"/>
                    <a:pt x="3376" y="1054"/>
                    <a:pt x="3375" y="1057"/>
                  </a:cubicBezTo>
                  <a:cubicBezTo>
                    <a:pt x="3387" y="1057"/>
                    <a:pt x="3387" y="1057"/>
                    <a:pt x="3387" y="1057"/>
                  </a:cubicBezTo>
                  <a:cubicBezTo>
                    <a:pt x="3387" y="1055"/>
                    <a:pt x="3387" y="1053"/>
                    <a:pt x="3387" y="1051"/>
                  </a:cubicBezTo>
                  <a:cubicBezTo>
                    <a:pt x="3390" y="1051"/>
                    <a:pt x="3393" y="1052"/>
                    <a:pt x="3395" y="1052"/>
                  </a:cubicBezTo>
                  <a:cubicBezTo>
                    <a:pt x="3395" y="1054"/>
                    <a:pt x="3395" y="1055"/>
                    <a:pt x="3395" y="1057"/>
                  </a:cubicBezTo>
                  <a:cubicBezTo>
                    <a:pt x="3406" y="1057"/>
                    <a:pt x="3406" y="1057"/>
                    <a:pt x="3406" y="1057"/>
                  </a:cubicBezTo>
                  <a:cubicBezTo>
                    <a:pt x="3406" y="1056"/>
                    <a:pt x="3406" y="1056"/>
                    <a:pt x="3406" y="1055"/>
                  </a:cubicBezTo>
                  <a:cubicBezTo>
                    <a:pt x="3409" y="1056"/>
                    <a:pt x="3411" y="1056"/>
                    <a:pt x="3414" y="1057"/>
                  </a:cubicBezTo>
                  <a:cubicBezTo>
                    <a:pt x="3430" y="1057"/>
                    <a:pt x="3430" y="1057"/>
                    <a:pt x="3430" y="1057"/>
                  </a:cubicBezTo>
                  <a:cubicBezTo>
                    <a:pt x="3429" y="1032"/>
                    <a:pt x="3427" y="1006"/>
                    <a:pt x="3423" y="979"/>
                  </a:cubicBezTo>
                  <a:cubicBezTo>
                    <a:pt x="3421" y="966"/>
                    <a:pt x="3420" y="954"/>
                    <a:pt x="3418" y="942"/>
                  </a:cubicBezTo>
                  <a:cubicBezTo>
                    <a:pt x="3420" y="942"/>
                    <a:pt x="3420" y="942"/>
                    <a:pt x="3420" y="942"/>
                  </a:cubicBezTo>
                  <a:cubicBezTo>
                    <a:pt x="3416" y="916"/>
                    <a:pt x="3412" y="893"/>
                    <a:pt x="3405" y="872"/>
                  </a:cubicBezTo>
                  <a:cubicBezTo>
                    <a:pt x="3389" y="790"/>
                    <a:pt x="3370" y="733"/>
                    <a:pt x="3352" y="690"/>
                  </a:cubicBezTo>
                  <a:cubicBezTo>
                    <a:pt x="3353" y="689"/>
                    <a:pt x="3353" y="689"/>
                    <a:pt x="3353" y="689"/>
                  </a:cubicBezTo>
                  <a:cubicBezTo>
                    <a:pt x="3352" y="687"/>
                    <a:pt x="3350" y="685"/>
                    <a:pt x="3349" y="683"/>
                  </a:cubicBezTo>
                  <a:cubicBezTo>
                    <a:pt x="3332" y="646"/>
                    <a:pt x="3317" y="621"/>
                    <a:pt x="3303" y="600"/>
                  </a:cubicBezTo>
                  <a:cubicBezTo>
                    <a:pt x="3289" y="578"/>
                    <a:pt x="3280" y="562"/>
                    <a:pt x="3275" y="543"/>
                  </a:cubicBezTo>
                  <a:cubicBezTo>
                    <a:pt x="3273" y="533"/>
                    <a:pt x="3273" y="533"/>
                    <a:pt x="3273" y="533"/>
                  </a:cubicBezTo>
                  <a:cubicBezTo>
                    <a:pt x="3239" y="370"/>
                    <a:pt x="3185" y="243"/>
                    <a:pt x="3113" y="153"/>
                  </a:cubicBezTo>
                  <a:cubicBezTo>
                    <a:pt x="3116" y="149"/>
                    <a:pt x="3116" y="149"/>
                    <a:pt x="3116" y="149"/>
                  </a:cubicBezTo>
                  <a:cubicBezTo>
                    <a:pt x="3110" y="145"/>
                    <a:pt x="3105" y="141"/>
                    <a:pt x="3099" y="136"/>
                  </a:cubicBezTo>
                  <a:cubicBezTo>
                    <a:pt x="3021" y="46"/>
                    <a:pt x="2923" y="0"/>
                    <a:pt x="2809"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73" name="Freeform 679"/>
            <p:cNvSpPr>
              <a:spLocks noEditPoints="1"/>
            </p:cNvSpPr>
            <p:nvPr/>
          </p:nvSpPr>
          <p:spPr bwMode="auto">
            <a:xfrm>
              <a:off x="2943" y="2090"/>
              <a:ext cx="2397" cy="938"/>
            </a:xfrm>
            <a:custGeom>
              <a:avLst/>
              <a:gdLst>
                <a:gd name="T0" fmla="*/ 1 w 3887"/>
                <a:gd name="T1" fmla="*/ 1489 h 1522"/>
                <a:gd name="T2" fmla="*/ 1717 w 3887"/>
                <a:gd name="T3" fmla="*/ 1363 h 1522"/>
                <a:gd name="T4" fmla="*/ 69 w 3887"/>
                <a:gd name="T5" fmla="*/ 1413 h 1522"/>
                <a:gd name="T6" fmla="*/ 852 w 3887"/>
                <a:gd name="T7" fmla="*/ 1286 h 1522"/>
                <a:gd name="T8" fmla="*/ 1169 w 3887"/>
                <a:gd name="T9" fmla="*/ 1354 h 1522"/>
                <a:gd name="T10" fmla="*/ 89 w 3887"/>
                <a:gd name="T11" fmla="*/ 1288 h 1522"/>
                <a:gd name="T12" fmla="*/ 747 w 3887"/>
                <a:gd name="T13" fmla="*/ 1340 h 1522"/>
                <a:gd name="T14" fmla="*/ 1406 w 3887"/>
                <a:gd name="T15" fmla="*/ 1242 h 1522"/>
                <a:gd name="T16" fmla="*/ 1762 w 3887"/>
                <a:gd name="T17" fmla="*/ 1135 h 1522"/>
                <a:gd name="T18" fmla="*/ 754 w 3887"/>
                <a:gd name="T19" fmla="*/ 1096 h 1522"/>
                <a:gd name="T20" fmla="*/ 1499 w 3887"/>
                <a:gd name="T21" fmla="*/ 1146 h 1522"/>
                <a:gd name="T22" fmla="*/ 1792 w 3887"/>
                <a:gd name="T23" fmla="*/ 1122 h 1522"/>
                <a:gd name="T24" fmla="*/ 587 w 3887"/>
                <a:gd name="T25" fmla="*/ 1080 h 1522"/>
                <a:gd name="T26" fmla="*/ 2005 w 3887"/>
                <a:gd name="T27" fmla="*/ 1038 h 1522"/>
                <a:gd name="T28" fmla="*/ 1137 w 3887"/>
                <a:gd name="T29" fmla="*/ 901 h 1522"/>
                <a:gd name="T30" fmla="*/ 879 w 3887"/>
                <a:gd name="T31" fmla="*/ 1006 h 1522"/>
                <a:gd name="T32" fmla="*/ 1579 w 3887"/>
                <a:gd name="T33" fmla="*/ 908 h 1522"/>
                <a:gd name="T34" fmla="*/ 59 w 3887"/>
                <a:gd name="T35" fmla="*/ 940 h 1522"/>
                <a:gd name="T36" fmla="*/ 23 w 3887"/>
                <a:gd name="T37" fmla="*/ 837 h 1522"/>
                <a:gd name="T38" fmla="*/ 1699 w 3887"/>
                <a:gd name="T39" fmla="*/ 767 h 1522"/>
                <a:gd name="T40" fmla="*/ 1140 w 3887"/>
                <a:gd name="T41" fmla="*/ 769 h 1522"/>
                <a:gd name="T42" fmla="*/ 146 w 3887"/>
                <a:gd name="T43" fmla="*/ 705 h 1522"/>
                <a:gd name="T44" fmla="*/ 303 w 3887"/>
                <a:gd name="T45" fmla="*/ 728 h 1522"/>
                <a:gd name="T46" fmla="*/ 157 w 3887"/>
                <a:gd name="T47" fmla="*/ 710 h 1522"/>
                <a:gd name="T48" fmla="*/ 729 w 3887"/>
                <a:gd name="T49" fmla="*/ 477 h 1522"/>
                <a:gd name="T50" fmla="*/ 264 w 3887"/>
                <a:gd name="T51" fmla="*/ 617 h 1522"/>
                <a:gd name="T52" fmla="*/ 1973 w 3887"/>
                <a:gd name="T53" fmla="*/ 567 h 1522"/>
                <a:gd name="T54" fmla="*/ 1209 w 3887"/>
                <a:gd name="T55" fmla="*/ 408 h 1522"/>
                <a:gd name="T56" fmla="*/ 1680 w 3887"/>
                <a:gd name="T57" fmla="*/ 464 h 1522"/>
                <a:gd name="T58" fmla="*/ 975 w 3887"/>
                <a:gd name="T59" fmla="*/ 363 h 1522"/>
                <a:gd name="T60" fmla="*/ 307 w 3887"/>
                <a:gd name="T61" fmla="*/ 375 h 1522"/>
                <a:gd name="T62" fmla="*/ 112 w 3887"/>
                <a:gd name="T63" fmla="*/ 293 h 1522"/>
                <a:gd name="T64" fmla="*/ 285 w 3887"/>
                <a:gd name="T65" fmla="*/ 332 h 1522"/>
                <a:gd name="T66" fmla="*/ 1519 w 3887"/>
                <a:gd name="T67" fmla="*/ 251 h 1522"/>
                <a:gd name="T68" fmla="*/ 1983 w 3887"/>
                <a:gd name="T69" fmla="*/ 425 h 1522"/>
                <a:gd name="T70" fmla="*/ 1974 w 3887"/>
                <a:gd name="T71" fmla="*/ 212 h 1522"/>
                <a:gd name="T72" fmla="*/ 1044 w 3887"/>
                <a:gd name="T73" fmla="*/ 326 h 1522"/>
                <a:gd name="T74" fmla="*/ 557 w 3887"/>
                <a:gd name="T75" fmla="*/ 182 h 1522"/>
                <a:gd name="T76" fmla="*/ 1189 w 3887"/>
                <a:gd name="T77" fmla="*/ 284 h 1522"/>
                <a:gd name="T78" fmla="*/ 114 w 3887"/>
                <a:gd name="T79" fmla="*/ 228 h 1522"/>
                <a:gd name="T80" fmla="*/ 1997 w 3887"/>
                <a:gd name="T81" fmla="*/ 140 h 1522"/>
                <a:gd name="T82" fmla="*/ 171 w 3887"/>
                <a:gd name="T83" fmla="*/ 154 h 1522"/>
                <a:gd name="T84" fmla="*/ 123 w 3887"/>
                <a:gd name="T85" fmla="*/ 248 h 1522"/>
                <a:gd name="T86" fmla="*/ 292 w 3887"/>
                <a:gd name="T87" fmla="*/ 155 h 1522"/>
                <a:gd name="T88" fmla="*/ 1996 w 3887"/>
                <a:gd name="T89" fmla="*/ 91 h 1522"/>
                <a:gd name="T90" fmla="*/ 277 w 3887"/>
                <a:gd name="T91" fmla="*/ 127 h 1522"/>
                <a:gd name="T92" fmla="*/ 293 w 3887"/>
                <a:gd name="T93" fmla="*/ 14 h 1522"/>
                <a:gd name="T94" fmla="*/ 2047 w 3887"/>
                <a:gd name="T95" fmla="*/ 50 h 1522"/>
                <a:gd name="T96" fmla="*/ 2037 w 3887"/>
                <a:gd name="T97" fmla="*/ 0 h 1522"/>
                <a:gd name="T98" fmla="*/ 1928 w 3887"/>
                <a:gd name="T99" fmla="*/ 29 h 1522"/>
                <a:gd name="T100" fmla="*/ 1657 w 3887"/>
                <a:gd name="T101" fmla="*/ 0 h 1522"/>
                <a:gd name="T102" fmla="*/ 790 w 3887"/>
                <a:gd name="T103" fmla="*/ 3 h 1522"/>
                <a:gd name="T104" fmla="*/ 326 w 3887"/>
                <a:gd name="T105" fmla="*/ 0 h 1522"/>
                <a:gd name="T106" fmla="*/ 139 w 3887"/>
                <a:gd name="T107" fmla="*/ 50 h 1522"/>
                <a:gd name="T108" fmla="*/ 0 w 3887"/>
                <a:gd name="T109" fmla="*/ 435 h 1522"/>
                <a:gd name="T110" fmla="*/ 0 w 3887"/>
                <a:gd name="T111" fmla="*/ 1092 h 1522"/>
                <a:gd name="T112" fmla="*/ 3 w 3887"/>
                <a:gd name="T113" fmla="*/ 1489 h 1522"/>
                <a:gd name="T114" fmla="*/ 667 w 3887"/>
                <a:gd name="T115" fmla="*/ 1444 h 1522"/>
                <a:gd name="T116" fmla="*/ 1235 w 3887"/>
                <a:gd name="T117" fmla="*/ 1459 h 1522"/>
                <a:gd name="T118" fmla="*/ 2007 w 3887"/>
                <a:gd name="T119" fmla="*/ 1471 h 1522"/>
                <a:gd name="T120" fmla="*/ 2053 w 3887"/>
                <a:gd name="T121" fmla="*/ 869 h 1522"/>
                <a:gd name="T122" fmla="*/ 1999 w 3887"/>
                <a:gd name="T123" fmla="*/ 319 h 1522"/>
                <a:gd name="T124" fmla="*/ 2097 w 3887"/>
                <a:gd name="T125" fmla="*/ 192 h 1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87" h="1522">
                  <a:moveTo>
                    <a:pt x="3887" y="1489"/>
                  </a:moveTo>
                  <a:cubicBezTo>
                    <a:pt x="3849" y="1489"/>
                    <a:pt x="3849" y="1489"/>
                    <a:pt x="3849" y="1489"/>
                  </a:cubicBezTo>
                  <a:cubicBezTo>
                    <a:pt x="3837" y="1492"/>
                    <a:pt x="3824" y="1496"/>
                    <a:pt x="3811" y="1498"/>
                  </a:cubicBezTo>
                  <a:cubicBezTo>
                    <a:pt x="3808" y="1495"/>
                    <a:pt x="3804" y="1492"/>
                    <a:pt x="3801" y="1489"/>
                  </a:cubicBezTo>
                  <a:cubicBezTo>
                    <a:pt x="3784" y="1489"/>
                    <a:pt x="3784" y="1489"/>
                    <a:pt x="3784" y="1489"/>
                  </a:cubicBezTo>
                  <a:cubicBezTo>
                    <a:pt x="3788" y="1493"/>
                    <a:pt x="3793" y="1497"/>
                    <a:pt x="3797" y="1501"/>
                  </a:cubicBezTo>
                  <a:cubicBezTo>
                    <a:pt x="3792" y="1502"/>
                    <a:pt x="3788" y="1503"/>
                    <a:pt x="3783" y="1503"/>
                  </a:cubicBezTo>
                  <a:cubicBezTo>
                    <a:pt x="3761" y="1507"/>
                    <a:pt x="3738" y="1509"/>
                    <a:pt x="3716" y="1510"/>
                  </a:cubicBezTo>
                  <a:cubicBezTo>
                    <a:pt x="3708" y="1503"/>
                    <a:pt x="3702" y="1496"/>
                    <a:pt x="3695" y="1489"/>
                  </a:cubicBezTo>
                  <a:cubicBezTo>
                    <a:pt x="3679" y="1489"/>
                    <a:pt x="3679" y="1489"/>
                    <a:pt x="3679" y="1489"/>
                  </a:cubicBezTo>
                  <a:cubicBezTo>
                    <a:pt x="3685" y="1496"/>
                    <a:pt x="3692" y="1503"/>
                    <a:pt x="3699" y="1509"/>
                  </a:cubicBezTo>
                  <a:cubicBezTo>
                    <a:pt x="3672" y="1509"/>
                    <a:pt x="3646" y="1507"/>
                    <a:pt x="3619" y="1503"/>
                  </a:cubicBezTo>
                  <a:cubicBezTo>
                    <a:pt x="3615" y="1498"/>
                    <a:pt x="3610" y="1494"/>
                    <a:pt x="3606" y="1489"/>
                  </a:cubicBezTo>
                  <a:cubicBezTo>
                    <a:pt x="3590" y="1489"/>
                    <a:pt x="3590" y="1489"/>
                    <a:pt x="3590" y="1489"/>
                  </a:cubicBezTo>
                  <a:cubicBezTo>
                    <a:pt x="3593" y="1493"/>
                    <a:pt x="3597" y="1496"/>
                    <a:pt x="3600" y="1500"/>
                  </a:cubicBezTo>
                  <a:cubicBezTo>
                    <a:pt x="3585" y="1497"/>
                    <a:pt x="3569" y="1493"/>
                    <a:pt x="3554" y="1489"/>
                  </a:cubicBezTo>
                  <a:cubicBezTo>
                    <a:pt x="3513" y="1489"/>
                    <a:pt x="3513" y="1489"/>
                    <a:pt x="3513" y="1489"/>
                  </a:cubicBezTo>
                  <a:cubicBezTo>
                    <a:pt x="3515" y="1490"/>
                    <a:pt x="3517" y="1490"/>
                    <a:pt x="3519" y="1491"/>
                  </a:cubicBezTo>
                  <a:cubicBezTo>
                    <a:pt x="3520" y="1491"/>
                    <a:pt x="3521" y="1492"/>
                    <a:pt x="3521" y="1493"/>
                  </a:cubicBezTo>
                  <a:cubicBezTo>
                    <a:pt x="3522" y="1492"/>
                    <a:pt x="3522" y="1492"/>
                    <a:pt x="3522" y="1492"/>
                  </a:cubicBezTo>
                  <a:cubicBezTo>
                    <a:pt x="3553" y="1502"/>
                    <a:pt x="3584" y="1510"/>
                    <a:pt x="3614" y="1515"/>
                  </a:cubicBezTo>
                  <a:cubicBezTo>
                    <a:pt x="3615" y="1515"/>
                    <a:pt x="3615" y="1515"/>
                    <a:pt x="3615" y="1515"/>
                  </a:cubicBezTo>
                  <a:cubicBezTo>
                    <a:pt x="3615" y="1515"/>
                    <a:pt x="3615" y="1515"/>
                    <a:pt x="3615" y="1515"/>
                  </a:cubicBezTo>
                  <a:cubicBezTo>
                    <a:pt x="3644" y="1519"/>
                    <a:pt x="3673" y="1522"/>
                    <a:pt x="3702" y="1522"/>
                  </a:cubicBezTo>
                  <a:cubicBezTo>
                    <a:pt x="3729" y="1522"/>
                    <a:pt x="3757" y="1520"/>
                    <a:pt x="3785" y="1515"/>
                  </a:cubicBezTo>
                  <a:cubicBezTo>
                    <a:pt x="3793" y="1514"/>
                    <a:pt x="3800" y="1513"/>
                    <a:pt x="3808" y="1511"/>
                  </a:cubicBezTo>
                  <a:cubicBezTo>
                    <a:pt x="3808" y="1511"/>
                    <a:pt x="3809" y="1512"/>
                    <a:pt x="3809" y="1512"/>
                  </a:cubicBezTo>
                  <a:cubicBezTo>
                    <a:pt x="3810" y="1511"/>
                    <a:pt x="3810" y="1511"/>
                    <a:pt x="3810" y="1511"/>
                  </a:cubicBezTo>
                  <a:cubicBezTo>
                    <a:pt x="3838" y="1505"/>
                    <a:pt x="3864" y="1497"/>
                    <a:pt x="3887" y="1489"/>
                  </a:cubicBezTo>
                  <a:moveTo>
                    <a:pt x="0" y="1488"/>
                  </a:moveTo>
                  <a:cubicBezTo>
                    <a:pt x="0" y="1489"/>
                    <a:pt x="0" y="1489"/>
                    <a:pt x="0" y="1489"/>
                  </a:cubicBezTo>
                  <a:cubicBezTo>
                    <a:pt x="1" y="1489"/>
                    <a:pt x="1" y="1489"/>
                    <a:pt x="1" y="1489"/>
                  </a:cubicBezTo>
                  <a:cubicBezTo>
                    <a:pt x="0" y="1488"/>
                    <a:pt x="0" y="1488"/>
                    <a:pt x="0" y="1488"/>
                  </a:cubicBezTo>
                  <a:moveTo>
                    <a:pt x="44" y="1481"/>
                  </a:moveTo>
                  <a:cubicBezTo>
                    <a:pt x="41" y="1478"/>
                    <a:pt x="38" y="1474"/>
                    <a:pt x="35" y="1471"/>
                  </a:cubicBezTo>
                  <a:cubicBezTo>
                    <a:pt x="26" y="1460"/>
                    <a:pt x="17" y="1450"/>
                    <a:pt x="9" y="1441"/>
                  </a:cubicBezTo>
                  <a:cubicBezTo>
                    <a:pt x="16" y="1440"/>
                    <a:pt x="22" y="1438"/>
                    <a:pt x="29" y="1436"/>
                  </a:cubicBezTo>
                  <a:cubicBezTo>
                    <a:pt x="41" y="1450"/>
                    <a:pt x="52" y="1464"/>
                    <a:pt x="63" y="1477"/>
                  </a:cubicBezTo>
                  <a:cubicBezTo>
                    <a:pt x="56" y="1479"/>
                    <a:pt x="50" y="1480"/>
                    <a:pt x="44" y="1481"/>
                  </a:cubicBezTo>
                  <a:moveTo>
                    <a:pt x="75" y="1474"/>
                  </a:moveTo>
                  <a:cubicBezTo>
                    <a:pt x="64" y="1461"/>
                    <a:pt x="53" y="1447"/>
                    <a:pt x="42" y="1433"/>
                  </a:cubicBezTo>
                  <a:cubicBezTo>
                    <a:pt x="49" y="1431"/>
                    <a:pt x="57" y="1429"/>
                    <a:pt x="65" y="1427"/>
                  </a:cubicBezTo>
                  <a:cubicBezTo>
                    <a:pt x="71" y="1433"/>
                    <a:pt x="77" y="1439"/>
                    <a:pt x="82" y="1445"/>
                  </a:cubicBezTo>
                  <a:cubicBezTo>
                    <a:pt x="89" y="1453"/>
                    <a:pt x="96" y="1460"/>
                    <a:pt x="103" y="1468"/>
                  </a:cubicBezTo>
                  <a:cubicBezTo>
                    <a:pt x="94" y="1470"/>
                    <a:pt x="84" y="1472"/>
                    <a:pt x="75" y="1474"/>
                  </a:cubicBezTo>
                  <a:moveTo>
                    <a:pt x="116" y="1465"/>
                  </a:moveTo>
                  <a:cubicBezTo>
                    <a:pt x="107" y="1455"/>
                    <a:pt x="99" y="1446"/>
                    <a:pt x="90" y="1437"/>
                  </a:cubicBezTo>
                  <a:cubicBezTo>
                    <a:pt x="86" y="1432"/>
                    <a:pt x="82" y="1428"/>
                    <a:pt x="78" y="1423"/>
                  </a:cubicBezTo>
                  <a:cubicBezTo>
                    <a:pt x="103" y="1416"/>
                    <a:pt x="130" y="1407"/>
                    <a:pt x="159" y="1397"/>
                  </a:cubicBezTo>
                  <a:cubicBezTo>
                    <a:pt x="171" y="1413"/>
                    <a:pt x="183" y="1429"/>
                    <a:pt x="195" y="1444"/>
                  </a:cubicBezTo>
                  <a:cubicBezTo>
                    <a:pt x="167" y="1452"/>
                    <a:pt x="141" y="1459"/>
                    <a:pt x="116" y="1465"/>
                  </a:cubicBezTo>
                  <a:moveTo>
                    <a:pt x="33" y="1423"/>
                  </a:moveTo>
                  <a:cubicBezTo>
                    <a:pt x="23" y="1410"/>
                    <a:pt x="13" y="1397"/>
                    <a:pt x="2" y="1384"/>
                  </a:cubicBezTo>
                  <a:cubicBezTo>
                    <a:pt x="9" y="1382"/>
                    <a:pt x="16" y="1380"/>
                    <a:pt x="24" y="1378"/>
                  </a:cubicBezTo>
                  <a:cubicBezTo>
                    <a:pt x="35" y="1391"/>
                    <a:pt x="46" y="1404"/>
                    <a:pt x="57" y="1417"/>
                  </a:cubicBezTo>
                  <a:cubicBezTo>
                    <a:pt x="49" y="1419"/>
                    <a:pt x="41" y="1421"/>
                    <a:pt x="33" y="1423"/>
                  </a:cubicBezTo>
                  <a:moveTo>
                    <a:pt x="1529" y="1484"/>
                  </a:moveTo>
                  <a:cubicBezTo>
                    <a:pt x="1513" y="1452"/>
                    <a:pt x="1496" y="1420"/>
                    <a:pt x="1478" y="1391"/>
                  </a:cubicBezTo>
                  <a:cubicBezTo>
                    <a:pt x="1512" y="1385"/>
                    <a:pt x="1550" y="1380"/>
                    <a:pt x="1590" y="1375"/>
                  </a:cubicBezTo>
                  <a:cubicBezTo>
                    <a:pt x="1607" y="1405"/>
                    <a:pt x="1623" y="1438"/>
                    <a:pt x="1637" y="1472"/>
                  </a:cubicBezTo>
                  <a:cubicBezTo>
                    <a:pt x="1598" y="1476"/>
                    <a:pt x="1561" y="1480"/>
                    <a:pt x="1529" y="1484"/>
                  </a:cubicBezTo>
                  <a:moveTo>
                    <a:pt x="1649" y="1471"/>
                  </a:moveTo>
                  <a:cubicBezTo>
                    <a:pt x="1635" y="1437"/>
                    <a:pt x="1619" y="1404"/>
                    <a:pt x="1603" y="1374"/>
                  </a:cubicBezTo>
                  <a:cubicBezTo>
                    <a:pt x="1639" y="1370"/>
                    <a:pt x="1677" y="1366"/>
                    <a:pt x="1717" y="1363"/>
                  </a:cubicBezTo>
                  <a:cubicBezTo>
                    <a:pt x="1731" y="1395"/>
                    <a:pt x="1745" y="1428"/>
                    <a:pt x="1758" y="1463"/>
                  </a:cubicBezTo>
                  <a:cubicBezTo>
                    <a:pt x="1720" y="1465"/>
                    <a:pt x="1683" y="1468"/>
                    <a:pt x="1649" y="1471"/>
                  </a:cubicBezTo>
                  <a:moveTo>
                    <a:pt x="1770" y="1462"/>
                  </a:moveTo>
                  <a:cubicBezTo>
                    <a:pt x="1757" y="1428"/>
                    <a:pt x="1743" y="1394"/>
                    <a:pt x="1729" y="1363"/>
                  </a:cubicBezTo>
                  <a:cubicBezTo>
                    <a:pt x="1766" y="1361"/>
                    <a:pt x="1804" y="1359"/>
                    <a:pt x="1843" y="1358"/>
                  </a:cubicBezTo>
                  <a:cubicBezTo>
                    <a:pt x="1856" y="1391"/>
                    <a:pt x="1867" y="1425"/>
                    <a:pt x="1877" y="1459"/>
                  </a:cubicBezTo>
                  <a:cubicBezTo>
                    <a:pt x="1840" y="1459"/>
                    <a:pt x="1804" y="1461"/>
                    <a:pt x="1770" y="1462"/>
                  </a:cubicBezTo>
                  <a:moveTo>
                    <a:pt x="1889" y="1459"/>
                  </a:moveTo>
                  <a:cubicBezTo>
                    <a:pt x="1879" y="1424"/>
                    <a:pt x="1868" y="1391"/>
                    <a:pt x="1855" y="1358"/>
                  </a:cubicBezTo>
                  <a:cubicBezTo>
                    <a:pt x="1862" y="1358"/>
                    <a:pt x="1869" y="1358"/>
                    <a:pt x="1876" y="1358"/>
                  </a:cubicBezTo>
                  <a:cubicBezTo>
                    <a:pt x="1906" y="1358"/>
                    <a:pt x="1937" y="1359"/>
                    <a:pt x="1968" y="1360"/>
                  </a:cubicBezTo>
                  <a:cubicBezTo>
                    <a:pt x="1978" y="1392"/>
                    <a:pt x="1986" y="1425"/>
                    <a:pt x="1993" y="1459"/>
                  </a:cubicBezTo>
                  <a:cubicBezTo>
                    <a:pt x="1973" y="1458"/>
                    <a:pt x="1954" y="1458"/>
                    <a:pt x="1935" y="1458"/>
                  </a:cubicBezTo>
                  <a:cubicBezTo>
                    <a:pt x="1919" y="1458"/>
                    <a:pt x="1904" y="1458"/>
                    <a:pt x="1889" y="1459"/>
                  </a:cubicBezTo>
                  <a:moveTo>
                    <a:pt x="544" y="1478"/>
                  </a:moveTo>
                  <a:cubicBezTo>
                    <a:pt x="544" y="1478"/>
                    <a:pt x="544" y="1478"/>
                    <a:pt x="544" y="1478"/>
                  </a:cubicBezTo>
                  <a:cubicBezTo>
                    <a:pt x="530" y="1461"/>
                    <a:pt x="514" y="1440"/>
                    <a:pt x="499" y="1418"/>
                  </a:cubicBezTo>
                  <a:cubicBezTo>
                    <a:pt x="534" y="1401"/>
                    <a:pt x="567" y="1380"/>
                    <a:pt x="596" y="1357"/>
                  </a:cubicBezTo>
                  <a:cubicBezTo>
                    <a:pt x="611" y="1381"/>
                    <a:pt x="625" y="1404"/>
                    <a:pt x="640" y="1425"/>
                  </a:cubicBezTo>
                  <a:cubicBezTo>
                    <a:pt x="611" y="1445"/>
                    <a:pt x="579" y="1463"/>
                    <a:pt x="544" y="1478"/>
                  </a:cubicBezTo>
                  <a:moveTo>
                    <a:pt x="374" y="1456"/>
                  </a:moveTo>
                  <a:cubicBezTo>
                    <a:pt x="362" y="1440"/>
                    <a:pt x="350" y="1424"/>
                    <a:pt x="337" y="1407"/>
                  </a:cubicBezTo>
                  <a:cubicBezTo>
                    <a:pt x="373" y="1392"/>
                    <a:pt x="408" y="1375"/>
                    <a:pt x="442" y="1355"/>
                  </a:cubicBezTo>
                  <a:cubicBezTo>
                    <a:pt x="456" y="1375"/>
                    <a:pt x="469" y="1395"/>
                    <a:pt x="481" y="1413"/>
                  </a:cubicBezTo>
                  <a:cubicBezTo>
                    <a:pt x="447" y="1430"/>
                    <a:pt x="411" y="1444"/>
                    <a:pt x="374" y="1456"/>
                  </a:cubicBezTo>
                  <a:moveTo>
                    <a:pt x="206" y="1440"/>
                  </a:moveTo>
                  <a:cubicBezTo>
                    <a:pt x="195" y="1425"/>
                    <a:pt x="183" y="1409"/>
                    <a:pt x="170" y="1393"/>
                  </a:cubicBezTo>
                  <a:cubicBezTo>
                    <a:pt x="207" y="1381"/>
                    <a:pt x="244" y="1366"/>
                    <a:pt x="282" y="1348"/>
                  </a:cubicBezTo>
                  <a:cubicBezTo>
                    <a:pt x="284" y="1352"/>
                    <a:pt x="286" y="1355"/>
                    <a:pt x="289" y="1358"/>
                  </a:cubicBezTo>
                  <a:cubicBezTo>
                    <a:pt x="299" y="1373"/>
                    <a:pt x="309" y="1387"/>
                    <a:pt x="319" y="1401"/>
                  </a:cubicBezTo>
                  <a:cubicBezTo>
                    <a:pt x="281" y="1416"/>
                    <a:pt x="243" y="1429"/>
                    <a:pt x="206" y="1440"/>
                  </a:cubicBezTo>
                  <a:moveTo>
                    <a:pt x="69" y="1413"/>
                  </a:moveTo>
                  <a:cubicBezTo>
                    <a:pt x="58" y="1401"/>
                    <a:pt x="47" y="1388"/>
                    <a:pt x="35" y="1374"/>
                  </a:cubicBezTo>
                  <a:cubicBezTo>
                    <a:pt x="61" y="1365"/>
                    <a:pt x="89" y="1355"/>
                    <a:pt x="118" y="1343"/>
                  </a:cubicBezTo>
                  <a:cubicBezTo>
                    <a:pt x="129" y="1358"/>
                    <a:pt x="140" y="1373"/>
                    <a:pt x="152" y="1387"/>
                  </a:cubicBezTo>
                  <a:cubicBezTo>
                    <a:pt x="122" y="1397"/>
                    <a:pt x="94" y="1406"/>
                    <a:pt x="69" y="1413"/>
                  </a:cubicBezTo>
                  <a:moveTo>
                    <a:pt x="1239" y="1445"/>
                  </a:moveTo>
                  <a:cubicBezTo>
                    <a:pt x="1218" y="1415"/>
                    <a:pt x="1200" y="1386"/>
                    <a:pt x="1185" y="1360"/>
                  </a:cubicBezTo>
                  <a:cubicBezTo>
                    <a:pt x="1220" y="1346"/>
                    <a:pt x="1255" y="1333"/>
                    <a:pt x="1290" y="1321"/>
                  </a:cubicBezTo>
                  <a:cubicBezTo>
                    <a:pt x="1303" y="1348"/>
                    <a:pt x="1320" y="1378"/>
                    <a:pt x="1340" y="1410"/>
                  </a:cubicBezTo>
                  <a:cubicBezTo>
                    <a:pt x="1306" y="1420"/>
                    <a:pt x="1273" y="1432"/>
                    <a:pt x="1239" y="1445"/>
                  </a:cubicBezTo>
                  <a:moveTo>
                    <a:pt x="965" y="1454"/>
                  </a:moveTo>
                  <a:cubicBezTo>
                    <a:pt x="943" y="1424"/>
                    <a:pt x="925" y="1398"/>
                    <a:pt x="913" y="1377"/>
                  </a:cubicBezTo>
                  <a:cubicBezTo>
                    <a:pt x="913" y="1376"/>
                    <a:pt x="912" y="1375"/>
                    <a:pt x="912" y="1375"/>
                  </a:cubicBezTo>
                  <a:cubicBezTo>
                    <a:pt x="944" y="1357"/>
                    <a:pt x="977" y="1338"/>
                    <a:pt x="1012" y="1320"/>
                  </a:cubicBezTo>
                  <a:cubicBezTo>
                    <a:pt x="1017" y="1330"/>
                    <a:pt x="1022" y="1340"/>
                    <a:pt x="1027" y="1349"/>
                  </a:cubicBezTo>
                  <a:cubicBezTo>
                    <a:pt x="1035" y="1365"/>
                    <a:pt x="1046" y="1384"/>
                    <a:pt x="1059" y="1405"/>
                  </a:cubicBezTo>
                  <a:cubicBezTo>
                    <a:pt x="1027" y="1421"/>
                    <a:pt x="995" y="1438"/>
                    <a:pt x="965" y="1454"/>
                  </a:cubicBezTo>
                  <a:moveTo>
                    <a:pt x="1352" y="1406"/>
                  </a:moveTo>
                  <a:cubicBezTo>
                    <a:pt x="1331" y="1375"/>
                    <a:pt x="1314" y="1345"/>
                    <a:pt x="1301" y="1318"/>
                  </a:cubicBezTo>
                  <a:cubicBezTo>
                    <a:pt x="1319" y="1312"/>
                    <a:pt x="1337" y="1307"/>
                    <a:pt x="1354" y="1302"/>
                  </a:cubicBezTo>
                  <a:cubicBezTo>
                    <a:pt x="1371" y="1298"/>
                    <a:pt x="1391" y="1294"/>
                    <a:pt x="1412" y="1289"/>
                  </a:cubicBezTo>
                  <a:cubicBezTo>
                    <a:pt x="1424" y="1318"/>
                    <a:pt x="1440" y="1349"/>
                    <a:pt x="1460" y="1382"/>
                  </a:cubicBezTo>
                  <a:cubicBezTo>
                    <a:pt x="1436" y="1386"/>
                    <a:pt x="1414" y="1391"/>
                    <a:pt x="1394" y="1395"/>
                  </a:cubicBezTo>
                  <a:cubicBezTo>
                    <a:pt x="1380" y="1398"/>
                    <a:pt x="1366" y="1402"/>
                    <a:pt x="1352" y="1406"/>
                  </a:cubicBezTo>
                  <a:moveTo>
                    <a:pt x="163" y="1383"/>
                  </a:moveTo>
                  <a:cubicBezTo>
                    <a:pt x="152" y="1369"/>
                    <a:pt x="140" y="1354"/>
                    <a:pt x="129" y="1339"/>
                  </a:cubicBezTo>
                  <a:cubicBezTo>
                    <a:pt x="164" y="1324"/>
                    <a:pt x="202" y="1307"/>
                    <a:pt x="238" y="1288"/>
                  </a:cubicBezTo>
                  <a:cubicBezTo>
                    <a:pt x="251" y="1305"/>
                    <a:pt x="263" y="1322"/>
                    <a:pt x="275" y="1339"/>
                  </a:cubicBezTo>
                  <a:cubicBezTo>
                    <a:pt x="237" y="1356"/>
                    <a:pt x="199" y="1371"/>
                    <a:pt x="163" y="1383"/>
                  </a:cubicBezTo>
                  <a:moveTo>
                    <a:pt x="802" y="1427"/>
                  </a:moveTo>
                  <a:cubicBezTo>
                    <a:pt x="797" y="1421"/>
                    <a:pt x="793" y="1416"/>
                    <a:pt x="790" y="1410"/>
                  </a:cubicBezTo>
                  <a:cubicBezTo>
                    <a:pt x="779" y="1393"/>
                    <a:pt x="766" y="1372"/>
                    <a:pt x="753" y="1350"/>
                  </a:cubicBezTo>
                  <a:cubicBezTo>
                    <a:pt x="780" y="1332"/>
                    <a:pt x="813" y="1310"/>
                    <a:pt x="852" y="1286"/>
                  </a:cubicBezTo>
                  <a:cubicBezTo>
                    <a:pt x="867" y="1317"/>
                    <a:pt x="882" y="1345"/>
                    <a:pt x="896" y="1370"/>
                  </a:cubicBezTo>
                  <a:cubicBezTo>
                    <a:pt x="862" y="1390"/>
                    <a:pt x="830" y="1409"/>
                    <a:pt x="802" y="1427"/>
                  </a:cubicBezTo>
                  <a:moveTo>
                    <a:pt x="330" y="1397"/>
                  </a:moveTo>
                  <a:cubicBezTo>
                    <a:pt x="319" y="1382"/>
                    <a:pt x="309" y="1366"/>
                    <a:pt x="298" y="1351"/>
                  </a:cubicBezTo>
                  <a:cubicBezTo>
                    <a:pt x="296" y="1348"/>
                    <a:pt x="294" y="1346"/>
                    <a:pt x="292" y="1343"/>
                  </a:cubicBezTo>
                  <a:cubicBezTo>
                    <a:pt x="328" y="1326"/>
                    <a:pt x="363" y="1307"/>
                    <a:pt x="397" y="1286"/>
                  </a:cubicBezTo>
                  <a:cubicBezTo>
                    <a:pt x="404" y="1297"/>
                    <a:pt x="411" y="1308"/>
                    <a:pt x="419" y="1319"/>
                  </a:cubicBezTo>
                  <a:cubicBezTo>
                    <a:pt x="424" y="1328"/>
                    <a:pt x="430" y="1337"/>
                    <a:pt x="436" y="1345"/>
                  </a:cubicBezTo>
                  <a:cubicBezTo>
                    <a:pt x="402" y="1365"/>
                    <a:pt x="366" y="1382"/>
                    <a:pt x="330" y="1397"/>
                  </a:cubicBezTo>
                  <a:moveTo>
                    <a:pt x="492" y="1408"/>
                  </a:moveTo>
                  <a:cubicBezTo>
                    <a:pt x="479" y="1390"/>
                    <a:pt x="465" y="1370"/>
                    <a:pt x="452" y="1349"/>
                  </a:cubicBezTo>
                  <a:cubicBezTo>
                    <a:pt x="487" y="1329"/>
                    <a:pt x="520" y="1305"/>
                    <a:pt x="548" y="1279"/>
                  </a:cubicBezTo>
                  <a:cubicBezTo>
                    <a:pt x="562" y="1302"/>
                    <a:pt x="576" y="1325"/>
                    <a:pt x="589" y="1347"/>
                  </a:cubicBezTo>
                  <a:cubicBezTo>
                    <a:pt x="561" y="1370"/>
                    <a:pt x="528" y="1391"/>
                    <a:pt x="492" y="1408"/>
                  </a:cubicBezTo>
                  <a:moveTo>
                    <a:pt x="649" y="1418"/>
                  </a:moveTo>
                  <a:cubicBezTo>
                    <a:pt x="635" y="1397"/>
                    <a:pt x="620" y="1374"/>
                    <a:pt x="604" y="1350"/>
                  </a:cubicBezTo>
                  <a:cubicBezTo>
                    <a:pt x="614" y="1342"/>
                    <a:pt x="623" y="1333"/>
                    <a:pt x="631" y="1324"/>
                  </a:cubicBezTo>
                  <a:cubicBezTo>
                    <a:pt x="650" y="1304"/>
                    <a:pt x="671" y="1285"/>
                    <a:pt x="693" y="1268"/>
                  </a:cubicBezTo>
                  <a:cubicBezTo>
                    <a:pt x="708" y="1295"/>
                    <a:pt x="723" y="1321"/>
                    <a:pt x="738" y="1346"/>
                  </a:cubicBezTo>
                  <a:cubicBezTo>
                    <a:pt x="716" y="1362"/>
                    <a:pt x="694" y="1380"/>
                    <a:pt x="671" y="1400"/>
                  </a:cubicBezTo>
                  <a:cubicBezTo>
                    <a:pt x="664" y="1407"/>
                    <a:pt x="656" y="1412"/>
                    <a:pt x="649" y="1418"/>
                  </a:cubicBezTo>
                  <a:moveTo>
                    <a:pt x="1472" y="1380"/>
                  </a:moveTo>
                  <a:cubicBezTo>
                    <a:pt x="1452" y="1347"/>
                    <a:pt x="1436" y="1316"/>
                    <a:pt x="1423" y="1287"/>
                  </a:cubicBezTo>
                  <a:cubicBezTo>
                    <a:pt x="1457" y="1280"/>
                    <a:pt x="1496" y="1273"/>
                    <a:pt x="1537" y="1267"/>
                  </a:cubicBezTo>
                  <a:cubicBezTo>
                    <a:pt x="1549" y="1298"/>
                    <a:pt x="1565" y="1330"/>
                    <a:pt x="1584" y="1364"/>
                  </a:cubicBezTo>
                  <a:cubicBezTo>
                    <a:pt x="1544" y="1368"/>
                    <a:pt x="1506" y="1374"/>
                    <a:pt x="1472" y="1380"/>
                  </a:cubicBezTo>
                  <a:moveTo>
                    <a:pt x="1070" y="1400"/>
                  </a:moveTo>
                  <a:cubicBezTo>
                    <a:pt x="1056" y="1379"/>
                    <a:pt x="1044" y="1359"/>
                    <a:pt x="1036" y="1343"/>
                  </a:cubicBezTo>
                  <a:cubicBezTo>
                    <a:pt x="1032" y="1334"/>
                    <a:pt x="1027" y="1325"/>
                    <a:pt x="1022" y="1315"/>
                  </a:cubicBezTo>
                  <a:cubicBezTo>
                    <a:pt x="1056" y="1297"/>
                    <a:pt x="1092" y="1280"/>
                    <a:pt x="1128" y="1265"/>
                  </a:cubicBezTo>
                  <a:cubicBezTo>
                    <a:pt x="1135" y="1282"/>
                    <a:pt x="1142" y="1299"/>
                    <a:pt x="1149" y="1315"/>
                  </a:cubicBezTo>
                  <a:cubicBezTo>
                    <a:pt x="1155" y="1327"/>
                    <a:pt x="1161" y="1340"/>
                    <a:pt x="1169" y="1354"/>
                  </a:cubicBezTo>
                  <a:cubicBezTo>
                    <a:pt x="1135" y="1369"/>
                    <a:pt x="1102" y="1384"/>
                    <a:pt x="1070" y="1400"/>
                  </a:cubicBezTo>
                  <a:moveTo>
                    <a:pt x="1596" y="1362"/>
                  </a:moveTo>
                  <a:cubicBezTo>
                    <a:pt x="1596" y="1361"/>
                    <a:pt x="1595" y="1360"/>
                    <a:pt x="1595" y="1359"/>
                  </a:cubicBezTo>
                  <a:cubicBezTo>
                    <a:pt x="1576" y="1327"/>
                    <a:pt x="1561" y="1295"/>
                    <a:pt x="1549" y="1266"/>
                  </a:cubicBezTo>
                  <a:cubicBezTo>
                    <a:pt x="1585" y="1261"/>
                    <a:pt x="1624" y="1256"/>
                    <a:pt x="1665" y="1253"/>
                  </a:cubicBezTo>
                  <a:cubicBezTo>
                    <a:pt x="1675" y="1280"/>
                    <a:pt x="1688" y="1307"/>
                    <a:pt x="1702" y="1335"/>
                  </a:cubicBezTo>
                  <a:cubicBezTo>
                    <a:pt x="1705" y="1340"/>
                    <a:pt x="1708" y="1346"/>
                    <a:pt x="1711" y="1352"/>
                  </a:cubicBezTo>
                  <a:cubicBezTo>
                    <a:pt x="1671" y="1355"/>
                    <a:pt x="1633" y="1358"/>
                    <a:pt x="1596" y="1362"/>
                  </a:cubicBezTo>
                  <a:moveTo>
                    <a:pt x="2089" y="1357"/>
                  </a:moveTo>
                  <a:cubicBezTo>
                    <a:pt x="2051" y="1353"/>
                    <a:pt x="2014" y="1350"/>
                    <a:pt x="1976" y="1349"/>
                  </a:cubicBezTo>
                  <a:cubicBezTo>
                    <a:pt x="1967" y="1320"/>
                    <a:pt x="1957" y="1293"/>
                    <a:pt x="1946" y="1268"/>
                  </a:cubicBezTo>
                  <a:cubicBezTo>
                    <a:pt x="1943" y="1262"/>
                    <a:pt x="1941" y="1256"/>
                    <a:pt x="1938" y="1249"/>
                  </a:cubicBezTo>
                  <a:cubicBezTo>
                    <a:pt x="1979" y="1252"/>
                    <a:pt x="2020" y="1256"/>
                    <a:pt x="2061" y="1263"/>
                  </a:cubicBezTo>
                  <a:cubicBezTo>
                    <a:pt x="2072" y="1292"/>
                    <a:pt x="2081" y="1324"/>
                    <a:pt x="2089" y="1357"/>
                  </a:cubicBezTo>
                  <a:moveTo>
                    <a:pt x="1723" y="1351"/>
                  </a:moveTo>
                  <a:cubicBezTo>
                    <a:pt x="1719" y="1344"/>
                    <a:pt x="1716" y="1336"/>
                    <a:pt x="1712" y="1329"/>
                  </a:cubicBezTo>
                  <a:cubicBezTo>
                    <a:pt x="1698" y="1303"/>
                    <a:pt x="1686" y="1277"/>
                    <a:pt x="1676" y="1252"/>
                  </a:cubicBezTo>
                  <a:cubicBezTo>
                    <a:pt x="1714" y="1249"/>
                    <a:pt x="1754" y="1247"/>
                    <a:pt x="1794" y="1246"/>
                  </a:cubicBezTo>
                  <a:cubicBezTo>
                    <a:pt x="1801" y="1265"/>
                    <a:pt x="1810" y="1285"/>
                    <a:pt x="1819" y="1304"/>
                  </a:cubicBezTo>
                  <a:cubicBezTo>
                    <a:pt x="1826" y="1318"/>
                    <a:pt x="1832" y="1332"/>
                    <a:pt x="1838" y="1347"/>
                  </a:cubicBezTo>
                  <a:cubicBezTo>
                    <a:pt x="1799" y="1347"/>
                    <a:pt x="1761" y="1349"/>
                    <a:pt x="1723" y="1351"/>
                  </a:cubicBezTo>
                  <a:moveTo>
                    <a:pt x="1850" y="1346"/>
                  </a:moveTo>
                  <a:cubicBezTo>
                    <a:pt x="1844" y="1330"/>
                    <a:pt x="1837" y="1314"/>
                    <a:pt x="1829" y="1298"/>
                  </a:cubicBezTo>
                  <a:cubicBezTo>
                    <a:pt x="1821" y="1281"/>
                    <a:pt x="1813" y="1263"/>
                    <a:pt x="1806" y="1246"/>
                  </a:cubicBezTo>
                  <a:cubicBezTo>
                    <a:pt x="1814" y="1246"/>
                    <a:pt x="1822" y="1246"/>
                    <a:pt x="1830" y="1246"/>
                  </a:cubicBezTo>
                  <a:cubicBezTo>
                    <a:pt x="1861" y="1246"/>
                    <a:pt x="1894" y="1247"/>
                    <a:pt x="1926" y="1248"/>
                  </a:cubicBezTo>
                  <a:cubicBezTo>
                    <a:pt x="1929" y="1257"/>
                    <a:pt x="1932" y="1265"/>
                    <a:pt x="1936" y="1273"/>
                  </a:cubicBezTo>
                  <a:cubicBezTo>
                    <a:pt x="1947" y="1297"/>
                    <a:pt x="1956" y="1322"/>
                    <a:pt x="1964" y="1348"/>
                  </a:cubicBezTo>
                  <a:cubicBezTo>
                    <a:pt x="1935" y="1347"/>
                    <a:pt x="1905" y="1346"/>
                    <a:pt x="1876" y="1346"/>
                  </a:cubicBezTo>
                  <a:cubicBezTo>
                    <a:pt x="1868" y="1346"/>
                    <a:pt x="1859" y="1346"/>
                    <a:pt x="1850" y="1346"/>
                  </a:cubicBezTo>
                  <a:moveTo>
                    <a:pt x="122" y="1329"/>
                  </a:moveTo>
                  <a:cubicBezTo>
                    <a:pt x="111" y="1315"/>
                    <a:pt x="100" y="1301"/>
                    <a:pt x="89" y="1288"/>
                  </a:cubicBezTo>
                  <a:cubicBezTo>
                    <a:pt x="123" y="1272"/>
                    <a:pt x="159" y="1253"/>
                    <a:pt x="195" y="1231"/>
                  </a:cubicBezTo>
                  <a:cubicBezTo>
                    <a:pt x="207" y="1246"/>
                    <a:pt x="219" y="1262"/>
                    <a:pt x="232" y="1278"/>
                  </a:cubicBezTo>
                  <a:cubicBezTo>
                    <a:pt x="194" y="1298"/>
                    <a:pt x="157" y="1315"/>
                    <a:pt x="122" y="1329"/>
                  </a:cubicBezTo>
                  <a:moveTo>
                    <a:pt x="906" y="1364"/>
                  </a:moveTo>
                  <a:cubicBezTo>
                    <a:pt x="892" y="1339"/>
                    <a:pt x="877" y="1311"/>
                    <a:pt x="861" y="1281"/>
                  </a:cubicBezTo>
                  <a:cubicBezTo>
                    <a:pt x="893" y="1261"/>
                    <a:pt x="928" y="1241"/>
                    <a:pt x="966" y="1221"/>
                  </a:cubicBezTo>
                  <a:cubicBezTo>
                    <a:pt x="980" y="1252"/>
                    <a:pt x="994" y="1282"/>
                    <a:pt x="1007" y="1309"/>
                  </a:cubicBezTo>
                  <a:cubicBezTo>
                    <a:pt x="972" y="1328"/>
                    <a:pt x="938" y="1346"/>
                    <a:pt x="906" y="1364"/>
                  </a:cubicBezTo>
                  <a:moveTo>
                    <a:pt x="285" y="1334"/>
                  </a:moveTo>
                  <a:cubicBezTo>
                    <a:pt x="273" y="1316"/>
                    <a:pt x="261" y="1299"/>
                    <a:pt x="249" y="1282"/>
                  </a:cubicBezTo>
                  <a:cubicBezTo>
                    <a:pt x="284" y="1263"/>
                    <a:pt x="319" y="1242"/>
                    <a:pt x="351" y="1218"/>
                  </a:cubicBezTo>
                  <a:cubicBezTo>
                    <a:pt x="364" y="1237"/>
                    <a:pt x="377" y="1256"/>
                    <a:pt x="390" y="1276"/>
                  </a:cubicBezTo>
                  <a:cubicBezTo>
                    <a:pt x="357" y="1298"/>
                    <a:pt x="321" y="1317"/>
                    <a:pt x="285" y="1334"/>
                  </a:cubicBezTo>
                  <a:moveTo>
                    <a:pt x="1180" y="1350"/>
                  </a:moveTo>
                  <a:cubicBezTo>
                    <a:pt x="1172" y="1335"/>
                    <a:pt x="1165" y="1322"/>
                    <a:pt x="1159" y="1310"/>
                  </a:cubicBezTo>
                  <a:cubicBezTo>
                    <a:pt x="1153" y="1294"/>
                    <a:pt x="1145" y="1277"/>
                    <a:pt x="1138" y="1260"/>
                  </a:cubicBezTo>
                  <a:cubicBezTo>
                    <a:pt x="1174" y="1245"/>
                    <a:pt x="1211" y="1230"/>
                    <a:pt x="1248" y="1218"/>
                  </a:cubicBezTo>
                  <a:cubicBezTo>
                    <a:pt x="1259" y="1245"/>
                    <a:pt x="1267" y="1267"/>
                    <a:pt x="1272" y="1281"/>
                  </a:cubicBezTo>
                  <a:cubicBezTo>
                    <a:pt x="1276" y="1290"/>
                    <a:pt x="1280" y="1300"/>
                    <a:pt x="1285" y="1310"/>
                  </a:cubicBezTo>
                  <a:cubicBezTo>
                    <a:pt x="1249" y="1322"/>
                    <a:pt x="1214" y="1335"/>
                    <a:pt x="1180" y="1350"/>
                  </a:cubicBezTo>
                  <a:moveTo>
                    <a:pt x="446" y="1340"/>
                  </a:moveTo>
                  <a:cubicBezTo>
                    <a:pt x="440" y="1331"/>
                    <a:pt x="434" y="1322"/>
                    <a:pt x="428" y="1313"/>
                  </a:cubicBezTo>
                  <a:cubicBezTo>
                    <a:pt x="421" y="1302"/>
                    <a:pt x="413" y="1291"/>
                    <a:pt x="406" y="1280"/>
                  </a:cubicBezTo>
                  <a:cubicBezTo>
                    <a:pt x="441" y="1256"/>
                    <a:pt x="473" y="1230"/>
                    <a:pt x="500" y="1201"/>
                  </a:cubicBezTo>
                  <a:cubicBezTo>
                    <a:pt x="514" y="1223"/>
                    <a:pt x="528" y="1246"/>
                    <a:pt x="542" y="1269"/>
                  </a:cubicBezTo>
                  <a:cubicBezTo>
                    <a:pt x="514" y="1295"/>
                    <a:pt x="481" y="1319"/>
                    <a:pt x="446" y="1340"/>
                  </a:cubicBezTo>
                  <a:moveTo>
                    <a:pt x="747" y="1340"/>
                  </a:moveTo>
                  <a:cubicBezTo>
                    <a:pt x="733" y="1315"/>
                    <a:pt x="717" y="1288"/>
                    <a:pt x="702" y="1261"/>
                  </a:cubicBezTo>
                  <a:cubicBezTo>
                    <a:pt x="703" y="1260"/>
                    <a:pt x="703" y="1260"/>
                    <a:pt x="703" y="1260"/>
                  </a:cubicBezTo>
                  <a:cubicBezTo>
                    <a:pt x="722" y="1246"/>
                    <a:pt x="756" y="1221"/>
                    <a:pt x="803" y="1192"/>
                  </a:cubicBezTo>
                  <a:cubicBezTo>
                    <a:pt x="817" y="1220"/>
                    <a:pt x="832" y="1249"/>
                    <a:pt x="846" y="1276"/>
                  </a:cubicBezTo>
                  <a:cubicBezTo>
                    <a:pt x="808" y="1300"/>
                    <a:pt x="774" y="1322"/>
                    <a:pt x="747" y="1340"/>
                  </a:cubicBezTo>
                  <a:moveTo>
                    <a:pt x="1296" y="1307"/>
                  </a:moveTo>
                  <a:cubicBezTo>
                    <a:pt x="1291" y="1296"/>
                    <a:pt x="1286" y="1286"/>
                    <a:pt x="1282" y="1276"/>
                  </a:cubicBezTo>
                  <a:cubicBezTo>
                    <a:pt x="1277" y="1263"/>
                    <a:pt x="1269" y="1241"/>
                    <a:pt x="1259" y="1214"/>
                  </a:cubicBezTo>
                  <a:cubicBezTo>
                    <a:pt x="1277" y="1208"/>
                    <a:pt x="1295" y="1203"/>
                    <a:pt x="1312" y="1198"/>
                  </a:cubicBezTo>
                  <a:cubicBezTo>
                    <a:pt x="1333" y="1192"/>
                    <a:pt x="1354" y="1187"/>
                    <a:pt x="1374" y="1182"/>
                  </a:cubicBezTo>
                  <a:cubicBezTo>
                    <a:pt x="1381" y="1204"/>
                    <a:pt x="1388" y="1225"/>
                    <a:pt x="1395" y="1246"/>
                  </a:cubicBezTo>
                  <a:cubicBezTo>
                    <a:pt x="1398" y="1256"/>
                    <a:pt x="1402" y="1267"/>
                    <a:pt x="1407" y="1278"/>
                  </a:cubicBezTo>
                  <a:cubicBezTo>
                    <a:pt x="1387" y="1282"/>
                    <a:pt x="1368" y="1287"/>
                    <a:pt x="1352" y="1291"/>
                  </a:cubicBezTo>
                  <a:cubicBezTo>
                    <a:pt x="1333" y="1296"/>
                    <a:pt x="1314" y="1301"/>
                    <a:pt x="1296" y="1307"/>
                  </a:cubicBezTo>
                  <a:moveTo>
                    <a:pt x="598" y="1340"/>
                  </a:moveTo>
                  <a:cubicBezTo>
                    <a:pt x="585" y="1318"/>
                    <a:pt x="571" y="1295"/>
                    <a:pt x="557" y="1272"/>
                  </a:cubicBezTo>
                  <a:cubicBezTo>
                    <a:pt x="557" y="1272"/>
                    <a:pt x="556" y="1271"/>
                    <a:pt x="556" y="1271"/>
                  </a:cubicBezTo>
                  <a:cubicBezTo>
                    <a:pt x="566" y="1261"/>
                    <a:pt x="576" y="1250"/>
                    <a:pt x="585" y="1239"/>
                  </a:cubicBezTo>
                  <a:cubicBezTo>
                    <a:pt x="601" y="1218"/>
                    <a:pt x="621" y="1198"/>
                    <a:pt x="643" y="1179"/>
                  </a:cubicBezTo>
                  <a:cubicBezTo>
                    <a:pt x="654" y="1197"/>
                    <a:pt x="664" y="1216"/>
                    <a:pt x="675" y="1234"/>
                  </a:cubicBezTo>
                  <a:cubicBezTo>
                    <a:pt x="679" y="1242"/>
                    <a:pt x="683" y="1250"/>
                    <a:pt x="687" y="1258"/>
                  </a:cubicBezTo>
                  <a:cubicBezTo>
                    <a:pt x="665" y="1275"/>
                    <a:pt x="643" y="1295"/>
                    <a:pt x="623" y="1316"/>
                  </a:cubicBezTo>
                  <a:cubicBezTo>
                    <a:pt x="616" y="1324"/>
                    <a:pt x="607" y="1332"/>
                    <a:pt x="598" y="1340"/>
                  </a:cubicBezTo>
                  <a:moveTo>
                    <a:pt x="81" y="1279"/>
                  </a:moveTo>
                  <a:cubicBezTo>
                    <a:pt x="68" y="1264"/>
                    <a:pt x="56" y="1250"/>
                    <a:pt x="43" y="1237"/>
                  </a:cubicBezTo>
                  <a:cubicBezTo>
                    <a:pt x="42" y="1236"/>
                    <a:pt x="41" y="1235"/>
                    <a:pt x="40" y="1234"/>
                  </a:cubicBezTo>
                  <a:cubicBezTo>
                    <a:pt x="75" y="1216"/>
                    <a:pt x="112" y="1194"/>
                    <a:pt x="149" y="1170"/>
                  </a:cubicBezTo>
                  <a:cubicBezTo>
                    <a:pt x="158" y="1184"/>
                    <a:pt x="166" y="1197"/>
                    <a:pt x="174" y="1206"/>
                  </a:cubicBezTo>
                  <a:cubicBezTo>
                    <a:pt x="179" y="1211"/>
                    <a:pt x="183" y="1216"/>
                    <a:pt x="187" y="1222"/>
                  </a:cubicBezTo>
                  <a:cubicBezTo>
                    <a:pt x="152" y="1243"/>
                    <a:pt x="115" y="1262"/>
                    <a:pt x="81" y="1279"/>
                  </a:cubicBezTo>
                  <a:moveTo>
                    <a:pt x="1017" y="1304"/>
                  </a:moveTo>
                  <a:cubicBezTo>
                    <a:pt x="1004" y="1277"/>
                    <a:pt x="990" y="1247"/>
                    <a:pt x="976" y="1216"/>
                  </a:cubicBezTo>
                  <a:cubicBezTo>
                    <a:pt x="1010" y="1198"/>
                    <a:pt x="1047" y="1180"/>
                    <a:pt x="1085" y="1163"/>
                  </a:cubicBezTo>
                  <a:cubicBezTo>
                    <a:pt x="1098" y="1194"/>
                    <a:pt x="1111" y="1224"/>
                    <a:pt x="1123" y="1254"/>
                  </a:cubicBezTo>
                  <a:cubicBezTo>
                    <a:pt x="1087" y="1270"/>
                    <a:pt x="1051" y="1287"/>
                    <a:pt x="1017" y="1304"/>
                  </a:cubicBezTo>
                  <a:moveTo>
                    <a:pt x="1418" y="1276"/>
                  </a:moveTo>
                  <a:cubicBezTo>
                    <a:pt x="1413" y="1264"/>
                    <a:pt x="1409" y="1253"/>
                    <a:pt x="1406" y="1242"/>
                  </a:cubicBezTo>
                  <a:cubicBezTo>
                    <a:pt x="1399" y="1222"/>
                    <a:pt x="1392" y="1201"/>
                    <a:pt x="1385" y="1180"/>
                  </a:cubicBezTo>
                  <a:cubicBezTo>
                    <a:pt x="1425" y="1171"/>
                    <a:pt x="1464" y="1163"/>
                    <a:pt x="1502" y="1157"/>
                  </a:cubicBezTo>
                  <a:cubicBezTo>
                    <a:pt x="1506" y="1172"/>
                    <a:pt x="1510" y="1186"/>
                    <a:pt x="1514" y="1199"/>
                  </a:cubicBezTo>
                  <a:cubicBezTo>
                    <a:pt x="1518" y="1212"/>
                    <a:pt x="1518" y="1212"/>
                    <a:pt x="1518" y="1212"/>
                  </a:cubicBezTo>
                  <a:cubicBezTo>
                    <a:pt x="1522" y="1226"/>
                    <a:pt x="1527" y="1241"/>
                    <a:pt x="1533" y="1256"/>
                  </a:cubicBezTo>
                  <a:cubicBezTo>
                    <a:pt x="1491" y="1262"/>
                    <a:pt x="1452" y="1269"/>
                    <a:pt x="1418" y="1276"/>
                  </a:cubicBezTo>
                  <a:moveTo>
                    <a:pt x="242" y="1273"/>
                  </a:moveTo>
                  <a:cubicBezTo>
                    <a:pt x="229" y="1256"/>
                    <a:pt x="217" y="1240"/>
                    <a:pt x="205" y="1225"/>
                  </a:cubicBezTo>
                  <a:cubicBezTo>
                    <a:pt x="239" y="1204"/>
                    <a:pt x="273" y="1180"/>
                    <a:pt x="304" y="1154"/>
                  </a:cubicBezTo>
                  <a:cubicBezTo>
                    <a:pt x="307" y="1158"/>
                    <a:pt x="310" y="1163"/>
                    <a:pt x="313" y="1166"/>
                  </a:cubicBezTo>
                  <a:cubicBezTo>
                    <a:pt x="323" y="1179"/>
                    <a:pt x="334" y="1194"/>
                    <a:pt x="344" y="1209"/>
                  </a:cubicBezTo>
                  <a:cubicBezTo>
                    <a:pt x="312" y="1233"/>
                    <a:pt x="277" y="1254"/>
                    <a:pt x="242" y="1273"/>
                  </a:cubicBezTo>
                  <a:moveTo>
                    <a:pt x="1544" y="1254"/>
                  </a:moveTo>
                  <a:cubicBezTo>
                    <a:pt x="1538" y="1238"/>
                    <a:pt x="1533" y="1223"/>
                    <a:pt x="1529" y="1209"/>
                  </a:cubicBezTo>
                  <a:cubicBezTo>
                    <a:pt x="1525" y="1196"/>
                    <a:pt x="1525" y="1196"/>
                    <a:pt x="1525" y="1196"/>
                  </a:cubicBezTo>
                  <a:cubicBezTo>
                    <a:pt x="1521" y="1183"/>
                    <a:pt x="1517" y="1169"/>
                    <a:pt x="1513" y="1155"/>
                  </a:cubicBezTo>
                  <a:cubicBezTo>
                    <a:pt x="1554" y="1149"/>
                    <a:pt x="1594" y="1144"/>
                    <a:pt x="1632" y="1141"/>
                  </a:cubicBezTo>
                  <a:cubicBezTo>
                    <a:pt x="1634" y="1152"/>
                    <a:pt x="1637" y="1162"/>
                    <a:pt x="1639" y="1172"/>
                  </a:cubicBezTo>
                  <a:cubicBezTo>
                    <a:pt x="1641" y="1178"/>
                    <a:pt x="1641" y="1178"/>
                    <a:pt x="1641" y="1178"/>
                  </a:cubicBezTo>
                  <a:cubicBezTo>
                    <a:pt x="1646" y="1198"/>
                    <a:pt x="1652" y="1219"/>
                    <a:pt x="1660" y="1241"/>
                  </a:cubicBezTo>
                  <a:cubicBezTo>
                    <a:pt x="1620" y="1245"/>
                    <a:pt x="1581" y="1249"/>
                    <a:pt x="1544" y="1254"/>
                  </a:cubicBezTo>
                  <a:moveTo>
                    <a:pt x="2056" y="1250"/>
                  </a:moveTo>
                  <a:cubicBezTo>
                    <a:pt x="2015" y="1244"/>
                    <a:pt x="1974" y="1239"/>
                    <a:pt x="1933" y="1237"/>
                  </a:cubicBezTo>
                  <a:cubicBezTo>
                    <a:pt x="1921" y="1205"/>
                    <a:pt x="1911" y="1173"/>
                    <a:pt x="1904" y="1141"/>
                  </a:cubicBezTo>
                  <a:cubicBezTo>
                    <a:pt x="1949" y="1144"/>
                    <a:pt x="1989" y="1150"/>
                    <a:pt x="2025" y="1156"/>
                  </a:cubicBezTo>
                  <a:cubicBezTo>
                    <a:pt x="2032" y="1186"/>
                    <a:pt x="2042" y="1215"/>
                    <a:pt x="2053" y="1243"/>
                  </a:cubicBezTo>
                  <a:cubicBezTo>
                    <a:pt x="2054" y="1245"/>
                    <a:pt x="2055" y="1247"/>
                    <a:pt x="2056" y="1250"/>
                  </a:cubicBezTo>
                  <a:moveTo>
                    <a:pt x="1672" y="1240"/>
                  </a:moveTo>
                  <a:cubicBezTo>
                    <a:pt x="1663" y="1218"/>
                    <a:pt x="1657" y="1196"/>
                    <a:pt x="1652" y="1175"/>
                  </a:cubicBezTo>
                  <a:cubicBezTo>
                    <a:pt x="1650" y="1169"/>
                    <a:pt x="1650" y="1169"/>
                    <a:pt x="1650" y="1169"/>
                  </a:cubicBezTo>
                  <a:cubicBezTo>
                    <a:pt x="1648" y="1160"/>
                    <a:pt x="1646" y="1150"/>
                    <a:pt x="1643" y="1140"/>
                  </a:cubicBezTo>
                  <a:cubicBezTo>
                    <a:pt x="1685" y="1137"/>
                    <a:pt x="1724" y="1135"/>
                    <a:pt x="1762" y="1135"/>
                  </a:cubicBezTo>
                  <a:cubicBezTo>
                    <a:pt x="1763" y="1138"/>
                    <a:pt x="1763" y="1141"/>
                    <a:pt x="1764" y="1144"/>
                  </a:cubicBezTo>
                  <a:cubicBezTo>
                    <a:pt x="1769" y="1173"/>
                    <a:pt x="1778" y="1203"/>
                    <a:pt x="1790" y="1234"/>
                  </a:cubicBezTo>
                  <a:cubicBezTo>
                    <a:pt x="1749" y="1235"/>
                    <a:pt x="1710" y="1237"/>
                    <a:pt x="1672" y="1240"/>
                  </a:cubicBezTo>
                  <a:moveTo>
                    <a:pt x="1801" y="1234"/>
                  </a:moveTo>
                  <a:cubicBezTo>
                    <a:pt x="1790" y="1202"/>
                    <a:pt x="1780" y="1171"/>
                    <a:pt x="1775" y="1141"/>
                  </a:cubicBezTo>
                  <a:cubicBezTo>
                    <a:pt x="1774" y="1139"/>
                    <a:pt x="1774" y="1137"/>
                    <a:pt x="1773" y="1135"/>
                  </a:cubicBezTo>
                  <a:cubicBezTo>
                    <a:pt x="1773" y="1135"/>
                    <a:pt x="1774" y="1135"/>
                    <a:pt x="1774" y="1135"/>
                  </a:cubicBezTo>
                  <a:cubicBezTo>
                    <a:pt x="1816" y="1135"/>
                    <a:pt x="1855" y="1137"/>
                    <a:pt x="1892" y="1140"/>
                  </a:cubicBezTo>
                  <a:cubicBezTo>
                    <a:pt x="1899" y="1172"/>
                    <a:pt x="1909" y="1204"/>
                    <a:pt x="1921" y="1236"/>
                  </a:cubicBezTo>
                  <a:cubicBezTo>
                    <a:pt x="1890" y="1235"/>
                    <a:pt x="1860" y="1234"/>
                    <a:pt x="1829" y="1234"/>
                  </a:cubicBezTo>
                  <a:cubicBezTo>
                    <a:pt x="1820" y="1234"/>
                    <a:pt x="1811" y="1234"/>
                    <a:pt x="1801" y="1234"/>
                  </a:cubicBezTo>
                  <a:moveTo>
                    <a:pt x="400" y="1270"/>
                  </a:moveTo>
                  <a:cubicBezTo>
                    <a:pt x="386" y="1250"/>
                    <a:pt x="373" y="1230"/>
                    <a:pt x="360" y="1211"/>
                  </a:cubicBezTo>
                  <a:cubicBezTo>
                    <a:pt x="394" y="1186"/>
                    <a:pt x="425" y="1157"/>
                    <a:pt x="451" y="1126"/>
                  </a:cubicBezTo>
                  <a:cubicBezTo>
                    <a:pt x="451" y="1126"/>
                    <a:pt x="451" y="1126"/>
                    <a:pt x="451" y="1126"/>
                  </a:cubicBezTo>
                  <a:cubicBezTo>
                    <a:pt x="465" y="1146"/>
                    <a:pt x="479" y="1168"/>
                    <a:pt x="494" y="1191"/>
                  </a:cubicBezTo>
                  <a:cubicBezTo>
                    <a:pt x="467" y="1220"/>
                    <a:pt x="435" y="1246"/>
                    <a:pt x="400" y="1270"/>
                  </a:cubicBezTo>
                  <a:moveTo>
                    <a:pt x="856" y="1270"/>
                  </a:moveTo>
                  <a:cubicBezTo>
                    <a:pt x="842" y="1243"/>
                    <a:pt x="827" y="1214"/>
                    <a:pt x="813" y="1185"/>
                  </a:cubicBezTo>
                  <a:cubicBezTo>
                    <a:pt x="844" y="1166"/>
                    <a:pt x="880" y="1144"/>
                    <a:pt x="920" y="1122"/>
                  </a:cubicBezTo>
                  <a:cubicBezTo>
                    <a:pt x="933" y="1152"/>
                    <a:pt x="947" y="1181"/>
                    <a:pt x="961" y="1211"/>
                  </a:cubicBezTo>
                  <a:cubicBezTo>
                    <a:pt x="923" y="1231"/>
                    <a:pt x="888" y="1251"/>
                    <a:pt x="856" y="1270"/>
                  </a:cubicBezTo>
                  <a:moveTo>
                    <a:pt x="1133" y="1249"/>
                  </a:moveTo>
                  <a:cubicBezTo>
                    <a:pt x="1121" y="1220"/>
                    <a:pt x="1108" y="1189"/>
                    <a:pt x="1095" y="1158"/>
                  </a:cubicBezTo>
                  <a:cubicBezTo>
                    <a:pt x="1132" y="1142"/>
                    <a:pt x="1171" y="1127"/>
                    <a:pt x="1210" y="1113"/>
                  </a:cubicBezTo>
                  <a:cubicBezTo>
                    <a:pt x="1222" y="1147"/>
                    <a:pt x="1234" y="1179"/>
                    <a:pt x="1244" y="1207"/>
                  </a:cubicBezTo>
                  <a:cubicBezTo>
                    <a:pt x="1207" y="1219"/>
                    <a:pt x="1170" y="1234"/>
                    <a:pt x="1133" y="1249"/>
                  </a:cubicBezTo>
                  <a:moveTo>
                    <a:pt x="697" y="1250"/>
                  </a:moveTo>
                  <a:cubicBezTo>
                    <a:pt x="692" y="1243"/>
                    <a:pt x="688" y="1236"/>
                    <a:pt x="684" y="1228"/>
                  </a:cubicBezTo>
                  <a:cubicBezTo>
                    <a:pt x="674" y="1209"/>
                    <a:pt x="663" y="1190"/>
                    <a:pt x="652" y="1171"/>
                  </a:cubicBezTo>
                  <a:cubicBezTo>
                    <a:pt x="653" y="1171"/>
                    <a:pt x="653" y="1170"/>
                    <a:pt x="654" y="1170"/>
                  </a:cubicBezTo>
                  <a:cubicBezTo>
                    <a:pt x="682" y="1147"/>
                    <a:pt x="716" y="1122"/>
                    <a:pt x="754" y="1096"/>
                  </a:cubicBezTo>
                  <a:cubicBezTo>
                    <a:pt x="768" y="1123"/>
                    <a:pt x="782" y="1150"/>
                    <a:pt x="797" y="1179"/>
                  </a:cubicBezTo>
                  <a:cubicBezTo>
                    <a:pt x="797" y="1180"/>
                    <a:pt x="797" y="1180"/>
                    <a:pt x="798" y="1181"/>
                  </a:cubicBezTo>
                  <a:cubicBezTo>
                    <a:pt x="751" y="1211"/>
                    <a:pt x="716" y="1236"/>
                    <a:pt x="697" y="1250"/>
                  </a:cubicBezTo>
                  <a:moveTo>
                    <a:pt x="550" y="1261"/>
                  </a:moveTo>
                  <a:cubicBezTo>
                    <a:pt x="536" y="1238"/>
                    <a:pt x="522" y="1215"/>
                    <a:pt x="508" y="1192"/>
                  </a:cubicBezTo>
                  <a:cubicBezTo>
                    <a:pt x="519" y="1180"/>
                    <a:pt x="529" y="1167"/>
                    <a:pt x="538" y="1154"/>
                  </a:cubicBezTo>
                  <a:cubicBezTo>
                    <a:pt x="552" y="1133"/>
                    <a:pt x="571" y="1111"/>
                    <a:pt x="592" y="1091"/>
                  </a:cubicBezTo>
                  <a:cubicBezTo>
                    <a:pt x="607" y="1114"/>
                    <a:pt x="622" y="1141"/>
                    <a:pt x="638" y="1168"/>
                  </a:cubicBezTo>
                  <a:cubicBezTo>
                    <a:pt x="614" y="1188"/>
                    <a:pt x="593" y="1210"/>
                    <a:pt x="576" y="1231"/>
                  </a:cubicBezTo>
                  <a:cubicBezTo>
                    <a:pt x="568" y="1242"/>
                    <a:pt x="559" y="1251"/>
                    <a:pt x="550" y="1261"/>
                  </a:cubicBezTo>
                  <a:moveTo>
                    <a:pt x="197" y="1216"/>
                  </a:moveTo>
                  <a:cubicBezTo>
                    <a:pt x="192" y="1209"/>
                    <a:pt x="187" y="1203"/>
                    <a:pt x="182" y="1198"/>
                  </a:cubicBezTo>
                  <a:cubicBezTo>
                    <a:pt x="175" y="1189"/>
                    <a:pt x="167" y="1177"/>
                    <a:pt x="158" y="1164"/>
                  </a:cubicBezTo>
                  <a:cubicBezTo>
                    <a:pt x="195" y="1139"/>
                    <a:pt x="231" y="1112"/>
                    <a:pt x="264" y="1081"/>
                  </a:cubicBezTo>
                  <a:cubicBezTo>
                    <a:pt x="276" y="1106"/>
                    <a:pt x="288" y="1127"/>
                    <a:pt x="298" y="1144"/>
                  </a:cubicBezTo>
                  <a:cubicBezTo>
                    <a:pt x="266" y="1170"/>
                    <a:pt x="232" y="1194"/>
                    <a:pt x="197" y="1216"/>
                  </a:cubicBezTo>
                  <a:moveTo>
                    <a:pt x="1255" y="1203"/>
                  </a:moveTo>
                  <a:cubicBezTo>
                    <a:pt x="1245" y="1176"/>
                    <a:pt x="1233" y="1143"/>
                    <a:pt x="1220" y="1109"/>
                  </a:cubicBezTo>
                  <a:cubicBezTo>
                    <a:pt x="1237" y="1104"/>
                    <a:pt x="1253" y="1098"/>
                    <a:pt x="1270" y="1094"/>
                  </a:cubicBezTo>
                  <a:cubicBezTo>
                    <a:pt x="1292" y="1087"/>
                    <a:pt x="1315" y="1081"/>
                    <a:pt x="1339" y="1075"/>
                  </a:cubicBezTo>
                  <a:cubicBezTo>
                    <a:pt x="1350" y="1107"/>
                    <a:pt x="1360" y="1139"/>
                    <a:pt x="1370" y="1171"/>
                  </a:cubicBezTo>
                  <a:cubicBezTo>
                    <a:pt x="1350" y="1176"/>
                    <a:pt x="1329" y="1181"/>
                    <a:pt x="1309" y="1186"/>
                  </a:cubicBezTo>
                  <a:cubicBezTo>
                    <a:pt x="1291" y="1191"/>
                    <a:pt x="1273" y="1197"/>
                    <a:pt x="1255" y="1203"/>
                  </a:cubicBezTo>
                  <a:moveTo>
                    <a:pt x="971" y="1205"/>
                  </a:moveTo>
                  <a:cubicBezTo>
                    <a:pt x="957" y="1176"/>
                    <a:pt x="943" y="1146"/>
                    <a:pt x="930" y="1117"/>
                  </a:cubicBezTo>
                  <a:cubicBezTo>
                    <a:pt x="965" y="1098"/>
                    <a:pt x="1003" y="1079"/>
                    <a:pt x="1043" y="1060"/>
                  </a:cubicBezTo>
                  <a:cubicBezTo>
                    <a:pt x="1055" y="1090"/>
                    <a:pt x="1068" y="1121"/>
                    <a:pt x="1080" y="1152"/>
                  </a:cubicBezTo>
                  <a:cubicBezTo>
                    <a:pt x="1042" y="1169"/>
                    <a:pt x="1005" y="1187"/>
                    <a:pt x="971" y="1205"/>
                  </a:cubicBezTo>
                  <a:moveTo>
                    <a:pt x="1381" y="1169"/>
                  </a:moveTo>
                  <a:cubicBezTo>
                    <a:pt x="1371" y="1137"/>
                    <a:pt x="1361" y="1104"/>
                    <a:pt x="1350" y="1072"/>
                  </a:cubicBezTo>
                  <a:cubicBezTo>
                    <a:pt x="1389" y="1063"/>
                    <a:pt x="1430" y="1055"/>
                    <a:pt x="1472" y="1048"/>
                  </a:cubicBezTo>
                  <a:cubicBezTo>
                    <a:pt x="1481" y="1082"/>
                    <a:pt x="1491" y="1115"/>
                    <a:pt x="1499" y="1146"/>
                  </a:cubicBezTo>
                  <a:cubicBezTo>
                    <a:pt x="1459" y="1153"/>
                    <a:pt x="1419" y="1160"/>
                    <a:pt x="1381" y="1169"/>
                  </a:cubicBezTo>
                  <a:moveTo>
                    <a:pt x="353" y="1202"/>
                  </a:moveTo>
                  <a:cubicBezTo>
                    <a:pt x="342" y="1187"/>
                    <a:pt x="332" y="1172"/>
                    <a:pt x="321" y="1158"/>
                  </a:cubicBezTo>
                  <a:cubicBezTo>
                    <a:pt x="319" y="1155"/>
                    <a:pt x="316" y="1151"/>
                    <a:pt x="313" y="1147"/>
                  </a:cubicBezTo>
                  <a:cubicBezTo>
                    <a:pt x="350" y="1115"/>
                    <a:pt x="383" y="1081"/>
                    <a:pt x="410" y="1042"/>
                  </a:cubicBezTo>
                  <a:cubicBezTo>
                    <a:pt x="423" y="1074"/>
                    <a:pt x="435" y="1099"/>
                    <a:pt x="445" y="1116"/>
                  </a:cubicBezTo>
                  <a:cubicBezTo>
                    <a:pt x="419" y="1147"/>
                    <a:pt x="388" y="1176"/>
                    <a:pt x="353" y="1202"/>
                  </a:cubicBezTo>
                  <a:moveTo>
                    <a:pt x="1511" y="1145"/>
                  </a:moveTo>
                  <a:cubicBezTo>
                    <a:pt x="1502" y="1113"/>
                    <a:pt x="1492" y="1080"/>
                    <a:pt x="1483" y="1046"/>
                  </a:cubicBezTo>
                  <a:cubicBezTo>
                    <a:pt x="1523" y="1040"/>
                    <a:pt x="1564" y="1034"/>
                    <a:pt x="1606" y="1030"/>
                  </a:cubicBezTo>
                  <a:cubicBezTo>
                    <a:pt x="1614" y="1065"/>
                    <a:pt x="1622" y="1099"/>
                    <a:pt x="1629" y="1130"/>
                  </a:cubicBezTo>
                  <a:cubicBezTo>
                    <a:pt x="1590" y="1134"/>
                    <a:pt x="1550" y="1139"/>
                    <a:pt x="1511" y="1145"/>
                  </a:cubicBezTo>
                  <a:moveTo>
                    <a:pt x="2021" y="1142"/>
                  </a:moveTo>
                  <a:cubicBezTo>
                    <a:pt x="1983" y="1135"/>
                    <a:pt x="1943" y="1130"/>
                    <a:pt x="1901" y="1126"/>
                  </a:cubicBezTo>
                  <a:cubicBezTo>
                    <a:pt x="1900" y="1120"/>
                    <a:pt x="1899" y="1114"/>
                    <a:pt x="1898" y="1108"/>
                  </a:cubicBezTo>
                  <a:cubicBezTo>
                    <a:pt x="1893" y="1081"/>
                    <a:pt x="1889" y="1055"/>
                    <a:pt x="1885" y="1030"/>
                  </a:cubicBezTo>
                  <a:cubicBezTo>
                    <a:pt x="1927" y="1034"/>
                    <a:pt x="1968" y="1041"/>
                    <a:pt x="2006" y="1050"/>
                  </a:cubicBezTo>
                  <a:cubicBezTo>
                    <a:pt x="2007" y="1059"/>
                    <a:pt x="2009" y="1068"/>
                    <a:pt x="2009" y="1076"/>
                  </a:cubicBezTo>
                  <a:cubicBezTo>
                    <a:pt x="2012" y="1098"/>
                    <a:pt x="2016" y="1120"/>
                    <a:pt x="2021" y="1142"/>
                  </a:cubicBezTo>
                  <a:moveTo>
                    <a:pt x="1641" y="1129"/>
                  </a:moveTo>
                  <a:cubicBezTo>
                    <a:pt x="1633" y="1098"/>
                    <a:pt x="1625" y="1064"/>
                    <a:pt x="1617" y="1029"/>
                  </a:cubicBezTo>
                  <a:cubicBezTo>
                    <a:pt x="1658" y="1026"/>
                    <a:pt x="1699" y="1024"/>
                    <a:pt x="1740" y="1023"/>
                  </a:cubicBezTo>
                  <a:cubicBezTo>
                    <a:pt x="1746" y="1056"/>
                    <a:pt x="1753" y="1090"/>
                    <a:pt x="1759" y="1123"/>
                  </a:cubicBezTo>
                  <a:cubicBezTo>
                    <a:pt x="1739" y="1123"/>
                    <a:pt x="1718" y="1124"/>
                    <a:pt x="1696" y="1125"/>
                  </a:cubicBezTo>
                  <a:cubicBezTo>
                    <a:pt x="1678" y="1126"/>
                    <a:pt x="1659" y="1128"/>
                    <a:pt x="1641" y="1129"/>
                  </a:cubicBezTo>
                  <a:moveTo>
                    <a:pt x="1771" y="1123"/>
                  </a:moveTo>
                  <a:cubicBezTo>
                    <a:pt x="1764" y="1090"/>
                    <a:pt x="1758" y="1056"/>
                    <a:pt x="1752" y="1023"/>
                  </a:cubicBezTo>
                  <a:cubicBezTo>
                    <a:pt x="1752" y="1023"/>
                    <a:pt x="1753" y="1023"/>
                    <a:pt x="1753" y="1023"/>
                  </a:cubicBezTo>
                  <a:cubicBezTo>
                    <a:pt x="1794" y="1023"/>
                    <a:pt x="1834" y="1025"/>
                    <a:pt x="1874" y="1029"/>
                  </a:cubicBezTo>
                  <a:cubicBezTo>
                    <a:pt x="1878" y="1055"/>
                    <a:pt x="1882" y="1082"/>
                    <a:pt x="1887" y="1110"/>
                  </a:cubicBezTo>
                  <a:cubicBezTo>
                    <a:pt x="1887" y="1115"/>
                    <a:pt x="1888" y="1120"/>
                    <a:pt x="1889" y="1126"/>
                  </a:cubicBezTo>
                  <a:cubicBezTo>
                    <a:pt x="1858" y="1124"/>
                    <a:pt x="1825" y="1122"/>
                    <a:pt x="1792" y="1122"/>
                  </a:cubicBezTo>
                  <a:cubicBezTo>
                    <a:pt x="1785" y="1122"/>
                    <a:pt x="1778" y="1123"/>
                    <a:pt x="1771" y="1123"/>
                  </a:cubicBezTo>
                  <a:moveTo>
                    <a:pt x="807" y="1175"/>
                  </a:moveTo>
                  <a:cubicBezTo>
                    <a:pt x="807" y="1174"/>
                    <a:pt x="807" y="1174"/>
                    <a:pt x="807" y="1174"/>
                  </a:cubicBezTo>
                  <a:cubicBezTo>
                    <a:pt x="792" y="1144"/>
                    <a:pt x="778" y="1117"/>
                    <a:pt x="764" y="1090"/>
                  </a:cubicBezTo>
                  <a:cubicBezTo>
                    <a:pt x="798" y="1068"/>
                    <a:pt x="835" y="1045"/>
                    <a:pt x="874" y="1023"/>
                  </a:cubicBezTo>
                  <a:cubicBezTo>
                    <a:pt x="883" y="1042"/>
                    <a:pt x="892" y="1062"/>
                    <a:pt x="902" y="1083"/>
                  </a:cubicBezTo>
                  <a:cubicBezTo>
                    <a:pt x="906" y="1092"/>
                    <a:pt x="911" y="1102"/>
                    <a:pt x="915" y="1111"/>
                  </a:cubicBezTo>
                  <a:cubicBezTo>
                    <a:pt x="875" y="1133"/>
                    <a:pt x="839" y="1155"/>
                    <a:pt x="807" y="1175"/>
                  </a:cubicBezTo>
                  <a:moveTo>
                    <a:pt x="1091" y="1147"/>
                  </a:moveTo>
                  <a:cubicBezTo>
                    <a:pt x="1078" y="1116"/>
                    <a:pt x="1065" y="1085"/>
                    <a:pt x="1053" y="1056"/>
                  </a:cubicBezTo>
                  <a:cubicBezTo>
                    <a:pt x="1091" y="1039"/>
                    <a:pt x="1131" y="1022"/>
                    <a:pt x="1172" y="1008"/>
                  </a:cubicBezTo>
                  <a:cubicBezTo>
                    <a:pt x="1183" y="1039"/>
                    <a:pt x="1195" y="1071"/>
                    <a:pt x="1206" y="1102"/>
                  </a:cubicBezTo>
                  <a:cubicBezTo>
                    <a:pt x="1166" y="1116"/>
                    <a:pt x="1128" y="1131"/>
                    <a:pt x="1091" y="1147"/>
                  </a:cubicBezTo>
                  <a:moveTo>
                    <a:pt x="153" y="1154"/>
                  </a:moveTo>
                  <a:cubicBezTo>
                    <a:pt x="143" y="1137"/>
                    <a:pt x="133" y="1118"/>
                    <a:pt x="124" y="1097"/>
                  </a:cubicBezTo>
                  <a:cubicBezTo>
                    <a:pt x="160" y="1070"/>
                    <a:pt x="196" y="1039"/>
                    <a:pt x="229" y="1005"/>
                  </a:cubicBezTo>
                  <a:cubicBezTo>
                    <a:pt x="239" y="1028"/>
                    <a:pt x="249" y="1050"/>
                    <a:pt x="259" y="1070"/>
                  </a:cubicBezTo>
                  <a:cubicBezTo>
                    <a:pt x="226" y="1101"/>
                    <a:pt x="189" y="1129"/>
                    <a:pt x="153" y="1154"/>
                  </a:cubicBezTo>
                  <a:moveTo>
                    <a:pt x="646" y="1161"/>
                  </a:moveTo>
                  <a:cubicBezTo>
                    <a:pt x="631" y="1133"/>
                    <a:pt x="615" y="1107"/>
                    <a:pt x="601" y="1083"/>
                  </a:cubicBezTo>
                  <a:cubicBezTo>
                    <a:pt x="602" y="1082"/>
                    <a:pt x="604" y="1080"/>
                    <a:pt x="605" y="1079"/>
                  </a:cubicBezTo>
                  <a:cubicBezTo>
                    <a:pt x="636" y="1052"/>
                    <a:pt x="671" y="1025"/>
                    <a:pt x="709" y="999"/>
                  </a:cubicBezTo>
                  <a:cubicBezTo>
                    <a:pt x="717" y="1020"/>
                    <a:pt x="723" y="1037"/>
                    <a:pt x="728" y="1047"/>
                  </a:cubicBezTo>
                  <a:cubicBezTo>
                    <a:pt x="735" y="1059"/>
                    <a:pt x="742" y="1072"/>
                    <a:pt x="749" y="1086"/>
                  </a:cubicBezTo>
                  <a:cubicBezTo>
                    <a:pt x="710" y="1112"/>
                    <a:pt x="676" y="1137"/>
                    <a:pt x="647" y="1160"/>
                  </a:cubicBezTo>
                  <a:cubicBezTo>
                    <a:pt x="646" y="1161"/>
                    <a:pt x="646" y="1161"/>
                    <a:pt x="646" y="1161"/>
                  </a:cubicBezTo>
                  <a:moveTo>
                    <a:pt x="502" y="1182"/>
                  </a:moveTo>
                  <a:cubicBezTo>
                    <a:pt x="487" y="1160"/>
                    <a:pt x="473" y="1138"/>
                    <a:pt x="460" y="1119"/>
                  </a:cubicBezTo>
                  <a:cubicBezTo>
                    <a:pt x="460" y="1118"/>
                    <a:pt x="459" y="1118"/>
                    <a:pt x="459" y="1117"/>
                  </a:cubicBezTo>
                  <a:cubicBezTo>
                    <a:pt x="471" y="1101"/>
                    <a:pt x="482" y="1085"/>
                    <a:pt x="491" y="1069"/>
                  </a:cubicBezTo>
                  <a:cubicBezTo>
                    <a:pt x="505" y="1044"/>
                    <a:pt x="526" y="1018"/>
                    <a:pt x="551" y="993"/>
                  </a:cubicBezTo>
                  <a:cubicBezTo>
                    <a:pt x="565" y="1032"/>
                    <a:pt x="577" y="1063"/>
                    <a:pt x="587" y="1080"/>
                  </a:cubicBezTo>
                  <a:cubicBezTo>
                    <a:pt x="564" y="1102"/>
                    <a:pt x="544" y="1125"/>
                    <a:pt x="529" y="1147"/>
                  </a:cubicBezTo>
                  <a:cubicBezTo>
                    <a:pt x="521" y="1159"/>
                    <a:pt x="511" y="1171"/>
                    <a:pt x="502" y="1182"/>
                  </a:cubicBezTo>
                  <a:moveTo>
                    <a:pt x="1216" y="1098"/>
                  </a:moveTo>
                  <a:cubicBezTo>
                    <a:pt x="1205" y="1068"/>
                    <a:pt x="1194" y="1035"/>
                    <a:pt x="1183" y="1004"/>
                  </a:cubicBezTo>
                  <a:cubicBezTo>
                    <a:pt x="1198" y="999"/>
                    <a:pt x="1213" y="994"/>
                    <a:pt x="1228" y="989"/>
                  </a:cubicBezTo>
                  <a:cubicBezTo>
                    <a:pt x="1253" y="982"/>
                    <a:pt x="1279" y="974"/>
                    <a:pt x="1306" y="967"/>
                  </a:cubicBezTo>
                  <a:cubicBezTo>
                    <a:pt x="1315" y="998"/>
                    <a:pt x="1325" y="1031"/>
                    <a:pt x="1336" y="1064"/>
                  </a:cubicBezTo>
                  <a:cubicBezTo>
                    <a:pt x="1312" y="1070"/>
                    <a:pt x="1289" y="1076"/>
                    <a:pt x="1267" y="1082"/>
                  </a:cubicBezTo>
                  <a:cubicBezTo>
                    <a:pt x="1250" y="1087"/>
                    <a:pt x="1233" y="1093"/>
                    <a:pt x="1216" y="1098"/>
                  </a:cubicBezTo>
                  <a:moveTo>
                    <a:pt x="925" y="1106"/>
                  </a:moveTo>
                  <a:cubicBezTo>
                    <a:pt x="921" y="1096"/>
                    <a:pt x="916" y="1087"/>
                    <a:pt x="912" y="1078"/>
                  </a:cubicBezTo>
                  <a:cubicBezTo>
                    <a:pt x="902" y="1057"/>
                    <a:pt x="893" y="1036"/>
                    <a:pt x="884" y="1017"/>
                  </a:cubicBezTo>
                  <a:cubicBezTo>
                    <a:pt x="922" y="997"/>
                    <a:pt x="961" y="976"/>
                    <a:pt x="1002" y="957"/>
                  </a:cubicBezTo>
                  <a:cubicBezTo>
                    <a:pt x="1004" y="961"/>
                    <a:pt x="1005" y="964"/>
                    <a:pt x="1006" y="967"/>
                  </a:cubicBezTo>
                  <a:cubicBezTo>
                    <a:pt x="1015" y="991"/>
                    <a:pt x="1027" y="1019"/>
                    <a:pt x="1039" y="1049"/>
                  </a:cubicBezTo>
                  <a:cubicBezTo>
                    <a:pt x="998" y="1068"/>
                    <a:pt x="960" y="1087"/>
                    <a:pt x="925" y="1106"/>
                  </a:cubicBezTo>
                  <a:moveTo>
                    <a:pt x="307" y="1137"/>
                  </a:moveTo>
                  <a:cubicBezTo>
                    <a:pt x="296" y="1120"/>
                    <a:pt x="285" y="1098"/>
                    <a:pt x="273" y="1073"/>
                  </a:cubicBezTo>
                  <a:cubicBezTo>
                    <a:pt x="312" y="1036"/>
                    <a:pt x="346" y="995"/>
                    <a:pt x="372" y="950"/>
                  </a:cubicBezTo>
                  <a:cubicBezTo>
                    <a:pt x="383" y="979"/>
                    <a:pt x="394" y="1006"/>
                    <a:pt x="404" y="1030"/>
                  </a:cubicBezTo>
                  <a:cubicBezTo>
                    <a:pt x="378" y="1069"/>
                    <a:pt x="344" y="1105"/>
                    <a:pt x="307" y="1137"/>
                  </a:cubicBezTo>
                  <a:moveTo>
                    <a:pt x="1347" y="1061"/>
                  </a:moveTo>
                  <a:cubicBezTo>
                    <a:pt x="1336" y="1028"/>
                    <a:pt x="1326" y="996"/>
                    <a:pt x="1317" y="965"/>
                  </a:cubicBezTo>
                  <a:cubicBezTo>
                    <a:pt x="1357" y="955"/>
                    <a:pt x="1400" y="946"/>
                    <a:pt x="1443" y="938"/>
                  </a:cubicBezTo>
                  <a:cubicBezTo>
                    <a:pt x="1451" y="970"/>
                    <a:pt x="1460" y="1003"/>
                    <a:pt x="1469" y="1036"/>
                  </a:cubicBezTo>
                  <a:cubicBezTo>
                    <a:pt x="1426" y="1043"/>
                    <a:pt x="1385" y="1052"/>
                    <a:pt x="1347" y="1061"/>
                  </a:cubicBezTo>
                  <a:moveTo>
                    <a:pt x="119" y="1087"/>
                  </a:moveTo>
                  <a:cubicBezTo>
                    <a:pt x="109" y="1066"/>
                    <a:pt x="100" y="1045"/>
                    <a:pt x="92" y="1024"/>
                  </a:cubicBezTo>
                  <a:cubicBezTo>
                    <a:pt x="128" y="994"/>
                    <a:pt x="163" y="961"/>
                    <a:pt x="194" y="925"/>
                  </a:cubicBezTo>
                  <a:cubicBezTo>
                    <a:pt x="204" y="948"/>
                    <a:pt x="214" y="971"/>
                    <a:pt x="224" y="994"/>
                  </a:cubicBezTo>
                  <a:cubicBezTo>
                    <a:pt x="191" y="1028"/>
                    <a:pt x="156" y="1059"/>
                    <a:pt x="119" y="1087"/>
                  </a:cubicBezTo>
                  <a:moveTo>
                    <a:pt x="2005" y="1038"/>
                  </a:moveTo>
                  <a:cubicBezTo>
                    <a:pt x="1966" y="1029"/>
                    <a:pt x="1925" y="1022"/>
                    <a:pt x="1884" y="1018"/>
                  </a:cubicBezTo>
                  <a:cubicBezTo>
                    <a:pt x="1879" y="984"/>
                    <a:pt x="1874" y="952"/>
                    <a:pt x="1870" y="922"/>
                  </a:cubicBezTo>
                  <a:cubicBezTo>
                    <a:pt x="1913" y="928"/>
                    <a:pt x="1955" y="937"/>
                    <a:pt x="1995" y="949"/>
                  </a:cubicBezTo>
                  <a:cubicBezTo>
                    <a:pt x="1998" y="982"/>
                    <a:pt x="2002" y="1012"/>
                    <a:pt x="2005" y="1038"/>
                  </a:cubicBezTo>
                  <a:moveTo>
                    <a:pt x="1480" y="1034"/>
                  </a:moveTo>
                  <a:cubicBezTo>
                    <a:pt x="1471" y="1001"/>
                    <a:pt x="1462" y="968"/>
                    <a:pt x="1454" y="936"/>
                  </a:cubicBezTo>
                  <a:cubicBezTo>
                    <a:pt x="1496" y="929"/>
                    <a:pt x="1539" y="923"/>
                    <a:pt x="1582" y="919"/>
                  </a:cubicBezTo>
                  <a:cubicBezTo>
                    <a:pt x="1588" y="952"/>
                    <a:pt x="1596" y="985"/>
                    <a:pt x="1603" y="1019"/>
                  </a:cubicBezTo>
                  <a:cubicBezTo>
                    <a:pt x="1561" y="1022"/>
                    <a:pt x="1520" y="1028"/>
                    <a:pt x="1480" y="1034"/>
                  </a:cubicBezTo>
                  <a:moveTo>
                    <a:pt x="759" y="1080"/>
                  </a:moveTo>
                  <a:cubicBezTo>
                    <a:pt x="752" y="1066"/>
                    <a:pt x="745" y="1053"/>
                    <a:pt x="738" y="1041"/>
                  </a:cubicBezTo>
                  <a:cubicBezTo>
                    <a:pt x="733" y="1031"/>
                    <a:pt x="727" y="1014"/>
                    <a:pt x="719" y="992"/>
                  </a:cubicBezTo>
                  <a:cubicBezTo>
                    <a:pt x="756" y="967"/>
                    <a:pt x="797" y="942"/>
                    <a:pt x="838" y="918"/>
                  </a:cubicBezTo>
                  <a:cubicBezTo>
                    <a:pt x="850" y="960"/>
                    <a:pt x="860" y="991"/>
                    <a:pt x="867" y="1007"/>
                  </a:cubicBezTo>
                  <a:cubicBezTo>
                    <a:pt x="868" y="1008"/>
                    <a:pt x="869" y="1010"/>
                    <a:pt x="870" y="1012"/>
                  </a:cubicBezTo>
                  <a:cubicBezTo>
                    <a:pt x="830" y="1034"/>
                    <a:pt x="793" y="1057"/>
                    <a:pt x="759" y="1080"/>
                  </a:cubicBezTo>
                  <a:moveTo>
                    <a:pt x="1749" y="1011"/>
                  </a:moveTo>
                  <a:cubicBezTo>
                    <a:pt x="1743" y="978"/>
                    <a:pt x="1737" y="945"/>
                    <a:pt x="1732" y="913"/>
                  </a:cubicBezTo>
                  <a:cubicBezTo>
                    <a:pt x="1775" y="913"/>
                    <a:pt x="1817" y="916"/>
                    <a:pt x="1858" y="921"/>
                  </a:cubicBezTo>
                  <a:cubicBezTo>
                    <a:pt x="1862" y="951"/>
                    <a:pt x="1867" y="983"/>
                    <a:pt x="1872" y="1017"/>
                  </a:cubicBezTo>
                  <a:cubicBezTo>
                    <a:pt x="1833" y="1013"/>
                    <a:pt x="1793" y="1011"/>
                    <a:pt x="1753" y="1011"/>
                  </a:cubicBezTo>
                  <a:cubicBezTo>
                    <a:pt x="1752" y="1011"/>
                    <a:pt x="1751" y="1011"/>
                    <a:pt x="1749" y="1011"/>
                  </a:cubicBezTo>
                  <a:moveTo>
                    <a:pt x="1615" y="1018"/>
                  </a:moveTo>
                  <a:cubicBezTo>
                    <a:pt x="1607" y="984"/>
                    <a:pt x="1600" y="951"/>
                    <a:pt x="1593" y="918"/>
                  </a:cubicBezTo>
                  <a:cubicBezTo>
                    <a:pt x="1635" y="915"/>
                    <a:pt x="1677" y="913"/>
                    <a:pt x="1719" y="913"/>
                  </a:cubicBezTo>
                  <a:cubicBezTo>
                    <a:pt x="1719" y="913"/>
                    <a:pt x="1720" y="913"/>
                    <a:pt x="1720" y="913"/>
                  </a:cubicBezTo>
                  <a:cubicBezTo>
                    <a:pt x="1726" y="945"/>
                    <a:pt x="1732" y="978"/>
                    <a:pt x="1738" y="1011"/>
                  </a:cubicBezTo>
                  <a:cubicBezTo>
                    <a:pt x="1697" y="1012"/>
                    <a:pt x="1656" y="1014"/>
                    <a:pt x="1615" y="1018"/>
                  </a:cubicBezTo>
                  <a:moveTo>
                    <a:pt x="1049" y="1045"/>
                  </a:moveTo>
                  <a:cubicBezTo>
                    <a:pt x="1037" y="1015"/>
                    <a:pt x="1026" y="986"/>
                    <a:pt x="1016" y="962"/>
                  </a:cubicBezTo>
                  <a:cubicBezTo>
                    <a:pt x="1015" y="959"/>
                    <a:pt x="1014" y="956"/>
                    <a:pt x="1013" y="953"/>
                  </a:cubicBezTo>
                  <a:cubicBezTo>
                    <a:pt x="1053" y="934"/>
                    <a:pt x="1095" y="917"/>
                    <a:pt x="1137" y="901"/>
                  </a:cubicBezTo>
                  <a:cubicBezTo>
                    <a:pt x="1140" y="912"/>
                    <a:pt x="1142" y="921"/>
                    <a:pt x="1144" y="927"/>
                  </a:cubicBezTo>
                  <a:cubicBezTo>
                    <a:pt x="1152" y="949"/>
                    <a:pt x="1160" y="973"/>
                    <a:pt x="1168" y="997"/>
                  </a:cubicBezTo>
                  <a:cubicBezTo>
                    <a:pt x="1127" y="1011"/>
                    <a:pt x="1087" y="1028"/>
                    <a:pt x="1049" y="1045"/>
                  </a:cubicBezTo>
                  <a:moveTo>
                    <a:pt x="595" y="1073"/>
                  </a:moveTo>
                  <a:cubicBezTo>
                    <a:pt x="586" y="1055"/>
                    <a:pt x="574" y="1024"/>
                    <a:pt x="560" y="985"/>
                  </a:cubicBezTo>
                  <a:cubicBezTo>
                    <a:pt x="594" y="954"/>
                    <a:pt x="633" y="923"/>
                    <a:pt x="676" y="892"/>
                  </a:cubicBezTo>
                  <a:cubicBezTo>
                    <a:pt x="687" y="929"/>
                    <a:pt x="697" y="961"/>
                    <a:pt x="705" y="987"/>
                  </a:cubicBezTo>
                  <a:cubicBezTo>
                    <a:pt x="666" y="1014"/>
                    <a:pt x="630" y="1042"/>
                    <a:pt x="598" y="1070"/>
                  </a:cubicBezTo>
                  <a:cubicBezTo>
                    <a:pt x="597" y="1071"/>
                    <a:pt x="596" y="1072"/>
                    <a:pt x="595" y="1073"/>
                  </a:cubicBezTo>
                  <a:moveTo>
                    <a:pt x="452" y="1106"/>
                  </a:moveTo>
                  <a:cubicBezTo>
                    <a:pt x="443" y="1089"/>
                    <a:pt x="431" y="1063"/>
                    <a:pt x="417" y="1031"/>
                  </a:cubicBezTo>
                  <a:cubicBezTo>
                    <a:pt x="427" y="1016"/>
                    <a:pt x="436" y="1000"/>
                    <a:pt x="444" y="984"/>
                  </a:cubicBezTo>
                  <a:cubicBezTo>
                    <a:pt x="457" y="956"/>
                    <a:pt x="479" y="926"/>
                    <a:pt x="507" y="898"/>
                  </a:cubicBezTo>
                  <a:cubicBezTo>
                    <a:pt x="510" y="895"/>
                    <a:pt x="514" y="892"/>
                    <a:pt x="517" y="889"/>
                  </a:cubicBezTo>
                  <a:cubicBezTo>
                    <a:pt x="527" y="922"/>
                    <a:pt x="537" y="954"/>
                    <a:pt x="547" y="981"/>
                  </a:cubicBezTo>
                  <a:cubicBezTo>
                    <a:pt x="519" y="1007"/>
                    <a:pt x="497" y="1035"/>
                    <a:pt x="481" y="1063"/>
                  </a:cubicBezTo>
                  <a:cubicBezTo>
                    <a:pt x="473" y="1078"/>
                    <a:pt x="463" y="1092"/>
                    <a:pt x="452" y="1106"/>
                  </a:cubicBezTo>
                  <a:moveTo>
                    <a:pt x="1179" y="993"/>
                  </a:moveTo>
                  <a:cubicBezTo>
                    <a:pt x="1170" y="969"/>
                    <a:pt x="1162" y="945"/>
                    <a:pt x="1155" y="923"/>
                  </a:cubicBezTo>
                  <a:cubicBezTo>
                    <a:pt x="1153" y="917"/>
                    <a:pt x="1151" y="908"/>
                    <a:pt x="1148" y="898"/>
                  </a:cubicBezTo>
                  <a:cubicBezTo>
                    <a:pt x="1161" y="893"/>
                    <a:pt x="1173" y="889"/>
                    <a:pt x="1186" y="885"/>
                  </a:cubicBezTo>
                  <a:cubicBezTo>
                    <a:pt x="1215" y="876"/>
                    <a:pt x="1245" y="867"/>
                    <a:pt x="1276" y="858"/>
                  </a:cubicBezTo>
                  <a:cubicBezTo>
                    <a:pt x="1279" y="870"/>
                    <a:pt x="1281" y="880"/>
                    <a:pt x="1283" y="887"/>
                  </a:cubicBezTo>
                  <a:cubicBezTo>
                    <a:pt x="1289" y="909"/>
                    <a:pt x="1296" y="932"/>
                    <a:pt x="1303" y="956"/>
                  </a:cubicBezTo>
                  <a:cubicBezTo>
                    <a:pt x="1276" y="963"/>
                    <a:pt x="1250" y="970"/>
                    <a:pt x="1225" y="978"/>
                  </a:cubicBezTo>
                  <a:cubicBezTo>
                    <a:pt x="1209" y="982"/>
                    <a:pt x="1194" y="988"/>
                    <a:pt x="1179" y="993"/>
                  </a:cubicBezTo>
                  <a:moveTo>
                    <a:pt x="267" y="1062"/>
                  </a:moveTo>
                  <a:cubicBezTo>
                    <a:pt x="258" y="1042"/>
                    <a:pt x="247" y="1019"/>
                    <a:pt x="237" y="996"/>
                  </a:cubicBezTo>
                  <a:cubicBezTo>
                    <a:pt x="277" y="953"/>
                    <a:pt x="312" y="905"/>
                    <a:pt x="335" y="852"/>
                  </a:cubicBezTo>
                  <a:cubicBezTo>
                    <a:pt x="346" y="881"/>
                    <a:pt x="356" y="909"/>
                    <a:pt x="367" y="936"/>
                  </a:cubicBezTo>
                  <a:cubicBezTo>
                    <a:pt x="342" y="982"/>
                    <a:pt x="307" y="1024"/>
                    <a:pt x="267" y="1062"/>
                  </a:cubicBezTo>
                  <a:moveTo>
                    <a:pt x="879" y="1006"/>
                  </a:moveTo>
                  <a:cubicBezTo>
                    <a:pt x="879" y="1005"/>
                    <a:pt x="878" y="1003"/>
                    <a:pt x="877" y="1001"/>
                  </a:cubicBezTo>
                  <a:cubicBezTo>
                    <a:pt x="870" y="986"/>
                    <a:pt x="860" y="955"/>
                    <a:pt x="848" y="913"/>
                  </a:cubicBezTo>
                  <a:cubicBezTo>
                    <a:pt x="889" y="890"/>
                    <a:pt x="932" y="868"/>
                    <a:pt x="974" y="848"/>
                  </a:cubicBezTo>
                  <a:cubicBezTo>
                    <a:pt x="984" y="890"/>
                    <a:pt x="992" y="923"/>
                    <a:pt x="999" y="946"/>
                  </a:cubicBezTo>
                  <a:cubicBezTo>
                    <a:pt x="957" y="965"/>
                    <a:pt x="917" y="986"/>
                    <a:pt x="879" y="1006"/>
                  </a:cubicBezTo>
                  <a:moveTo>
                    <a:pt x="87" y="1013"/>
                  </a:moveTo>
                  <a:cubicBezTo>
                    <a:pt x="79" y="992"/>
                    <a:pt x="71" y="971"/>
                    <a:pt x="64" y="952"/>
                  </a:cubicBezTo>
                  <a:cubicBezTo>
                    <a:pt x="99" y="919"/>
                    <a:pt x="132" y="883"/>
                    <a:pt x="161" y="844"/>
                  </a:cubicBezTo>
                  <a:cubicBezTo>
                    <a:pt x="170" y="866"/>
                    <a:pt x="179" y="889"/>
                    <a:pt x="189" y="913"/>
                  </a:cubicBezTo>
                  <a:cubicBezTo>
                    <a:pt x="158" y="949"/>
                    <a:pt x="123" y="983"/>
                    <a:pt x="87" y="1013"/>
                  </a:cubicBezTo>
                  <a:moveTo>
                    <a:pt x="1314" y="953"/>
                  </a:moveTo>
                  <a:cubicBezTo>
                    <a:pt x="1306" y="929"/>
                    <a:pt x="1300" y="906"/>
                    <a:pt x="1294" y="884"/>
                  </a:cubicBezTo>
                  <a:cubicBezTo>
                    <a:pt x="1292" y="877"/>
                    <a:pt x="1290" y="867"/>
                    <a:pt x="1287" y="856"/>
                  </a:cubicBezTo>
                  <a:cubicBezTo>
                    <a:pt x="1329" y="845"/>
                    <a:pt x="1373" y="835"/>
                    <a:pt x="1418" y="827"/>
                  </a:cubicBezTo>
                  <a:cubicBezTo>
                    <a:pt x="1419" y="835"/>
                    <a:pt x="1421" y="842"/>
                    <a:pt x="1422" y="847"/>
                  </a:cubicBezTo>
                  <a:cubicBezTo>
                    <a:pt x="1427" y="872"/>
                    <a:pt x="1433" y="899"/>
                    <a:pt x="1440" y="926"/>
                  </a:cubicBezTo>
                  <a:cubicBezTo>
                    <a:pt x="1396" y="934"/>
                    <a:pt x="1354" y="943"/>
                    <a:pt x="1314" y="953"/>
                  </a:cubicBezTo>
                  <a:moveTo>
                    <a:pt x="1994" y="936"/>
                  </a:moveTo>
                  <a:cubicBezTo>
                    <a:pt x="1954" y="924"/>
                    <a:pt x="1912" y="916"/>
                    <a:pt x="1868" y="910"/>
                  </a:cubicBezTo>
                  <a:cubicBezTo>
                    <a:pt x="1864" y="876"/>
                    <a:pt x="1860" y="845"/>
                    <a:pt x="1857" y="816"/>
                  </a:cubicBezTo>
                  <a:cubicBezTo>
                    <a:pt x="1902" y="824"/>
                    <a:pt x="1946" y="835"/>
                    <a:pt x="1986" y="851"/>
                  </a:cubicBezTo>
                  <a:cubicBezTo>
                    <a:pt x="1988" y="880"/>
                    <a:pt x="1991" y="909"/>
                    <a:pt x="1994" y="936"/>
                  </a:cubicBezTo>
                  <a:moveTo>
                    <a:pt x="715" y="981"/>
                  </a:moveTo>
                  <a:cubicBezTo>
                    <a:pt x="706" y="954"/>
                    <a:pt x="697" y="922"/>
                    <a:pt x="686" y="886"/>
                  </a:cubicBezTo>
                  <a:cubicBezTo>
                    <a:pt x="725" y="859"/>
                    <a:pt x="766" y="834"/>
                    <a:pt x="809" y="809"/>
                  </a:cubicBezTo>
                  <a:cubicBezTo>
                    <a:pt x="818" y="845"/>
                    <a:pt x="827" y="878"/>
                    <a:pt x="835" y="907"/>
                  </a:cubicBezTo>
                  <a:cubicBezTo>
                    <a:pt x="793" y="930"/>
                    <a:pt x="753" y="955"/>
                    <a:pt x="715" y="981"/>
                  </a:cubicBezTo>
                  <a:moveTo>
                    <a:pt x="1451" y="924"/>
                  </a:moveTo>
                  <a:cubicBezTo>
                    <a:pt x="1444" y="896"/>
                    <a:pt x="1438" y="869"/>
                    <a:pt x="1433" y="844"/>
                  </a:cubicBezTo>
                  <a:cubicBezTo>
                    <a:pt x="1432" y="839"/>
                    <a:pt x="1430" y="833"/>
                    <a:pt x="1429" y="825"/>
                  </a:cubicBezTo>
                  <a:cubicBezTo>
                    <a:pt x="1472" y="818"/>
                    <a:pt x="1516" y="812"/>
                    <a:pt x="1561" y="808"/>
                  </a:cubicBezTo>
                  <a:cubicBezTo>
                    <a:pt x="1566" y="839"/>
                    <a:pt x="1572" y="873"/>
                    <a:pt x="1579" y="908"/>
                  </a:cubicBezTo>
                  <a:cubicBezTo>
                    <a:pt x="1536" y="912"/>
                    <a:pt x="1493" y="917"/>
                    <a:pt x="1451" y="924"/>
                  </a:cubicBezTo>
                  <a:moveTo>
                    <a:pt x="1857" y="909"/>
                  </a:moveTo>
                  <a:cubicBezTo>
                    <a:pt x="1815" y="904"/>
                    <a:pt x="1773" y="901"/>
                    <a:pt x="1730" y="901"/>
                  </a:cubicBezTo>
                  <a:cubicBezTo>
                    <a:pt x="1724" y="866"/>
                    <a:pt x="1719" y="833"/>
                    <a:pt x="1715" y="802"/>
                  </a:cubicBezTo>
                  <a:cubicBezTo>
                    <a:pt x="1760" y="804"/>
                    <a:pt x="1803" y="807"/>
                    <a:pt x="1846" y="814"/>
                  </a:cubicBezTo>
                  <a:cubicBezTo>
                    <a:pt x="1849" y="843"/>
                    <a:pt x="1852" y="875"/>
                    <a:pt x="1857" y="909"/>
                  </a:cubicBezTo>
                  <a:moveTo>
                    <a:pt x="1590" y="906"/>
                  </a:moveTo>
                  <a:cubicBezTo>
                    <a:pt x="1583" y="872"/>
                    <a:pt x="1577" y="838"/>
                    <a:pt x="1572" y="807"/>
                  </a:cubicBezTo>
                  <a:cubicBezTo>
                    <a:pt x="1610" y="804"/>
                    <a:pt x="1648" y="802"/>
                    <a:pt x="1685" y="802"/>
                  </a:cubicBezTo>
                  <a:cubicBezTo>
                    <a:pt x="1691" y="802"/>
                    <a:pt x="1698" y="802"/>
                    <a:pt x="1704" y="802"/>
                  </a:cubicBezTo>
                  <a:cubicBezTo>
                    <a:pt x="1708" y="833"/>
                    <a:pt x="1713" y="866"/>
                    <a:pt x="1718" y="901"/>
                  </a:cubicBezTo>
                  <a:cubicBezTo>
                    <a:pt x="1676" y="901"/>
                    <a:pt x="1633" y="903"/>
                    <a:pt x="1590" y="906"/>
                  </a:cubicBezTo>
                  <a:moveTo>
                    <a:pt x="1009" y="941"/>
                  </a:moveTo>
                  <a:cubicBezTo>
                    <a:pt x="1002" y="919"/>
                    <a:pt x="994" y="885"/>
                    <a:pt x="985" y="844"/>
                  </a:cubicBezTo>
                  <a:cubicBezTo>
                    <a:pt x="1028" y="824"/>
                    <a:pt x="1071" y="806"/>
                    <a:pt x="1114" y="791"/>
                  </a:cubicBezTo>
                  <a:cubicBezTo>
                    <a:pt x="1122" y="831"/>
                    <a:pt x="1129" y="865"/>
                    <a:pt x="1135" y="890"/>
                  </a:cubicBezTo>
                  <a:cubicBezTo>
                    <a:pt x="1092" y="905"/>
                    <a:pt x="1050" y="923"/>
                    <a:pt x="1009" y="941"/>
                  </a:cubicBezTo>
                  <a:moveTo>
                    <a:pt x="556" y="973"/>
                  </a:moveTo>
                  <a:cubicBezTo>
                    <a:pt x="547" y="945"/>
                    <a:pt x="536" y="914"/>
                    <a:pt x="526" y="880"/>
                  </a:cubicBezTo>
                  <a:cubicBezTo>
                    <a:pt x="560" y="848"/>
                    <a:pt x="601" y="816"/>
                    <a:pt x="646" y="784"/>
                  </a:cubicBezTo>
                  <a:cubicBezTo>
                    <a:pt x="655" y="818"/>
                    <a:pt x="664" y="851"/>
                    <a:pt x="673" y="881"/>
                  </a:cubicBezTo>
                  <a:cubicBezTo>
                    <a:pt x="629" y="911"/>
                    <a:pt x="590" y="942"/>
                    <a:pt x="556" y="973"/>
                  </a:cubicBezTo>
                  <a:moveTo>
                    <a:pt x="412" y="1018"/>
                  </a:moveTo>
                  <a:cubicBezTo>
                    <a:pt x="402" y="994"/>
                    <a:pt x="391" y="966"/>
                    <a:pt x="379" y="937"/>
                  </a:cubicBezTo>
                  <a:cubicBezTo>
                    <a:pt x="386" y="924"/>
                    <a:pt x="392" y="912"/>
                    <a:pt x="397" y="898"/>
                  </a:cubicBezTo>
                  <a:cubicBezTo>
                    <a:pt x="409" y="869"/>
                    <a:pt x="430" y="837"/>
                    <a:pt x="459" y="807"/>
                  </a:cubicBezTo>
                  <a:cubicBezTo>
                    <a:pt x="466" y="799"/>
                    <a:pt x="475" y="790"/>
                    <a:pt x="483" y="782"/>
                  </a:cubicBezTo>
                  <a:cubicBezTo>
                    <a:pt x="493" y="814"/>
                    <a:pt x="503" y="846"/>
                    <a:pt x="513" y="877"/>
                  </a:cubicBezTo>
                  <a:cubicBezTo>
                    <a:pt x="508" y="881"/>
                    <a:pt x="504" y="885"/>
                    <a:pt x="500" y="889"/>
                  </a:cubicBezTo>
                  <a:cubicBezTo>
                    <a:pt x="471" y="918"/>
                    <a:pt x="448" y="949"/>
                    <a:pt x="434" y="978"/>
                  </a:cubicBezTo>
                  <a:cubicBezTo>
                    <a:pt x="428" y="992"/>
                    <a:pt x="420" y="1005"/>
                    <a:pt x="412" y="1018"/>
                  </a:cubicBezTo>
                  <a:moveTo>
                    <a:pt x="59" y="940"/>
                  </a:moveTo>
                  <a:cubicBezTo>
                    <a:pt x="50" y="914"/>
                    <a:pt x="41" y="891"/>
                    <a:pt x="35" y="873"/>
                  </a:cubicBezTo>
                  <a:cubicBezTo>
                    <a:pt x="69" y="838"/>
                    <a:pt x="100" y="800"/>
                    <a:pt x="127" y="759"/>
                  </a:cubicBezTo>
                  <a:cubicBezTo>
                    <a:pt x="135" y="779"/>
                    <a:pt x="145" y="804"/>
                    <a:pt x="156" y="831"/>
                  </a:cubicBezTo>
                  <a:cubicBezTo>
                    <a:pt x="127" y="871"/>
                    <a:pt x="94" y="907"/>
                    <a:pt x="59" y="940"/>
                  </a:cubicBezTo>
                  <a:moveTo>
                    <a:pt x="232" y="985"/>
                  </a:moveTo>
                  <a:cubicBezTo>
                    <a:pt x="222" y="962"/>
                    <a:pt x="212" y="938"/>
                    <a:pt x="202" y="915"/>
                  </a:cubicBezTo>
                  <a:cubicBezTo>
                    <a:pt x="244" y="865"/>
                    <a:pt x="278" y="809"/>
                    <a:pt x="298" y="747"/>
                  </a:cubicBezTo>
                  <a:cubicBezTo>
                    <a:pt x="308" y="776"/>
                    <a:pt x="319" y="807"/>
                    <a:pt x="330" y="836"/>
                  </a:cubicBezTo>
                  <a:cubicBezTo>
                    <a:pt x="307" y="891"/>
                    <a:pt x="273" y="940"/>
                    <a:pt x="232" y="985"/>
                  </a:cubicBezTo>
                  <a:moveTo>
                    <a:pt x="1145" y="886"/>
                  </a:moveTo>
                  <a:cubicBezTo>
                    <a:pt x="1139" y="861"/>
                    <a:pt x="1132" y="827"/>
                    <a:pt x="1125" y="787"/>
                  </a:cubicBezTo>
                  <a:cubicBezTo>
                    <a:pt x="1131" y="785"/>
                    <a:pt x="1137" y="782"/>
                    <a:pt x="1144" y="780"/>
                  </a:cubicBezTo>
                  <a:cubicBezTo>
                    <a:pt x="1179" y="769"/>
                    <a:pt x="1216" y="757"/>
                    <a:pt x="1255" y="747"/>
                  </a:cubicBezTo>
                  <a:cubicBezTo>
                    <a:pt x="1262" y="787"/>
                    <a:pt x="1269" y="821"/>
                    <a:pt x="1274" y="847"/>
                  </a:cubicBezTo>
                  <a:cubicBezTo>
                    <a:pt x="1242" y="855"/>
                    <a:pt x="1212" y="864"/>
                    <a:pt x="1183" y="873"/>
                  </a:cubicBezTo>
                  <a:cubicBezTo>
                    <a:pt x="1170" y="877"/>
                    <a:pt x="1158" y="882"/>
                    <a:pt x="1145" y="886"/>
                  </a:cubicBezTo>
                  <a:moveTo>
                    <a:pt x="845" y="901"/>
                  </a:moveTo>
                  <a:cubicBezTo>
                    <a:pt x="837" y="872"/>
                    <a:pt x="828" y="839"/>
                    <a:pt x="819" y="804"/>
                  </a:cubicBezTo>
                  <a:cubicBezTo>
                    <a:pt x="862" y="780"/>
                    <a:pt x="906" y="758"/>
                    <a:pt x="950" y="737"/>
                  </a:cubicBezTo>
                  <a:cubicBezTo>
                    <a:pt x="958" y="773"/>
                    <a:pt x="965" y="807"/>
                    <a:pt x="972" y="837"/>
                  </a:cubicBezTo>
                  <a:cubicBezTo>
                    <a:pt x="929" y="856"/>
                    <a:pt x="886" y="878"/>
                    <a:pt x="845" y="901"/>
                  </a:cubicBezTo>
                  <a:moveTo>
                    <a:pt x="91" y="790"/>
                  </a:moveTo>
                  <a:cubicBezTo>
                    <a:pt x="101" y="769"/>
                    <a:pt x="108" y="746"/>
                    <a:pt x="114" y="724"/>
                  </a:cubicBezTo>
                  <a:cubicBezTo>
                    <a:pt x="117" y="730"/>
                    <a:pt x="119" y="737"/>
                    <a:pt x="122" y="746"/>
                  </a:cubicBezTo>
                  <a:cubicBezTo>
                    <a:pt x="113" y="761"/>
                    <a:pt x="102" y="776"/>
                    <a:pt x="91" y="790"/>
                  </a:cubicBezTo>
                  <a:moveTo>
                    <a:pt x="1285" y="844"/>
                  </a:moveTo>
                  <a:cubicBezTo>
                    <a:pt x="1279" y="818"/>
                    <a:pt x="1273" y="784"/>
                    <a:pt x="1266" y="744"/>
                  </a:cubicBezTo>
                  <a:cubicBezTo>
                    <a:pt x="1309" y="733"/>
                    <a:pt x="1354" y="723"/>
                    <a:pt x="1400" y="715"/>
                  </a:cubicBezTo>
                  <a:cubicBezTo>
                    <a:pt x="1406" y="756"/>
                    <a:pt x="1411" y="790"/>
                    <a:pt x="1416" y="816"/>
                  </a:cubicBezTo>
                  <a:cubicBezTo>
                    <a:pt x="1371" y="824"/>
                    <a:pt x="1327" y="833"/>
                    <a:pt x="1285" y="844"/>
                  </a:cubicBezTo>
                  <a:moveTo>
                    <a:pt x="31" y="861"/>
                  </a:moveTo>
                  <a:cubicBezTo>
                    <a:pt x="26" y="847"/>
                    <a:pt x="23" y="838"/>
                    <a:pt x="23" y="837"/>
                  </a:cubicBezTo>
                  <a:cubicBezTo>
                    <a:pt x="49" y="802"/>
                    <a:pt x="79" y="758"/>
                    <a:pt x="106" y="712"/>
                  </a:cubicBezTo>
                  <a:cubicBezTo>
                    <a:pt x="96" y="750"/>
                    <a:pt x="82" y="789"/>
                    <a:pt x="62" y="825"/>
                  </a:cubicBezTo>
                  <a:cubicBezTo>
                    <a:pt x="63" y="826"/>
                    <a:pt x="63" y="826"/>
                    <a:pt x="63" y="826"/>
                  </a:cubicBezTo>
                  <a:cubicBezTo>
                    <a:pt x="53" y="838"/>
                    <a:pt x="42" y="850"/>
                    <a:pt x="31" y="861"/>
                  </a:cubicBezTo>
                  <a:moveTo>
                    <a:pt x="1985" y="837"/>
                  </a:moveTo>
                  <a:cubicBezTo>
                    <a:pt x="1944" y="822"/>
                    <a:pt x="1901" y="811"/>
                    <a:pt x="1856" y="803"/>
                  </a:cubicBezTo>
                  <a:cubicBezTo>
                    <a:pt x="1853" y="776"/>
                    <a:pt x="1851" y="750"/>
                    <a:pt x="1849" y="727"/>
                  </a:cubicBezTo>
                  <a:cubicBezTo>
                    <a:pt x="1849" y="722"/>
                    <a:pt x="1849" y="717"/>
                    <a:pt x="1848" y="711"/>
                  </a:cubicBezTo>
                  <a:cubicBezTo>
                    <a:pt x="1895" y="721"/>
                    <a:pt x="1939" y="736"/>
                    <a:pt x="1979" y="756"/>
                  </a:cubicBezTo>
                  <a:cubicBezTo>
                    <a:pt x="1981" y="783"/>
                    <a:pt x="1983" y="810"/>
                    <a:pt x="1985" y="837"/>
                  </a:cubicBezTo>
                  <a:moveTo>
                    <a:pt x="683" y="874"/>
                  </a:moveTo>
                  <a:cubicBezTo>
                    <a:pt x="674" y="844"/>
                    <a:pt x="665" y="811"/>
                    <a:pt x="656" y="777"/>
                  </a:cubicBezTo>
                  <a:cubicBezTo>
                    <a:pt x="695" y="750"/>
                    <a:pt x="737" y="724"/>
                    <a:pt x="782" y="699"/>
                  </a:cubicBezTo>
                  <a:cubicBezTo>
                    <a:pt x="790" y="733"/>
                    <a:pt x="798" y="766"/>
                    <a:pt x="806" y="797"/>
                  </a:cubicBezTo>
                  <a:cubicBezTo>
                    <a:pt x="763" y="822"/>
                    <a:pt x="721" y="848"/>
                    <a:pt x="683" y="874"/>
                  </a:cubicBezTo>
                  <a:moveTo>
                    <a:pt x="1427" y="814"/>
                  </a:moveTo>
                  <a:cubicBezTo>
                    <a:pt x="1422" y="789"/>
                    <a:pt x="1417" y="754"/>
                    <a:pt x="1411" y="713"/>
                  </a:cubicBezTo>
                  <a:cubicBezTo>
                    <a:pt x="1456" y="706"/>
                    <a:pt x="1502" y="700"/>
                    <a:pt x="1548" y="696"/>
                  </a:cubicBezTo>
                  <a:cubicBezTo>
                    <a:pt x="1552" y="739"/>
                    <a:pt x="1556" y="774"/>
                    <a:pt x="1559" y="796"/>
                  </a:cubicBezTo>
                  <a:cubicBezTo>
                    <a:pt x="1514" y="800"/>
                    <a:pt x="1470" y="806"/>
                    <a:pt x="1427" y="814"/>
                  </a:cubicBezTo>
                  <a:moveTo>
                    <a:pt x="1844" y="802"/>
                  </a:moveTo>
                  <a:cubicBezTo>
                    <a:pt x="1802" y="795"/>
                    <a:pt x="1758" y="792"/>
                    <a:pt x="1713" y="791"/>
                  </a:cubicBezTo>
                  <a:cubicBezTo>
                    <a:pt x="1712" y="782"/>
                    <a:pt x="1711" y="774"/>
                    <a:pt x="1710" y="766"/>
                  </a:cubicBezTo>
                  <a:cubicBezTo>
                    <a:pt x="1709" y="750"/>
                    <a:pt x="1707" y="725"/>
                    <a:pt x="1704" y="693"/>
                  </a:cubicBezTo>
                  <a:cubicBezTo>
                    <a:pt x="1750" y="695"/>
                    <a:pt x="1795" y="700"/>
                    <a:pt x="1837" y="709"/>
                  </a:cubicBezTo>
                  <a:cubicBezTo>
                    <a:pt x="1837" y="716"/>
                    <a:pt x="1838" y="722"/>
                    <a:pt x="1838" y="728"/>
                  </a:cubicBezTo>
                  <a:cubicBezTo>
                    <a:pt x="1840" y="750"/>
                    <a:pt x="1842" y="775"/>
                    <a:pt x="1844" y="802"/>
                  </a:cubicBezTo>
                  <a:moveTo>
                    <a:pt x="1570" y="795"/>
                  </a:moveTo>
                  <a:cubicBezTo>
                    <a:pt x="1567" y="773"/>
                    <a:pt x="1563" y="739"/>
                    <a:pt x="1559" y="695"/>
                  </a:cubicBezTo>
                  <a:cubicBezTo>
                    <a:pt x="1590" y="693"/>
                    <a:pt x="1622" y="692"/>
                    <a:pt x="1653" y="692"/>
                  </a:cubicBezTo>
                  <a:cubicBezTo>
                    <a:pt x="1666" y="692"/>
                    <a:pt x="1680" y="692"/>
                    <a:pt x="1693" y="693"/>
                  </a:cubicBezTo>
                  <a:cubicBezTo>
                    <a:pt x="1695" y="725"/>
                    <a:pt x="1697" y="751"/>
                    <a:pt x="1699" y="767"/>
                  </a:cubicBezTo>
                  <a:cubicBezTo>
                    <a:pt x="1700" y="775"/>
                    <a:pt x="1701" y="783"/>
                    <a:pt x="1702" y="790"/>
                  </a:cubicBezTo>
                  <a:cubicBezTo>
                    <a:pt x="1696" y="790"/>
                    <a:pt x="1691" y="790"/>
                    <a:pt x="1685" y="790"/>
                  </a:cubicBezTo>
                  <a:cubicBezTo>
                    <a:pt x="1647" y="790"/>
                    <a:pt x="1608" y="792"/>
                    <a:pt x="1570" y="795"/>
                  </a:cubicBezTo>
                  <a:moveTo>
                    <a:pt x="982" y="832"/>
                  </a:moveTo>
                  <a:cubicBezTo>
                    <a:pt x="976" y="802"/>
                    <a:pt x="968" y="768"/>
                    <a:pt x="961" y="732"/>
                  </a:cubicBezTo>
                  <a:cubicBezTo>
                    <a:pt x="1005" y="713"/>
                    <a:pt x="1049" y="695"/>
                    <a:pt x="1093" y="679"/>
                  </a:cubicBezTo>
                  <a:cubicBezTo>
                    <a:pt x="1099" y="715"/>
                    <a:pt x="1106" y="748"/>
                    <a:pt x="1112" y="779"/>
                  </a:cubicBezTo>
                  <a:cubicBezTo>
                    <a:pt x="1069" y="794"/>
                    <a:pt x="1025" y="812"/>
                    <a:pt x="982" y="832"/>
                  </a:cubicBezTo>
                  <a:moveTo>
                    <a:pt x="522" y="868"/>
                  </a:moveTo>
                  <a:cubicBezTo>
                    <a:pt x="512" y="838"/>
                    <a:pt x="502" y="806"/>
                    <a:pt x="493" y="773"/>
                  </a:cubicBezTo>
                  <a:cubicBezTo>
                    <a:pt x="528" y="740"/>
                    <a:pt x="570" y="707"/>
                    <a:pt x="617" y="674"/>
                  </a:cubicBezTo>
                  <a:cubicBezTo>
                    <a:pt x="626" y="707"/>
                    <a:pt x="634" y="740"/>
                    <a:pt x="643" y="772"/>
                  </a:cubicBezTo>
                  <a:cubicBezTo>
                    <a:pt x="597" y="803"/>
                    <a:pt x="556" y="836"/>
                    <a:pt x="522" y="868"/>
                  </a:cubicBezTo>
                  <a:moveTo>
                    <a:pt x="374" y="923"/>
                  </a:moveTo>
                  <a:cubicBezTo>
                    <a:pt x="363" y="895"/>
                    <a:pt x="352" y="866"/>
                    <a:pt x="342" y="836"/>
                  </a:cubicBezTo>
                  <a:cubicBezTo>
                    <a:pt x="345" y="829"/>
                    <a:pt x="348" y="821"/>
                    <a:pt x="350" y="813"/>
                  </a:cubicBezTo>
                  <a:cubicBezTo>
                    <a:pt x="361" y="783"/>
                    <a:pt x="381" y="749"/>
                    <a:pt x="410" y="716"/>
                  </a:cubicBezTo>
                  <a:cubicBezTo>
                    <a:pt x="422" y="702"/>
                    <a:pt x="436" y="688"/>
                    <a:pt x="451" y="673"/>
                  </a:cubicBezTo>
                  <a:cubicBezTo>
                    <a:pt x="461" y="705"/>
                    <a:pt x="470" y="738"/>
                    <a:pt x="480" y="769"/>
                  </a:cubicBezTo>
                  <a:cubicBezTo>
                    <a:pt x="469" y="779"/>
                    <a:pt x="460" y="789"/>
                    <a:pt x="451" y="799"/>
                  </a:cubicBezTo>
                  <a:cubicBezTo>
                    <a:pt x="421" y="830"/>
                    <a:pt x="399" y="863"/>
                    <a:pt x="387" y="894"/>
                  </a:cubicBezTo>
                  <a:cubicBezTo>
                    <a:pt x="383" y="904"/>
                    <a:pt x="379" y="913"/>
                    <a:pt x="374" y="923"/>
                  </a:cubicBezTo>
                  <a:moveTo>
                    <a:pt x="28" y="760"/>
                  </a:moveTo>
                  <a:cubicBezTo>
                    <a:pt x="32" y="743"/>
                    <a:pt x="34" y="727"/>
                    <a:pt x="34" y="711"/>
                  </a:cubicBezTo>
                  <a:cubicBezTo>
                    <a:pt x="34" y="708"/>
                    <a:pt x="34" y="705"/>
                    <a:pt x="34" y="703"/>
                  </a:cubicBezTo>
                  <a:cubicBezTo>
                    <a:pt x="44" y="685"/>
                    <a:pt x="53" y="667"/>
                    <a:pt x="62" y="647"/>
                  </a:cubicBezTo>
                  <a:cubicBezTo>
                    <a:pt x="53" y="684"/>
                    <a:pt x="42" y="723"/>
                    <a:pt x="28" y="760"/>
                  </a:cubicBezTo>
                  <a:moveTo>
                    <a:pt x="1122" y="775"/>
                  </a:moveTo>
                  <a:cubicBezTo>
                    <a:pt x="1116" y="745"/>
                    <a:pt x="1110" y="711"/>
                    <a:pt x="1104" y="675"/>
                  </a:cubicBezTo>
                  <a:cubicBezTo>
                    <a:pt x="1145" y="661"/>
                    <a:pt x="1190" y="647"/>
                    <a:pt x="1236" y="635"/>
                  </a:cubicBezTo>
                  <a:cubicBezTo>
                    <a:pt x="1242" y="671"/>
                    <a:pt x="1247" y="705"/>
                    <a:pt x="1253" y="735"/>
                  </a:cubicBezTo>
                  <a:cubicBezTo>
                    <a:pt x="1214" y="746"/>
                    <a:pt x="1176" y="757"/>
                    <a:pt x="1140" y="769"/>
                  </a:cubicBezTo>
                  <a:cubicBezTo>
                    <a:pt x="1134" y="771"/>
                    <a:pt x="1128" y="773"/>
                    <a:pt x="1122" y="775"/>
                  </a:cubicBezTo>
                  <a:moveTo>
                    <a:pt x="197" y="903"/>
                  </a:moveTo>
                  <a:cubicBezTo>
                    <a:pt x="187" y="879"/>
                    <a:pt x="178" y="855"/>
                    <a:pt x="169" y="833"/>
                  </a:cubicBezTo>
                  <a:cubicBezTo>
                    <a:pt x="210" y="776"/>
                    <a:pt x="241" y="712"/>
                    <a:pt x="256" y="643"/>
                  </a:cubicBezTo>
                  <a:cubicBezTo>
                    <a:pt x="257" y="640"/>
                    <a:pt x="258" y="638"/>
                    <a:pt x="259" y="635"/>
                  </a:cubicBezTo>
                  <a:cubicBezTo>
                    <a:pt x="268" y="664"/>
                    <a:pt x="280" y="696"/>
                    <a:pt x="291" y="729"/>
                  </a:cubicBezTo>
                  <a:cubicBezTo>
                    <a:pt x="273" y="793"/>
                    <a:pt x="239" y="851"/>
                    <a:pt x="197" y="903"/>
                  </a:cubicBezTo>
                  <a:moveTo>
                    <a:pt x="816" y="792"/>
                  </a:moveTo>
                  <a:cubicBezTo>
                    <a:pt x="808" y="761"/>
                    <a:pt x="800" y="728"/>
                    <a:pt x="792" y="693"/>
                  </a:cubicBezTo>
                  <a:cubicBezTo>
                    <a:pt x="835" y="669"/>
                    <a:pt x="881" y="646"/>
                    <a:pt x="928" y="625"/>
                  </a:cubicBezTo>
                  <a:cubicBezTo>
                    <a:pt x="934" y="660"/>
                    <a:pt x="941" y="693"/>
                    <a:pt x="948" y="725"/>
                  </a:cubicBezTo>
                  <a:cubicBezTo>
                    <a:pt x="903" y="746"/>
                    <a:pt x="859" y="768"/>
                    <a:pt x="816" y="792"/>
                  </a:cubicBezTo>
                  <a:moveTo>
                    <a:pt x="61" y="696"/>
                  </a:moveTo>
                  <a:cubicBezTo>
                    <a:pt x="69" y="670"/>
                    <a:pt x="75" y="644"/>
                    <a:pt x="80" y="620"/>
                  </a:cubicBezTo>
                  <a:cubicBezTo>
                    <a:pt x="82" y="621"/>
                    <a:pt x="82" y="621"/>
                    <a:pt x="82" y="621"/>
                  </a:cubicBezTo>
                  <a:cubicBezTo>
                    <a:pt x="76" y="647"/>
                    <a:pt x="69" y="672"/>
                    <a:pt x="61" y="696"/>
                  </a:cubicBezTo>
                  <a:moveTo>
                    <a:pt x="1979" y="742"/>
                  </a:moveTo>
                  <a:cubicBezTo>
                    <a:pt x="1938" y="723"/>
                    <a:pt x="1894" y="709"/>
                    <a:pt x="1848" y="699"/>
                  </a:cubicBezTo>
                  <a:cubicBezTo>
                    <a:pt x="1847" y="675"/>
                    <a:pt x="1845" y="644"/>
                    <a:pt x="1844" y="609"/>
                  </a:cubicBezTo>
                  <a:cubicBezTo>
                    <a:pt x="1893" y="623"/>
                    <a:pt x="1937" y="641"/>
                    <a:pt x="1977" y="666"/>
                  </a:cubicBezTo>
                  <a:cubicBezTo>
                    <a:pt x="1977" y="674"/>
                    <a:pt x="1977" y="681"/>
                    <a:pt x="1977" y="688"/>
                  </a:cubicBezTo>
                  <a:cubicBezTo>
                    <a:pt x="1977" y="705"/>
                    <a:pt x="1978" y="724"/>
                    <a:pt x="1979" y="742"/>
                  </a:cubicBezTo>
                  <a:moveTo>
                    <a:pt x="1264" y="733"/>
                  </a:moveTo>
                  <a:cubicBezTo>
                    <a:pt x="1258" y="702"/>
                    <a:pt x="1252" y="668"/>
                    <a:pt x="1246" y="632"/>
                  </a:cubicBezTo>
                  <a:cubicBezTo>
                    <a:pt x="1291" y="621"/>
                    <a:pt x="1336" y="611"/>
                    <a:pt x="1383" y="603"/>
                  </a:cubicBezTo>
                  <a:cubicBezTo>
                    <a:pt x="1388" y="639"/>
                    <a:pt x="1393" y="673"/>
                    <a:pt x="1398" y="704"/>
                  </a:cubicBezTo>
                  <a:cubicBezTo>
                    <a:pt x="1352" y="712"/>
                    <a:pt x="1307" y="721"/>
                    <a:pt x="1264" y="733"/>
                  </a:cubicBezTo>
                  <a:moveTo>
                    <a:pt x="130" y="734"/>
                  </a:moveTo>
                  <a:cubicBezTo>
                    <a:pt x="125" y="721"/>
                    <a:pt x="121" y="711"/>
                    <a:pt x="119" y="706"/>
                  </a:cubicBezTo>
                  <a:cubicBezTo>
                    <a:pt x="122" y="696"/>
                    <a:pt x="124" y="687"/>
                    <a:pt x="126" y="678"/>
                  </a:cubicBezTo>
                  <a:cubicBezTo>
                    <a:pt x="141" y="650"/>
                    <a:pt x="155" y="621"/>
                    <a:pt x="166" y="593"/>
                  </a:cubicBezTo>
                  <a:cubicBezTo>
                    <a:pt x="163" y="628"/>
                    <a:pt x="157" y="666"/>
                    <a:pt x="146" y="705"/>
                  </a:cubicBezTo>
                  <a:cubicBezTo>
                    <a:pt x="141" y="715"/>
                    <a:pt x="136" y="724"/>
                    <a:pt x="130" y="734"/>
                  </a:cubicBezTo>
                  <a:moveTo>
                    <a:pt x="653" y="765"/>
                  </a:moveTo>
                  <a:cubicBezTo>
                    <a:pt x="644" y="733"/>
                    <a:pt x="636" y="700"/>
                    <a:pt x="627" y="667"/>
                  </a:cubicBezTo>
                  <a:cubicBezTo>
                    <a:pt x="667" y="640"/>
                    <a:pt x="710" y="614"/>
                    <a:pt x="755" y="588"/>
                  </a:cubicBezTo>
                  <a:cubicBezTo>
                    <a:pt x="763" y="622"/>
                    <a:pt x="771" y="655"/>
                    <a:pt x="779" y="687"/>
                  </a:cubicBezTo>
                  <a:cubicBezTo>
                    <a:pt x="734" y="712"/>
                    <a:pt x="692" y="738"/>
                    <a:pt x="653" y="765"/>
                  </a:cubicBezTo>
                  <a:moveTo>
                    <a:pt x="1409" y="702"/>
                  </a:moveTo>
                  <a:cubicBezTo>
                    <a:pt x="1404" y="671"/>
                    <a:pt x="1399" y="637"/>
                    <a:pt x="1394" y="601"/>
                  </a:cubicBezTo>
                  <a:cubicBezTo>
                    <a:pt x="1441" y="593"/>
                    <a:pt x="1489" y="588"/>
                    <a:pt x="1537" y="584"/>
                  </a:cubicBezTo>
                  <a:cubicBezTo>
                    <a:pt x="1540" y="621"/>
                    <a:pt x="1543" y="654"/>
                    <a:pt x="1546" y="684"/>
                  </a:cubicBezTo>
                  <a:cubicBezTo>
                    <a:pt x="1500" y="688"/>
                    <a:pt x="1454" y="694"/>
                    <a:pt x="1409" y="702"/>
                  </a:cubicBezTo>
                  <a:moveTo>
                    <a:pt x="1836" y="697"/>
                  </a:moveTo>
                  <a:cubicBezTo>
                    <a:pt x="1794" y="688"/>
                    <a:pt x="1749" y="683"/>
                    <a:pt x="1703" y="681"/>
                  </a:cubicBezTo>
                  <a:cubicBezTo>
                    <a:pt x="1702" y="653"/>
                    <a:pt x="1700" y="620"/>
                    <a:pt x="1697" y="584"/>
                  </a:cubicBezTo>
                  <a:cubicBezTo>
                    <a:pt x="1745" y="588"/>
                    <a:pt x="1790" y="595"/>
                    <a:pt x="1833" y="606"/>
                  </a:cubicBezTo>
                  <a:cubicBezTo>
                    <a:pt x="1834" y="641"/>
                    <a:pt x="1835" y="672"/>
                    <a:pt x="1836" y="697"/>
                  </a:cubicBezTo>
                  <a:moveTo>
                    <a:pt x="1557" y="684"/>
                  </a:moveTo>
                  <a:cubicBezTo>
                    <a:pt x="1555" y="654"/>
                    <a:pt x="1551" y="620"/>
                    <a:pt x="1548" y="584"/>
                  </a:cubicBezTo>
                  <a:cubicBezTo>
                    <a:pt x="1572" y="582"/>
                    <a:pt x="1597" y="582"/>
                    <a:pt x="1621" y="582"/>
                  </a:cubicBezTo>
                  <a:cubicBezTo>
                    <a:pt x="1643" y="582"/>
                    <a:pt x="1665" y="582"/>
                    <a:pt x="1686" y="584"/>
                  </a:cubicBezTo>
                  <a:cubicBezTo>
                    <a:pt x="1688" y="619"/>
                    <a:pt x="1690" y="652"/>
                    <a:pt x="1692" y="681"/>
                  </a:cubicBezTo>
                  <a:cubicBezTo>
                    <a:pt x="1679" y="680"/>
                    <a:pt x="1666" y="680"/>
                    <a:pt x="1653" y="680"/>
                  </a:cubicBezTo>
                  <a:cubicBezTo>
                    <a:pt x="1621" y="680"/>
                    <a:pt x="1589" y="681"/>
                    <a:pt x="1557" y="684"/>
                  </a:cubicBezTo>
                  <a:moveTo>
                    <a:pt x="958" y="721"/>
                  </a:moveTo>
                  <a:cubicBezTo>
                    <a:pt x="952" y="689"/>
                    <a:pt x="945" y="655"/>
                    <a:pt x="938" y="620"/>
                  </a:cubicBezTo>
                  <a:cubicBezTo>
                    <a:pt x="978" y="603"/>
                    <a:pt x="1019" y="586"/>
                    <a:pt x="1059" y="572"/>
                  </a:cubicBezTo>
                  <a:cubicBezTo>
                    <a:pt x="1064" y="570"/>
                    <a:pt x="1069" y="568"/>
                    <a:pt x="1073" y="567"/>
                  </a:cubicBezTo>
                  <a:cubicBezTo>
                    <a:pt x="1079" y="601"/>
                    <a:pt x="1085" y="635"/>
                    <a:pt x="1091" y="667"/>
                  </a:cubicBezTo>
                  <a:cubicBezTo>
                    <a:pt x="1047" y="683"/>
                    <a:pt x="1002" y="701"/>
                    <a:pt x="958" y="721"/>
                  </a:cubicBezTo>
                  <a:moveTo>
                    <a:pt x="336" y="820"/>
                  </a:moveTo>
                  <a:cubicBezTo>
                    <a:pt x="325" y="790"/>
                    <a:pt x="314" y="759"/>
                    <a:pt x="303" y="729"/>
                  </a:cubicBezTo>
                  <a:cubicBezTo>
                    <a:pt x="303" y="728"/>
                    <a:pt x="303" y="728"/>
                    <a:pt x="303" y="728"/>
                  </a:cubicBezTo>
                  <a:cubicBezTo>
                    <a:pt x="312" y="696"/>
                    <a:pt x="332" y="661"/>
                    <a:pt x="361" y="626"/>
                  </a:cubicBezTo>
                  <a:cubicBezTo>
                    <a:pt x="378" y="605"/>
                    <a:pt x="397" y="585"/>
                    <a:pt x="420" y="564"/>
                  </a:cubicBezTo>
                  <a:cubicBezTo>
                    <a:pt x="428" y="595"/>
                    <a:pt x="438" y="627"/>
                    <a:pt x="448" y="661"/>
                  </a:cubicBezTo>
                  <a:cubicBezTo>
                    <a:pt x="431" y="677"/>
                    <a:pt x="415" y="692"/>
                    <a:pt x="402" y="708"/>
                  </a:cubicBezTo>
                  <a:cubicBezTo>
                    <a:pt x="372" y="742"/>
                    <a:pt x="351" y="777"/>
                    <a:pt x="340" y="809"/>
                  </a:cubicBezTo>
                  <a:cubicBezTo>
                    <a:pt x="339" y="813"/>
                    <a:pt x="337" y="817"/>
                    <a:pt x="336" y="820"/>
                  </a:cubicBezTo>
                  <a:moveTo>
                    <a:pt x="489" y="761"/>
                  </a:moveTo>
                  <a:cubicBezTo>
                    <a:pt x="479" y="729"/>
                    <a:pt x="470" y="697"/>
                    <a:pt x="460" y="665"/>
                  </a:cubicBezTo>
                  <a:cubicBezTo>
                    <a:pt x="497" y="631"/>
                    <a:pt x="540" y="597"/>
                    <a:pt x="589" y="564"/>
                  </a:cubicBezTo>
                  <a:cubicBezTo>
                    <a:pt x="597" y="596"/>
                    <a:pt x="605" y="629"/>
                    <a:pt x="614" y="662"/>
                  </a:cubicBezTo>
                  <a:cubicBezTo>
                    <a:pt x="567" y="695"/>
                    <a:pt x="525" y="728"/>
                    <a:pt x="489" y="761"/>
                  </a:cubicBezTo>
                  <a:moveTo>
                    <a:pt x="32" y="681"/>
                  </a:moveTo>
                  <a:cubicBezTo>
                    <a:pt x="31" y="675"/>
                    <a:pt x="29" y="669"/>
                    <a:pt x="28" y="662"/>
                  </a:cubicBezTo>
                  <a:cubicBezTo>
                    <a:pt x="25" y="650"/>
                    <a:pt x="20" y="638"/>
                    <a:pt x="15" y="627"/>
                  </a:cubicBezTo>
                  <a:cubicBezTo>
                    <a:pt x="24" y="605"/>
                    <a:pt x="32" y="582"/>
                    <a:pt x="39" y="558"/>
                  </a:cubicBezTo>
                  <a:cubicBezTo>
                    <a:pt x="58" y="570"/>
                    <a:pt x="70" y="580"/>
                    <a:pt x="75" y="585"/>
                  </a:cubicBezTo>
                  <a:cubicBezTo>
                    <a:pt x="74" y="591"/>
                    <a:pt x="73" y="597"/>
                    <a:pt x="72" y="603"/>
                  </a:cubicBezTo>
                  <a:cubicBezTo>
                    <a:pt x="68" y="601"/>
                    <a:pt x="68" y="601"/>
                    <a:pt x="68" y="601"/>
                  </a:cubicBezTo>
                  <a:cubicBezTo>
                    <a:pt x="57" y="630"/>
                    <a:pt x="45" y="657"/>
                    <a:pt x="32" y="681"/>
                  </a:cubicBezTo>
                  <a:moveTo>
                    <a:pt x="9" y="836"/>
                  </a:moveTo>
                  <a:cubicBezTo>
                    <a:pt x="10" y="834"/>
                    <a:pt x="11" y="832"/>
                    <a:pt x="12" y="830"/>
                  </a:cubicBezTo>
                  <a:cubicBezTo>
                    <a:pt x="51" y="766"/>
                    <a:pt x="79" y="692"/>
                    <a:pt x="96" y="608"/>
                  </a:cubicBezTo>
                  <a:cubicBezTo>
                    <a:pt x="104" y="590"/>
                    <a:pt x="117" y="560"/>
                    <a:pt x="130" y="527"/>
                  </a:cubicBezTo>
                  <a:cubicBezTo>
                    <a:pt x="130" y="558"/>
                    <a:pt x="127" y="611"/>
                    <a:pt x="115" y="672"/>
                  </a:cubicBezTo>
                  <a:cubicBezTo>
                    <a:pt x="82" y="733"/>
                    <a:pt x="42" y="792"/>
                    <a:pt x="9" y="836"/>
                  </a:cubicBezTo>
                  <a:moveTo>
                    <a:pt x="1102" y="663"/>
                  </a:moveTo>
                  <a:cubicBezTo>
                    <a:pt x="1096" y="631"/>
                    <a:pt x="1090" y="597"/>
                    <a:pt x="1084" y="563"/>
                  </a:cubicBezTo>
                  <a:cubicBezTo>
                    <a:pt x="1126" y="548"/>
                    <a:pt x="1171" y="535"/>
                    <a:pt x="1217" y="523"/>
                  </a:cubicBezTo>
                  <a:cubicBezTo>
                    <a:pt x="1222" y="557"/>
                    <a:pt x="1228" y="591"/>
                    <a:pt x="1233" y="623"/>
                  </a:cubicBezTo>
                  <a:cubicBezTo>
                    <a:pt x="1187" y="635"/>
                    <a:pt x="1143" y="649"/>
                    <a:pt x="1102" y="663"/>
                  </a:cubicBezTo>
                  <a:moveTo>
                    <a:pt x="155" y="714"/>
                  </a:moveTo>
                  <a:cubicBezTo>
                    <a:pt x="156" y="712"/>
                    <a:pt x="156" y="711"/>
                    <a:pt x="157" y="710"/>
                  </a:cubicBezTo>
                  <a:cubicBezTo>
                    <a:pt x="181" y="663"/>
                    <a:pt x="200" y="612"/>
                    <a:pt x="209" y="558"/>
                  </a:cubicBezTo>
                  <a:cubicBezTo>
                    <a:pt x="212" y="546"/>
                    <a:pt x="215" y="534"/>
                    <a:pt x="220" y="521"/>
                  </a:cubicBezTo>
                  <a:cubicBezTo>
                    <a:pt x="226" y="538"/>
                    <a:pt x="237" y="573"/>
                    <a:pt x="252" y="617"/>
                  </a:cubicBezTo>
                  <a:cubicBezTo>
                    <a:pt x="250" y="625"/>
                    <a:pt x="247" y="633"/>
                    <a:pt x="246" y="640"/>
                  </a:cubicBezTo>
                  <a:cubicBezTo>
                    <a:pt x="231" y="706"/>
                    <a:pt x="202" y="766"/>
                    <a:pt x="164" y="820"/>
                  </a:cubicBezTo>
                  <a:cubicBezTo>
                    <a:pt x="153" y="792"/>
                    <a:pt x="143" y="767"/>
                    <a:pt x="135" y="747"/>
                  </a:cubicBezTo>
                  <a:cubicBezTo>
                    <a:pt x="142" y="736"/>
                    <a:pt x="148" y="725"/>
                    <a:pt x="154" y="714"/>
                  </a:cubicBezTo>
                  <a:cubicBezTo>
                    <a:pt x="155" y="714"/>
                    <a:pt x="155" y="714"/>
                    <a:pt x="155" y="714"/>
                  </a:cubicBezTo>
                  <a:moveTo>
                    <a:pt x="789" y="682"/>
                  </a:moveTo>
                  <a:cubicBezTo>
                    <a:pt x="781" y="649"/>
                    <a:pt x="773" y="616"/>
                    <a:pt x="765" y="583"/>
                  </a:cubicBezTo>
                  <a:cubicBezTo>
                    <a:pt x="810" y="558"/>
                    <a:pt x="857" y="535"/>
                    <a:pt x="906" y="513"/>
                  </a:cubicBezTo>
                  <a:cubicBezTo>
                    <a:pt x="912" y="547"/>
                    <a:pt x="919" y="580"/>
                    <a:pt x="925" y="613"/>
                  </a:cubicBezTo>
                  <a:cubicBezTo>
                    <a:pt x="879" y="634"/>
                    <a:pt x="833" y="657"/>
                    <a:pt x="789" y="682"/>
                  </a:cubicBezTo>
                  <a:moveTo>
                    <a:pt x="1977" y="652"/>
                  </a:moveTo>
                  <a:cubicBezTo>
                    <a:pt x="1937" y="628"/>
                    <a:pt x="1892" y="610"/>
                    <a:pt x="1844" y="597"/>
                  </a:cubicBezTo>
                  <a:cubicBezTo>
                    <a:pt x="1843" y="570"/>
                    <a:pt x="1842" y="540"/>
                    <a:pt x="1842" y="510"/>
                  </a:cubicBezTo>
                  <a:cubicBezTo>
                    <a:pt x="1888" y="526"/>
                    <a:pt x="1930" y="548"/>
                    <a:pt x="1966" y="577"/>
                  </a:cubicBezTo>
                  <a:cubicBezTo>
                    <a:pt x="1970" y="580"/>
                    <a:pt x="1974" y="583"/>
                    <a:pt x="1978" y="586"/>
                  </a:cubicBezTo>
                  <a:cubicBezTo>
                    <a:pt x="1977" y="610"/>
                    <a:pt x="1977" y="632"/>
                    <a:pt x="1977" y="652"/>
                  </a:cubicBezTo>
                  <a:moveTo>
                    <a:pt x="1244" y="621"/>
                  </a:moveTo>
                  <a:cubicBezTo>
                    <a:pt x="1239" y="588"/>
                    <a:pt x="1233" y="555"/>
                    <a:pt x="1227" y="520"/>
                  </a:cubicBezTo>
                  <a:cubicBezTo>
                    <a:pt x="1273" y="509"/>
                    <a:pt x="1320" y="499"/>
                    <a:pt x="1367" y="491"/>
                  </a:cubicBezTo>
                  <a:cubicBezTo>
                    <a:pt x="1372" y="525"/>
                    <a:pt x="1376" y="559"/>
                    <a:pt x="1381" y="591"/>
                  </a:cubicBezTo>
                  <a:cubicBezTo>
                    <a:pt x="1335" y="599"/>
                    <a:pt x="1289" y="609"/>
                    <a:pt x="1244" y="621"/>
                  </a:cubicBezTo>
                  <a:moveTo>
                    <a:pt x="78" y="572"/>
                  </a:moveTo>
                  <a:cubicBezTo>
                    <a:pt x="71" y="565"/>
                    <a:pt x="58" y="556"/>
                    <a:pt x="42" y="545"/>
                  </a:cubicBezTo>
                  <a:cubicBezTo>
                    <a:pt x="47" y="525"/>
                    <a:pt x="51" y="504"/>
                    <a:pt x="55" y="482"/>
                  </a:cubicBezTo>
                  <a:cubicBezTo>
                    <a:pt x="76" y="498"/>
                    <a:pt x="87" y="510"/>
                    <a:pt x="87" y="510"/>
                  </a:cubicBezTo>
                  <a:cubicBezTo>
                    <a:pt x="85" y="529"/>
                    <a:pt x="82" y="550"/>
                    <a:pt x="78" y="572"/>
                  </a:cubicBezTo>
                  <a:moveTo>
                    <a:pt x="624" y="655"/>
                  </a:moveTo>
                  <a:cubicBezTo>
                    <a:pt x="615" y="622"/>
                    <a:pt x="607" y="589"/>
                    <a:pt x="598" y="557"/>
                  </a:cubicBezTo>
                  <a:cubicBezTo>
                    <a:pt x="639" y="529"/>
                    <a:pt x="683" y="503"/>
                    <a:pt x="729" y="477"/>
                  </a:cubicBezTo>
                  <a:cubicBezTo>
                    <a:pt x="736" y="510"/>
                    <a:pt x="744" y="543"/>
                    <a:pt x="752" y="577"/>
                  </a:cubicBezTo>
                  <a:cubicBezTo>
                    <a:pt x="707" y="602"/>
                    <a:pt x="664" y="628"/>
                    <a:pt x="624" y="655"/>
                  </a:cubicBezTo>
                  <a:moveTo>
                    <a:pt x="1833" y="594"/>
                  </a:moveTo>
                  <a:cubicBezTo>
                    <a:pt x="1790" y="583"/>
                    <a:pt x="1744" y="576"/>
                    <a:pt x="1697" y="572"/>
                  </a:cubicBezTo>
                  <a:cubicBezTo>
                    <a:pt x="1695" y="542"/>
                    <a:pt x="1693" y="510"/>
                    <a:pt x="1691" y="477"/>
                  </a:cubicBezTo>
                  <a:cubicBezTo>
                    <a:pt x="1740" y="482"/>
                    <a:pt x="1787" y="491"/>
                    <a:pt x="1830" y="506"/>
                  </a:cubicBezTo>
                  <a:cubicBezTo>
                    <a:pt x="1831" y="536"/>
                    <a:pt x="1832" y="566"/>
                    <a:pt x="1833" y="594"/>
                  </a:cubicBezTo>
                  <a:moveTo>
                    <a:pt x="1392" y="590"/>
                  </a:moveTo>
                  <a:cubicBezTo>
                    <a:pt x="1387" y="557"/>
                    <a:pt x="1383" y="524"/>
                    <a:pt x="1378" y="489"/>
                  </a:cubicBezTo>
                  <a:cubicBezTo>
                    <a:pt x="1427" y="481"/>
                    <a:pt x="1478" y="476"/>
                    <a:pt x="1527" y="473"/>
                  </a:cubicBezTo>
                  <a:cubicBezTo>
                    <a:pt x="1530" y="507"/>
                    <a:pt x="1533" y="541"/>
                    <a:pt x="1536" y="573"/>
                  </a:cubicBezTo>
                  <a:cubicBezTo>
                    <a:pt x="1488" y="576"/>
                    <a:pt x="1440" y="582"/>
                    <a:pt x="1392" y="590"/>
                  </a:cubicBezTo>
                  <a:moveTo>
                    <a:pt x="1547" y="572"/>
                  </a:moveTo>
                  <a:cubicBezTo>
                    <a:pt x="1544" y="540"/>
                    <a:pt x="1541" y="507"/>
                    <a:pt x="1538" y="472"/>
                  </a:cubicBezTo>
                  <a:cubicBezTo>
                    <a:pt x="1555" y="472"/>
                    <a:pt x="1571" y="471"/>
                    <a:pt x="1587" y="471"/>
                  </a:cubicBezTo>
                  <a:cubicBezTo>
                    <a:pt x="1619" y="471"/>
                    <a:pt x="1650" y="473"/>
                    <a:pt x="1680" y="476"/>
                  </a:cubicBezTo>
                  <a:cubicBezTo>
                    <a:pt x="1682" y="509"/>
                    <a:pt x="1684" y="541"/>
                    <a:pt x="1686" y="572"/>
                  </a:cubicBezTo>
                  <a:cubicBezTo>
                    <a:pt x="1664" y="570"/>
                    <a:pt x="1642" y="570"/>
                    <a:pt x="1620" y="570"/>
                  </a:cubicBezTo>
                  <a:cubicBezTo>
                    <a:pt x="1596" y="570"/>
                    <a:pt x="1572" y="570"/>
                    <a:pt x="1547" y="572"/>
                  </a:cubicBezTo>
                  <a:moveTo>
                    <a:pt x="105" y="559"/>
                  </a:moveTo>
                  <a:cubicBezTo>
                    <a:pt x="109" y="530"/>
                    <a:pt x="112" y="501"/>
                    <a:pt x="114" y="471"/>
                  </a:cubicBezTo>
                  <a:cubicBezTo>
                    <a:pt x="119" y="480"/>
                    <a:pt x="125" y="492"/>
                    <a:pt x="128" y="503"/>
                  </a:cubicBezTo>
                  <a:cubicBezTo>
                    <a:pt x="120" y="522"/>
                    <a:pt x="112" y="542"/>
                    <a:pt x="105" y="559"/>
                  </a:cubicBezTo>
                  <a:moveTo>
                    <a:pt x="936" y="609"/>
                  </a:moveTo>
                  <a:cubicBezTo>
                    <a:pt x="929" y="576"/>
                    <a:pt x="923" y="542"/>
                    <a:pt x="916" y="508"/>
                  </a:cubicBezTo>
                  <a:cubicBezTo>
                    <a:pt x="950" y="494"/>
                    <a:pt x="983" y="480"/>
                    <a:pt x="1017" y="467"/>
                  </a:cubicBezTo>
                  <a:cubicBezTo>
                    <a:pt x="1029" y="463"/>
                    <a:pt x="1041" y="458"/>
                    <a:pt x="1054" y="454"/>
                  </a:cubicBezTo>
                  <a:cubicBezTo>
                    <a:pt x="1059" y="488"/>
                    <a:pt x="1065" y="522"/>
                    <a:pt x="1071" y="555"/>
                  </a:cubicBezTo>
                  <a:cubicBezTo>
                    <a:pt x="1066" y="557"/>
                    <a:pt x="1061" y="558"/>
                    <a:pt x="1056" y="560"/>
                  </a:cubicBezTo>
                  <a:cubicBezTo>
                    <a:pt x="1016" y="575"/>
                    <a:pt x="975" y="591"/>
                    <a:pt x="936" y="609"/>
                  </a:cubicBezTo>
                  <a:moveTo>
                    <a:pt x="297" y="711"/>
                  </a:moveTo>
                  <a:cubicBezTo>
                    <a:pt x="285" y="677"/>
                    <a:pt x="274" y="645"/>
                    <a:pt x="264" y="617"/>
                  </a:cubicBezTo>
                  <a:cubicBezTo>
                    <a:pt x="274" y="591"/>
                    <a:pt x="290" y="563"/>
                    <a:pt x="312" y="535"/>
                  </a:cubicBezTo>
                  <a:cubicBezTo>
                    <a:pt x="333" y="508"/>
                    <a:pt x="359" y="481"/>
                    <a:pt x="388" y="453"/>
                  </a:cubicBezTo>
                  <a:cubicBezTo>
                    <a:pt x="397" y="482"/>
                    <a:pt x="406" y="516"/>
                    <a:pt x="416" y="551"/>
                  </a:cubicBezTo>
                  <a:cubicBezTo>
                    <a:pt x="392" y="574"/>
                    <a:pt x="370" y="596"/>
                    <a:pt x="352" y="618"/>
                  </a:cubicBezTo>
                  <a:cubicBezTo>
                    <a:pt x="326" y="650"/>
                    <a:pt x="308" y="681"/>
                    <a:pt x="297" y="711"/>
                  </a:cubicBezTo>
                  <a:moveTo>
                    <a:pt x="457" y="652"/>
                  </a:moveTo>
                  <a:cubicBezTo>
                    <a:pt x="447" y="619"/>
                    <a:pt x="438" y="586"/>
                    <a:pt x="429" y="555"/>
                  </a:cubicBezTo>
                  <a:cubicBezTo>
                    <a:pt x="467" y="521"/>
                    <a:pt x="511" y="486"/>
                    <a:pt x="561" y="452"/>
                  </a:cubicBezTo>
                  <a:cubicBezTo>
                    <a:pt x="568" y="484"/>
                    <a:pt x="577" y="517"/>
                    <a:pt x="585" y="551"/>
                  </a:cubicBezTo>
                  <a:cubicBezTo>
                    <a:pt x="537" y="585"/>
                    <a:pt x="494" y="618"/>
                    <a:pt x="457" y="652"/>
                  </a:cubicBezTo>
                  <a:moveTo>
                    <a:pt x="160" y="448"/>
                  </a:moveTo>
                  <a:cubicBezTo>
                    <a:pt x="160" y="446"/>
                    <a:pt x="160" y="446"/>
                    <a:pt x="159" y="444"/>
                  </a:cubicBezTo>
                  <a:cubicBezTo>
                    <a:pt x="160" y="441"/>
                    <a:pt x="161" y="438"/>
                    <a:pt x="162" y="435"/>
                  </a:cubicBezTo>
                  <a:cubicBezTo>
                    <a:pt x="165" y="457"/>
                    <a:pt x="169" y="490"/>
                    <a:pt x="169" y="530"/>
                  </a:cubicBezTo>
                  <a:cubicBezTo>
                    <a:pt x="169" y="537"/>
                    <a:pt x="169" y="545"/>
                    <a:pt x="169" y="553"/>
                  </a:cubicBezTo>
                  <a:cubicBezTo>
                    <a:pt x="159" y="581"/>
                    <a:pt x="146" y="608"/>
                    <a:pt x="131" y="637"/>
                  </a:cubicBezTo>
                  <a:cubicBezTo>
                    <a:pt x="139" y="590"/>
                    <a:pt x="140" y="549"/>
                    <a:pt x="140" y="523"/>
                  </a:cubicBezTo>
                  <a:cubicBezTo>
                    <a:pt x="140" y="505"/>
                    <a:pt x="139" y="495"/>
                    <a:pt x="139" y="494"/>
                  </a:cubicBezTo>
                  <a:cubicBezTo>
                    <a:pt x="139" y="494"/>
                    <a:pt x="139" y="494"/>
                    <a:pt x="139" y="494"/>
                  </a:cubicBezTo>
                  <a:cubicBezTo>
                    <a:pt x="139" y="494"/>
                    <a:pt x="139" y="494"/>
                    <a:pt x="139" y="494"/>
                  </a:cubicBezTo>
                  <a:cubicBezTo>
                    <a:pt x="146" y="483"/>
                    <a:pt x="152" y="463"/>
                    <a:pt x="157" y="447"/>
                  </a:cubicBezTo>
                  <a:cubicBezTo>
                    <a:pt x="160" y="448"/>
                    <a:pt x="160" y="448"/>
                    <a:pt x="160" y="448"/>
                  </a:cubicBezTo>
                  <a:moveTo>
                    <a:pt x="168" y="656"/>
                  </a:moveTo>
                  <a:cubicBezTo>
                    <a:pt x="175" y="620"/>
                    <a:pt x="178" y="586"/>
                    <a:pt x="179" y="555"/>
                  </a:cubicBezTo>
                  <a:cubicBezTo>
                    <a:pt x="188" y="529"/>
                    <a:pt x="194" y="504"/>
                    <a:pt x="196" y="479"/>
                  </a:cubicBezTo>
                  <a:cubicBezTo>
                    <a:pt x="198" y="461"/>
                    <a:pt x="200" y="441"/>
                    <a:pt x="205" y="428"/>
                  </a:cubicBezTo>
                  <a:cubicBezTo>
                    <a:pt x="212" y="447"/>
                    <a:pt x="218" y="463"/>
                    <a:pt x="219" y="474"/>
                  </a:cubicBezTo>
                  <a:cubicBezTo>
                    <a:pt x="224" y="473"/>
                    <a:pt x="224" y="473"/>
                    <a:pt x="224" y="473"/>
                  </a:cubicBezTo>
                  <a:cubicBezTo>
                    <a:pt x="211" y="498"/>
                    <a:pt x="202" y="527"/>
                    <a:pt x="198" y="551"/>
                  </a:cubicBezTo>
                  <a:cubicBezTo>
                    <a:pt x="192" y="587"/>
                    <a:pt x="182" y="624"/>
                    <a:pt x="168" y="656"/>
                  </a:cubicBezTo>
                  <a:moveTo>
                    <a:pt x="1978" y="571"/>
                  </a:moveTo>
                  <a:cubicBezTo>
                    <a:pt x="1976" y="570"/>
                    <a:pt x="1975" y="569"/>
                    <a:pt x="1973" y="567"/>
                  </a:cubicBezTo>
                  <a:cubicBezTo>
                    <a:pt x="1935" y="537"/>
                    <a:pt x="1890" y="514"/>
                    <a:pt x="1841" y="497"/>
                  </a:cubicBezTo>
                  <a:cubicBezTo>
                    <a:pt x="1841" y="470"/>
                    <a:pt x="1840" y="441"/>
                    <a:pt x="1840" y="413"/>
                  </a:cubicBezTo>
                  <a:cubicBezTo>
                    <a:pt x="1876" y="430"/>
                    <a:pt x="1910" y="450"/>
                    <a:pt x="1939" y="476"/>
                  </a:cubicBezTo>
                  <a:cubicBezTo>
                    <a:pt x="1953" y="488"/>
                    <a:pt x="1966" y="500"/>
                    <a:pt x="1980" y="511"/>
                  </a:cubicBezTo>
                  <a:cubicBezTo>
                    <a:pt x="1979" y="531"/>
                    <a:pt x="1978" y="552"/>
                    <a:pt x="1978" y="571"/>
                  </a:cubicBezTo>
                  <a:moveTo>
                    <a:pt x="1082" y="551"/>
                  </a:moveTo>
                  <a:cubicBezTo>
                    <a:pt x="1076" y="518"/>
                    <a:pt x="1070" y="484"/>
                    <a:pt x="1065" y="450"/>
                  </a:cubicBezTo>
                  <a:cubicBezTo>
                    <a:pt x="1107" y="436"/>
                    <a:pt x="1152" y="422"/>
                    <a:pt x="1198" y="411"/>
                  </a:cubicBezTo>
                  <a:cubicBezTo>
                    <a:pt x="1204" y="444"/>
                    <a:pt x="1209" y="478"/>
                    <a:pt x="1215" y="511"/>
                  </a:cubicBezTo>
                  <a:cubicBezTo>
                    <a:pt x="1169" y="523"/>
                    <a:pt x="1124" y="537"/>
                    <a:pt x="1082" y="551"/>
                  </a:cubicBezTo>
                  <a:moveTo>
                    <a:pt x="762" y="571"/>
                  </a:moveTo>
                  <a:cubicBezTo>
                    <a:pt x="754" y="537"/>
                    <a:pt x="747" y="504"/>
                    <a:pt x="739" y="472"/>
                  </a:cubicBezTo>
                  <a:cubicBezTo>
                    <a:pt x="785" y="446"/>
                    <a:pt x="834" y="422"/>
                    <a:pt x="884" y="400"/>
                  </a:cubicBezTo>
                  <a:cubicBezTo>
                    <a:pt x="890" y="433"/>
                    <a:pt x="897" y="467"/>
                    <a:pt x="903" y="501"/>
                  </a:cubicBezTo>
                  <a:cubicBezTo>
                    <a:pt x="855" y="523"/>
                    <a:pt x="808" y="546"/>
                    <a:pt x="762" y="571"/>
                  </a:cubicBezTo>
                  <a:moveTo>
                    <a:pt x="134" y="486"/>
                  </a:moveTo>
                  <a:cubicBezTo>
                    <a:pt x="128" y="471"/>
                    <a:pt x="119" y="456"/>
                    <a:pt x="116" y="450"/>
                  </a:cubicBezTo>
                  <a:cubicBezTo>
                    <a:pt x="117" y="431"/>
                    <a:pt x="117" y="411"/>
                    <a:pt x="117" y="391"/>
                  </a:cubicBezTo>
                  <a:cubicBezTo>
                    <a:pt x="127" y="407"/>
                    <a:pt x="141" y="431"/>
                    <a:pt x="147" y="446"/>
                  </a:cubicBezTo>
                  <a:cubicBezTo>
                    <a:pt x="143" y="459"/>
                    <a:pt x="139" y="472"/>
                    <a:pt x="134" y="486"/>
                  </a:cubicBezTo>
                  <a:moveTo>
                    <a:pt x="89" y="496"/>
                  </a:moveTo>
                  <a:cubicBezTo>
                    <a:pt x="82" y="490"/>
                    <a:pt x="72" y="480"/>
                    <a:pt x="56" y="469"/>
                  </a:cubicBezTo>
                  <a:cubicBezTo>
                    <a:pt x="60" y="444"/>
                    <a:pt x="62" y="417"/>
                    <a:pt x="63" y="389"/>
                  </a:cubicBezTo>
                  <a:cubicBezTo>
                    <a:pt x="83" y="405"/>
                    <a:pt x="94" y="417"/>
                    <a:pt x="94" y="418"/>
                  </a:cubicBezTo>
                  <a:cubicBezTo>
                    <a:pt x="94" y="438"/>
                    <a:pt x="92" y="464"/>
                    <a:pt x="89" y="496"/>
                  </a:cubicBezTo>
                  <a:moveTo>
                    <a:pt x="230" y="474"/>
                  </a:moveTo>
                  <a:cubicBezTo>
                    <a:pt x="227" y="459"/>
                    <a:pt x="219" y="438"/>
                    <a:pt x="211" y="417"/>
                  </a:cubicBezTo>
                  <a:cubicBezTo>
                    <a:pt x="218" y="403"/>
                    <a:pt x="227" y="390"/>
                    <a:pt x="237" y="380"/>
                  </a:cubicBezTo>
                  <a:cubicBezTo>
                    <a:pt x="250" y="397"/>
                    <a:pt x="260" y="412"/>
                    <a:pt x="266" y="422"/>
                  </a:cubicBezTo>
                  <a:cubicBezTo>
                    <a:pt x="252" y="439"/>
                    <a:pt x="240" y="457"/>
                    <a:pt x="230" y="474"/>
                  </a:cubicBezTo>
                  <a:moveTo>
                    <a:pt x="1226" y="508"/>
                  </a:moveTo>
                  <a:cubicBezTo>
                    <a:pt x="1220" y="475"/>
                    <a:pt x="1214" y="441"/>
                    <a:pt x="1209" y="408"/>
                  </a:cubicBezTo>
                  <a:cubicBezTo>
                    <a:pt x="1255" y="396"/>
                    <a:pt x="1303" y="386"/>
                    <a:pt x="1351" y="379"/>
                  </a:cubicBezTo>
                  <a:cubicBezTo>
                    <a:pt x="1355" y="412"/>
                    <a:pt x="1360" y="446"/>
                    <a:pt x="1365" y="479"/>
                  </a:cubicBezTo>
                  <a:cubicBezTo>
                    <a:pt x="1318" y="487"/>
                    <a:pt x="1271" y="497"/>
                    <a:pt x="1226" y="508"/>
                  </a:cubicBezTo>
                  <a:moveTo>
                    <a:pt x="1830" y="493"/>
                  </a:moveTo>
                  <a:cubicBezTo>
                    <a:pt x="1787" y="479"/>
                    <a:pt x="1740" y="470"/>
                    <a:pt x="1691" y="465"/>
                  </a:cubicBezTo>
                  <a:cubicBezTo>
                    <a:pt x="1689" y="434"/>
                    <a:pt x="1688" y="402"/>
                    <a:pt x="1686" y="370"/>
                  </a:cubicBezTo>
                  <a:cubicBezTo>
                    <a:pt x="1737" y="378"/>
                    <a:pt x="1785" y="390"/>
                    <a:pt x="1828" y="408"/>
                  </a:cubicBezTo>
                  <a:cubicBezTo>
                    <a:pt x="1829" y="437"/>
                    <a:pt x="1829" y="465"/>
                    <a:pt x="1830" y="493"/>
                  </a:cubicBezTo>
                  <a:moveTo>
                    <a:pt x="180" y="513"/>
                  </a:moveTo>
                  <a:cubicBezTo>
                    <a:pt x="179" y="461"/>
                    <a:pt x="172" y="423"/>
                    <a:pt x="169" y="408"/>
                  </a:cubicBezTo>
                  <a:cubicBezTo>
                    <a:pt x="171" y="398"/>
                    <a:pt x="172" y="390"/>
                    <a:pt x="172" y="383"/>
                  </a:cubicBezTo>
                  <a:cubicBezTo>
                    <a:pt x="172" y="383"/>
                    <a:pt x="172" y="382"/>
                    <a:pt x="172" y="381"/>
                  </a:cubicBezTo>
                  <a:cubicBezTo>
                    <a:pt x="172" y="381"/>
                    <a:pt x="172" y="381"/>
                    <a:pt x="172" y="381"/>
                  </a:cubicBezTo>
                  <a:cubicBezTo>
                    <a:pt x="172" y="378"/>
                    <a:pt x="174" y="373"/>
                    <a:pt x="178" y="369"/>
                  </a:cubicBezTo>
                  <a:cubicBezTo>
                    <a:pt x="183" y="379"/>
                    <a:pt x="191" y="397"/>
                    <a:pt x="199" y="417"/>
                  </a:cubicBezTo>
                  <a:cubicBezTo>
                    <a:pt x="192" y="434"/>
                    <a:pt x="187" y="454"/>
                    <a:pt x="185" y="478"/>
                  </a:cubicBezTo>
                  <a:cubicBezTo>
                    <a:pt x="184" y="489"/>
                    <a:pt x="182" y="501"/>
                    <a:pt x="180" y="513"/>
                  </a:cubicBezTo>
                  <a:moveTo>
                    <a:pt x="595" y="545"/>
                  </a:moveTo>
                  <a:cubicBezTo>
                    <a:pt x="587" y="511"/>
                    <a:pt x="578" y="477"/>
                    <a:pt x="571" y="446"/>
                  </a:cubicBezTo>
                  <a:cubicBezTo>
                    <a:pt x="612" y="418"/>
                    <a:pt x="656" y="391"/>
                    <a:pt x="703" y="366"/>
                  </a:cubicBezTo>
                  <a:cubicBezTo>
                    <a:pt x="710" y="397"/>
                    <a:pt x="718" y="431"/>
                    <a:pt x="726" y="465"/>
                  </a:cubicBezTo>
                  <a:cubicBezTo>
                    <a:pt x="680" y="491"/>
                    <a:pt x="636" y="517"/>
                    <a:pt x="595" y="545"/>
                  </a:cubicBezTo>
                  <a:moveTo>
                    <a:pt x="1376" y="477"/>
                  </a:moveTo>
                  <a:cubicBezTo>
                    <a:pt x="1371" y="444"/>
                    <a:pt x="1366" y="411"/>
                    <a:pt x="1362" y="377"/>
                  </a:cubicBezTo>
                  <a:cubicBezTo>
                    <a:pt x="1414" y="369"/>
                    <a:pt x="1466" y="364"/>
                    <a:pt x="1517" y="362"/>
                  </a:cubicBezTo>
                  <a:cubicBezTo>
                    <a:pt x="1520" y="395"/>
                    <a:pt x="1523" y="429"/>
                    <a:pt x="1526" y="461"/>
                  </a:cubicBezTo>
                  <a:cubicBezTo>
                    <a:pt x="1476" y="464"/>
                    <a:pt x="1426" y="469"/>
                    <a:pt x="1376" y="477"/>
                  </a:cubicBezTo>
                  <a:moveTo>
                    <a:pt x="1537" y="461"/>
                  </a:moveTo>
                  <a:cubicBezTo>
                    <a:pt x="1534" y="428"/>
                    <a:pt x="1531" y="395"/>
                    <a:pt x="1529" y="362"/>
                  </a:cubicBezTo>
                  <a:cubicBezTo>
                    <a:pt x="1538" y="361"/>
                    <a:pt x="1547" y="361"/>
                    <a:pt x="1556" y="361"/>
                  </a:cubicBezTo>
                  <a:cubicBezTo>
                    <a:pt x="1597" y="361"/>
                    <a:pt x="1637" y="364"/>
                    <a:pt x="1675" y="369"/>
                  </a:cubicBezTo>
                  <a:cubicBezTo>
                    <a:pt x="1676" y="401"/>
                    <a:pt x="1678" y="432"/>
                    <a:pt x="1680" y="464"/>
                  </a:cubicBezTo>
                  <a:cubicBezTo>
                    <a:pt x="1649" y="461"/>
                    <a:pt x="1619" y="460"/>
                    <a:pt x="1587" y="460"/>
                  </a:cubicBezTo>
                  <a:cubicBezTo>
                    <a:pt x="1571" y="460"/>
                    <a:pt x="1554" y="460"/>
                    <a:pt x="1537" y="461"/>
                  </a:cubicBezTo>
                  <a:moveTo>
                    <a:pt x="81" y="613"/>
                  </a:moveTo>
                  <a:cubicBezTo>
                    <a:pt x="100" y="522"/>
                    <a:pt x="105" y="443"/>
                    <a:pt x="105" y="409"/>
                  </a:cubicBezTo>
                  <a:cubicBezTo>
                    <a:pt x="105" y="405"/>
                    <a:pt x="105" y="402"/>
                    <a:pt x="105" y="399"/>
                  </a:cubicBezTo>
                  <a:cubicBezTo>
                    <a:pt x="105" y="392"/>
                    <a:pt x="105" y="385"/>
                    <a:pt x="105" y="378"/>
                  </a:cubicBezTo>
                  <a:cubicBezTo>
                    <a:pt x="105" y="368"/>
                    <a:pt x="105" y="358"/>
                    <a:pt x="106" y="349"/>
                  </a:cubicBezTo>
                  <a:cubicBezTo>
                    <a:pt x="106" y="361"/>
                    <a:pt x="106" y="373"/>
                    <a:pt x="106" y="385"/>
                  </a:cubicBezTo>
                  <a:cubicBezTo>
                    <a:pt x="106" y="465"/>
                    <a:pt x="99" y="537"/>
                    <a:pt x="86" y="604"/>
                  </a:cubicBezTo>
                  <a:cubicBezTo>
                    <a:pt x="84" y="608"/>
                    <a:pt x="82" y="611"/>
                    <a:pt x="81" y="613"/>
                  </a:cubicBezTo>
                  <a:moveTo>
                    <a:pt x="274" y="413"/>
                  </a:moveTo>
                  <a:cubicBezTo>
                    <a:pt x="267" y="402"/>
                    <a:pt x="257" y="388"/>
                    <a:pt x="246" y="372"/>
                  </a:cubicBezTo>
                  <a:cubicBezTo>
                    <a:pt x="256" y="363"/>
                    <a:pt x="268" y="355"/>
                    <a:pt x="281" y="348"/>
                  </a:cubicBezTo>
                  <a:cubicBezTo>
                    <a:pt x="288" y="363"/>
                    <a:pt x="295" y="375"/>
                    <a:pt x="299" y="384"/>
                  </a:cubicBezTo>
                  <a:cubicBezTo>
                    <a:pt x="290" y="394"/>
                    <a:pt x="282" y="403"/>
                    <a:pt x="274" y="413"/>
                  </a:cubicBezTo>
                  <a:moveTo>
                    <a:pt x="259" y="601"/>
                  </a:moveTo>
                  <a:cubicBezTo>
                    <a:pt x="240" y="545"/>
                    <a:pt x="227" y="508"/>
                    <a:pt x="226" y="505"/>
                  </a:cubicBezTo>
                  <a:cubicBezTo>
                    <a:pt x="238" y="479"/>
                    <a:pt x="256" y="452"/>
                    <a:pt x="278" y="425"/>
                  </a:cubicBezTo>
                  <a:cubicBezTo>
                    <a:pt x="280" y="424"/>
                    <a:pt x="280" y="424"/>
                    <a:pt x="280" y="424"/>
                  </a:cubicBezTo>
                  <a:cubicBezTo>
                    <a:pt x="280" y="423"/>
                    <a:pt x="280" y="423"/>
                    <a:pt x="280" y="423"/>
                  </a:cubicBezTo>
                  <a:cubicBezTo>
                    <a:pt x="301" y="396"/>
                    <a:pt x="328" y="368"/>
                    <a:pt x="358" y="341"/>
                  </a:cubicBezTo>
                  <a:cubicBezTo>
                    <a:pt x="361" y="355"/>
                    <a:pt x="371" y="391"/>
                    <a:pt x="385" y="441"/>
                  </a:cubicBezTo>
                  <a:cubicBezTo>
                    <a:pt x="353" y="470"/>
                    <a:pt x="326" y="499"/>
                    <a:pt x="303" y="527"/>
                  </a:cubicBezTo>
                  <a:cubicBezTo>
                    <a:pt x="284" y="552"/>
                    <a:pt x="269" y="577"/>
                    <a:pt x="259" y="601"/>
                  </a:cubicBezTo>
                  <a:moveTo>
                    <a:pt x="206" y="403"/>
                  </a:moveTo>
                  <a:cubicBezTo>
                    <a:pt x="198" y="385"/>
                    <a:pt x="191" y="369"/>
                    <a:pt x="187" y="360"/>
                  </a:cubicBezTo>
                  <a:cubicBezTo>
                    <a:pt x="193" y="354"/>
                    <a:pt x="200" y="348"/>
                    <a:pt x="209" y="341"/>
                  </a:cubicBezTo>
                  <a:cubicBezTo>
                    <a:pt x="217" y="351"/>
                    <a:pt x="224" y="361"/>
                    <a:pt x="230" y="370"/>
                  </a:cubicBezTo>
                  <a:cubicBezTo>
                    <a:pt x="221" y="380"/>
                    <a:pt x="212" y="390"/>
                    <a:pt x="206" y="403"/>
                  </a:cubicBezTo>
                  <a:moveTo>
                    <a:pt x="914" y="496"/>
                  </a:moveTo>
                  <a:cubicBezTo>
                    <a:pt x="907" y="462"/>
                    <a:pt x="901" y="429"/>
                    <a:pt x="895" y="396"/>
                  </a:cubicBezTo>
                  <a:cubicBezTo>
                    <a:pt x="921" y="384"/>
                    <a:pt x="948" y="373"/>
                    <a:pt x="975" y="363"/>
                  </a:cubicBezTo>
                  <a:cubicBezTo>
                    <a:pt x="994" y="355"/>
                    <a:pt x="1014" y="348"/>
                    <a:pt x="1035" y="341"/>
                  </a:cubicBezTo>
                  <a:cubicBezTo>
                    <a:pt x="1040" y="374"/>
                    <a:pt x="1046" y="408"/>
                    <a:pt x="1052" y="442"/>
                  </a:cubicBezTo>
                  <a:cubicBezTo>
                    <a:pt x="1039" y="447"/>
                    <a:pt x="1026" y="451"/>
                    <a:pt x="1014" y="456"/>
                  </a:cubicBezTo>
                  <a:cubicBezTo>
                    <a:pt x="980" y="468"/>
                    <a:pt x="947" y="482"/>
                    <a:pt x="914" y="496"/>
                  </a:cubicBezTo>
                  <a:moveTo>
                    <a:pt x="425" y="543"/>
                  </a:moveTo>
                  <a:cubicBezTo>
                    <a:pt x="415" y="507"/>
                    <a:pt x="406" y="474"/>
                    <a:pt x="398" y="445"/>
                  </a:cubicBezTo>
                  <a:cubicBezTo>
                    <a:pt x="437" y="409"/>
                    <a:pt x="482" y="374"/>
                    <a:pt x="533" y="340"/>
                  </a:cubicBezTo>
                  <a:cubicBezTo>
                    <a:pt x="540" y="370"/>
                    <a:pt x="549" y="404"/>
                    <a:pt x="558" y="440"/>
                  </a:cubicBezTo>
                  <a:cubicBezTo>
                    <a:pt x="508" y="474"/>
                    <a:pt x="463" y="508"/>
                    <a:pt x="425" y="543"/>
                  </a:cubicBezTo>
                  <a:moveTo>
                    <a:pt x="117" y="371"/>
                  </a:moveTo>
                  <a:cubicBezTo>
                    <a:pt x="117" y="359"/>
                    <a:pt x="117" y="346"/>
                    <a:pt x="116" y="333"/>
                  </a:cubicBezTo>
                  <a:cubicBezTo>
                    <a:pt x="129" y="346"/>
                    <a:pt x="152" y="370"/>
                    <a:pt x="160" y="383"/>
                  </a:cubicBezTo>
                  <a:cubicBezTo>
                    <a:pt x="160" y="383"/>
                    <a:pt x="160" y="383"/>
                    <a:pt x="160" y="384"/>
                  </a:cubicBezTo>
                  <a:cubicBezTo>
                    <a:pt x="160" y="389"/>
                    <a:pt x="160" y="395"/>
                    <a:pt x="158" y="402"/>
                  </a:cubicBezTo>
                  <a:cubicBezTo>
                    <a:pt x="156" y="403"/>
                    <a:pt x="156" y="403"/>
                    <a:pt x="156" y="403"/>
                  </a:cubicBezTo>
                  <a:cubicBezTo>
                    <a:pt x="156" y="403"/>
                    <a:pt x="157" y="405"/>
                    <a:pt x="157" y="408"/>
                  </a:cubicBezTo>
                  <a:cubicBezTo>
                    <a:pt x="156" y="414"/>
                    <a:pt x="154" y="422"/>
                    <a:pt x="152" y="429"/>
                  </a:cubicBezTo>
                  <a:cubicBezTo>
                    <a:pt x="140" y="404"/>
                    <a:pt x="119" y="372"/>
                    <a:pt x="118" y="371"/>
                  </a:cubicBezTo>
                  <a:cubicBezTo>
                    <a:pt x="117" y="371"/>
                    <a:pt x="117" y="371"/>
                    <a:pt x="117" y="371"/>
                  </a:cubicBezTo>
                  <a:moveTo>
                    <a:pt x="1980" y="496"/>
                  </a:moveTo>
                  <a:cubicBezTo>
                    <a:pt x="1969" y="487"/>
                    <a:pt x="1958" y="477"/>
                    <a:pt x="1946" y="467"/>
                  </a:cubicBezTo>
                  <a:cubicBezTo>
                    <a:pt x="1916" y="440"/>
                    <a:pt x="1880" y="418"/>
                    <a:pt x="1839" y="400"/>
                  </a:cubicBezTo>
                  <a:cubicBezTo>
                    <a:pt x="1839" y="373"/>
                    <a:pt x="1838" y="346"/>
                    <a:pt x="1838" y="320"/>
                  </a:cubicBezTo>
                  <a:cubicBezTo>
                    <a:pt x="1865" y="336"/>
                    <a:pt x="1890" y="354"/>
                    <a:pt x="1912" y="375"/>
                  </a:cubicBezTo>
                  <a:cubicBezTo>
                    <a:pt x="1936" y="398"/>
                    <a:pt x="1959" y="420"/>
                    <a:pt x="1983" y="440"/>
                  </a:cubicBezTo>
                  <a:cubicBezTo>
                    <a:pt x="1982" y="459"/>
                    <a:pt x="1981" y="477"/>
                    <a:pt x="1980" y="496"/>
                  </a:cubicBezTo>
                  <a:moveTo>
                    <a:pt x="307" y="375"/>
                  </a:moveTo>
                  <a:cubicBezTo>
                    <a:pt x="303" y="367"/>
                    <a:pt x="297" y="355"/>
                    <a:pt x="290" y="342"/>
                  </a:cubicBezTo>
                  <a:cubicBezTo>
                    <a:pt x="295" y="340"/>
                    <a:pt x="300" y="337"/>
                    <a:pt x="305" y="335"/>
                  </a:cubicBezTo>
                  <a:cubicBezTo>
                    <a:pt x="313" y="330"/>
                    <a:pt x="327" y="322"/>
                    <a:pt x="345" y="311"/>
                  </a:cubicBezTo>
                  <a:cubicBezTo>
                    <a:pt x="348" y="318"/>
                    <a:pt x="352" y="325"/>
                    <a:pt x="354" y="330"/>
                  </a:cubicBezTo>
                  <a:cubicBezTo>
                    <a:pt x="337" y="345"/>
                    <a:pt x="321" y="360"/>
                    <a:pt x="307" y="375"/>
                  </a:cubicBezTo>
                  <a:moveTo>
                    <a:pt x="239" y="362"/>
                  </a:moveTo>
                  <a:cubicBezTo>
                    <a:pt x="232" y="353"/>
                    <a:pt x="225" y="344"/>
                    <a:pt x="218" y="334"/>
                  </a:cubicBezTo>
                  <a:cubicBezTo>
                    <a:pt x="230" y="326"/>
                    <a:pt x="244" y="316"/>
                    <a:pt x="258" y="307"/>
                  </a:cubicBezTo>
                  <a:cubicBezTo>
                    <a:pt x="264" y="317"/>
                    <a:pt x="270" y="328"/>
                    <a:pt x="275" y="337"/>
                  </a:cubicBezTo>
                  <a:cubicBezTo>
                    <a:pt x="262" y="345"/>
                    <a:pt x="250" y="353"/>
                    <a:pt x="239" y="362"/>
                  </a:cubicBezTo>
                  <a:moveTo>
                    <a:pt x="164" y="369"/>
                  </a:moveTo>
                  <a:cubicBezTo>
                    <a:pt x="153" y="353"/>
                    <a:pt x="133" y="333"/>
                    <a:pt x="122" y="322"/>
                  </a:cubicBezTo>
                  <a:cubicBezTo>
                    <a:pt x="134" y="319"/>
                    <a:pt x="155" y="313"/>
                    <a:pt x="181" y="304"/>
                  </a:cubicBezTo>
                  <a:cubicBezTo>
                    <a:pt x="188" y="313"/>
                    <a:pt x="195" y="322"/>
                    <a:pt x="202" y="332"/>
                  </a:cubicBezTo>
                  <a:cubicBezTo>
                    <a:pt x="183" y="347"/>
                    <a:pt x="170" y="359"/>
                    <a:pt x="164" y="369"/>
                  </a:cubicBezTo>
                  <a:moveTo>
                    <a:pt x="1063" y="438"/>
                  </a:moveTo>
                  <a:cubicBezTo>
                    <a:pt x="1057" y="404"/>
                    <a:pt x="1051" y="370"/>
                    <a:pt x="1046" y="337"/>
                  </a:cubicBezTo>
                  <a:cubicBezTo>
                    <a:pt x="1089" y="323"/>
                    <a:pt x="1134" y="310"/>
                    <a:pt x="1180" y="298"/>
                  </a:cubicBezTo>
                  <a:cubicBezTo>
                    <a:pt x="1185" y="331"/>
                    <a:pt x="1191" y="365"/>
                    <a:pt x="1196" y="399"/>
                  </a:cubicBezTo>
                  <a:cubicBezTo>
                    <a:pt x="1152" y="410"/>
                    <a:pt x="1107" y="423"/>
                    <a:pt x="1063" y="438"/>
                  </a:cubicBezTo>
                  <a:moveTo>
                    <a:pt x="109" y="313"/>
                  </a:moveTo>
                  <a:cubicBezTo>
                    <a:pt x="109" y="308"/>
                    <a:pt x="110" y="302"/>
                    <a:pt x="111" y="296"/>
                  </a:cubicBezTo>
                  <a:cubicBezTo>
                    <a:pt x="113" y="303"/>
                    <a:pt x="113" y="303"/>
                    <a:pt x="113" y="303"/>
                  </a:cubicBezTo>
                  <a:cubicBezTo>
                    <a:pt x="112" y="303"/>
                    <a:pt x="112" y="303"/>
                    <a:pt x="111" y="303"/>
                  </a:cubicBezTo>
                  <a:cubicBezTo>
                    <a:pt x="113" y="312"/>
                    <a:pt x="113" y="312"/>
                    <a:pt x="113" y="312"/>
                  </a:cubicBezTo>
                  <a:cubicBezTo>
                    <a:pt x="111" y="313"/>
                    <a:pt x="109" y="313"/>
                    <a:pt x="109" y="313"/>
                  </a:cubicBezTo>
                  <a:cubicBezTo>
                    <a:pt x="109" y="313"/>
                    <a:pt x="109" y="313"/>
                    <a:pt x="109" y="313"/>
                  </a:cubicBezTo>
                  <a:moveTo>
                    <a:pt x="94" y="401"/>
                  </a:moveTo>
                  <a:cubicBezTo>
                    <a:pt x="87" y="395"/>
                    <a:pt x="77" y="386"/>
                    <a:pt x="63" y="375"/>
                  </a:cubicBezTo>
                  <a:cubicBezTo>
                    <a:pt x="63" y="375"/>
                    <a:pt x="63" y="374"/>
                    <a:pt x="63" y="374"/>
                  </a:cubicBezTo>
                  <a:cubicBezTo>
                    <a:pt x="63" y="345"/>
                    <a:pt x="64" y="319"/>
                    <a:pt x="66" y="296"/>
                  </a:cubicBezTo>
                  <a:cubicBezTo>
                    <a:pt x="84" y="310"/>
                    <a:pt x="93" y="321"/>
                    <a:pt x="94" y="323"/>
                  </a:cubicBezTo>
                  <a:cubicBezTo>
                    <a:pt x="97" y="320"/>
                    <a:pt x="97" y="320"/>
                    <a:pt x="97" y="320"/>
                  </a:cubicBezTo>
                  <a:cubicBezTo>
                    <a:pt x="95" y="339"/>
                    <a:pt x="93" y="359"/>
                    <a:pt x="93" y="377"/>
                  </a:cubicBezTo>
                  <a:cubicBezTo>
                    <a:pt x="93" y="385"/>
                    <a:pt x="94" y="392"/>
                    <a:pt x="94" y="400"/>
                  </a:cubicBezTo>
                  <a:cubicBezTo>
                    <a:pt x="94" y="400"/>
                    <a:pt x="94" y="401"/>
                    <a:pt x="94" y="401"/>
                  </a:cubicBezTo>
                  <a:moveTo>
                    <a:pt x="112" y="293"/>
                  </a:moveTo>
                  <a:cubicBezTo>
                    <a:pt x="112" y="292"/>
                    <a:pt x="112" y="292"/>
                    <a:pt x="112" y="292"/>
                  </a:cubicBezTo>
                  <a:cubicBezTo>
                    <a:pt x="112" y="293"/>
                    <a:pt x="112" y="293"/>
                    <a:pt x="112" y="293"/>
                  </a:cubicBezTo>
                  <a:cubicBezTo>
                    <a:pt x="112" y="293"/>
                    <a:pt x="112" y="293"/>
                    <a:pt x="112" y="293"/>
                  </a:cubicBezTo>
                  <a:moveTo>
                    <a:pt x="149" y="302"/>
                  </a:moveTo>
                  <a:cubicBezTo>
                    <a:pt x="156" y="299"/>
                    <a:pt x="164" y="295"/>
                    <a:pt x="172" y="292"/>
                  </a:cubicBezTo>
                  <a:cubicBezTo>
                    <a:pt x="173" y="292"/>
                    <a:pt x="173" y="293"/>
                    <a:pt x="174" y="294"/>
                  </a:cubicBezTo>
                  <a:cubicBezTo>
                    <a:pt x="165" y="297"/>
                    <a:pt x="156" y="300"/>
                    <a:pt x="149" y="302"/>
                  </a:cubicBezTo>
                  <a:moveTo>
                    <a:pt x="736" y="460"/>
                  </a:moveTo>
                  <a:cubicBezTo>
                    <a:pt x="728" y="425"/>
                    <a:pt x="720" y="392"/>
                    <a:pt x="713" y="360"/>
                  </a:cubicBezTo>
                  <a:cubicBezTo>
                    <a:pt x="761" y="334"/>
                    <a:pt x="811" y="310"/>
                    <a:pt x="863" y="287"/>
                  </a:cubicBezTo>
                  <a:cubicBezTo>
                    <a:pt x="869" y="319"/>
                    <a:pt x="875" y="353"/>
                    <a:pt x="882" y="388"/>
                  </a:cubicBezTo>
                  <a:cubicBezTo>
                    <a:pt x="832" y="410"/>
                    <a:pt x="783" y="434"/>
                    <a:pt x="736" y="460"/>
                  </a:cubicBezTo>
                  <a:moveTo>
                    <a:pt x="145" y="291"/>
                  </a:moveTo>
                  <a:cubicBezTo>
                    <a:pt x="151" y="288"/>
                    <a:pt x="157" y="284"/>
                    <a:pt x="163" y="280"/>
                  </a:cubicBezTo>
                  <a:cubicBezTo>
                    <a:pt x="164" y="281"/>
                    <a:pt x="164" y="281"/>
                    <a:pt x="165" y="282"/>
                  </a:cubicBezTo>
                  <a:cubicBezTo>
                    <a:pt x="158" y="285"/>
                    <a:pt x="152" y="288"/>
                    <a:pt x="145" y="291"/>
                  </a:cubicBezTo>
                  <a:moveTo>
                    <a:pt x="363" y="322"/>
                  </a:moveTo>
                  <a:cubicBezTo>
                    <a:pt x="360" y="317"/>
                    <a:pt x="358" y="311"/>
                    <a:pt x="354" y="305"/>
                  </a:cubicBezTo>
                  <a:cubicBezTo>
                    <a:pt x="366" y="297"/>
                    <a:pt x="380" y="289"/>
                    <a:pt x="394" y="280"/>
                  </a:cubicBezTo>
                  <a:cubicBezTo>
                    <a:pt x="396" y="284"/>
                    <a:pt x="397" y="289"/>
                    <a:pt x="398" y="292"/>
                  </a:cubicBezTo>
                  <a:cubicBezTo>
                    <a:pt x="386" y="302"/>
                    <a:pt x="374" y="312"/>
                    <a:pt x="363" y="322"/>
                  </a:cubicBezTo>
                  <a:moveTo>
                    <a:pt x="211" y="325"/>
                  </a:moveTo>
                  <a:cubicBezTo>
                    <a:pt x="205" y="316"/>
                    <a:pt x="198" y="307"/>
                    <a:pt x="193" y="300"/>
                  </a:cubicBezTo>
                  <a:cubicBezTo>
                    <a:pt x="208" y="294"/>
                    <a:pt x="225" y="288"/>
                    <a:pt x="244" y="280"/>
                  </a:cubicBezTo>
                  <a:cubicBezTo>
                    <a:pt x="247" y="285"/>
                    <a:pt x="250" y="291"/>
                    <a:pt x="253" y="296"/>
                  </a:cubicBezTo>
                  <a:cubicBezTo>
                    <a:pt x="237" y="307"/>
                    <a:pt x="223" y="316"/>
                    <a:pt x="211" y="325"/>
                  </a:cubicBezTo>
                  <a:moveTo>
                    <a:pt x="285" y="332"/>
                  </a:moveTo>
                  <a:cubicBezTo>
                    <a:pt x="279" y="322"/>
                    <a:pt x="274" y="311"/>
                    <a:pt x="268" y="300"/>
                  </a:cubicBezTo>
                  <a:cubicBezTo>
                    <a:pt x="285" y="289"/>
                    <a:pt x="303" y="278"/>
                    <a:pt x="320" y="267"/>
                  </a:cubicBezTo>
                  <a:cubicBezTo>
                    <a:pt x="327" y="278"/>
                    <a:pt x="334" y="290"/>
                    <a:pt x="339" y="301"/>
                  </a:cubicBezTo>
                  <a:cubicBezTo>
                    <a:pt x="322" y="311"/>
                    <a:pt x="308" y="319"/>
                    <a:pt x="300" y="324"/>
                  </a:cubicBezTo>
                  <a:cubicBezTo>
                    <a:pt x="295" y="326"/>
                    <a:pt x="290" y="329"/>
                    <a:pt x="285" y="332"/>
                  </a:cubicBezTo>
                  <a:moveTo>
                    <a:pt x="1207" y="396"/>
                  </a:moveTo>
                  <a:cubicBezTo>
                    <a:pt x="1201" y="362"/>
                    <a:pt x="1196" y="328"/>
                    <a:pt x="1191" y="295"/>
                  </a:cubicBezTo>
                  <a:cubicBezTo>
                    <a:pt x="1238" y="284"/>
                    <a:pt x="1287" y="274"/>
                    <a:pt x="1335" y="266"/>
                  </a:cubicBezTo>
                  <a:cubicBezTo>
                    <a:pt x="1339" y="299"/>
                    <a:pt x="1344" y="333"/>
                    <a:pt x="1349" y="367"/>
                  </a:cubicBezTo>
                  <a:cubicBezTo>
                    <a:pt x="1302" y="374"/>
                    <a:pt x="1255" y="384"/>
                    <a:pt x="1207" y="396"/>
                  </a:cubicBezTo>
                  <a:moveTo>
                    <a:pt x="1828" y="396"/>
                  </a:moveTo>
                  <a:cubicBezTo>
                    <a:pt x="1785" y="378"/>
                    <a:pt x="1738" y="366"/>
                    <a:pt x="1685" y="358"/>
                  </a:cubicBezTo>
                  <a:cubicBezTo>
                    <a:pt x="1684" y="327"/>
                    <a:pt x="1682" y="295"/>
                    <a:pt x="1681" y="265"/>
                  </a:cubicBezTo>
                  <a:cubicBezTo>
                    <a:pt x="1733" y="275"/>
                    <a:pt x="1783" y="291"/>
                    <a:pt x="1826" y="314"/>
                  </a:cubicBezTo>
                  <a:cubicBezTo>
                    <a:pt x="1827" y="341"/>
                    <a:pt x="1827" y="368"/>
                    <a:pt x="1828" y="396"/>
                  </a:cubicBezTo>
                  <a:moveTo>
                    <a:pt x="2047" y="282"/>
                  </a:moveTo>
                  <a:cubicBezTo>
                    <a:pt x="2039" y="274"/>
                    <a:pt x="2030" y="267"/>
                    <a:pt x="2021" y="259"/>
                  </a:cubicBezTo>
                  <a:cubicBezTo>
                    <a:pt x="2024" y="258"/>
                    <a:pt x="2024" y="258"/>
                    <a:pt x="2024" y="258"/>
                  </a:cubicBezTo>
                  <a:cubicBezTo>
                    <a:pt x="2030" y="263"/>
                    <a:pt x="2037" y="268"/>
                    <a:pt x="2043" y="273"/>
                  </a:cubicBezTo>
                  <a:cubicBezTo>
                    <a:pt x="2044" y="276"/>
                    <a:pt x="2046" y="279"/>
                    <a:pt x="2047" y="282"/>
                  </a:cubicBezTo>
                  <a:moveTo>
                    <a:pt x="185" y="290"/>
                  </a:moveTo>
                  <a:cubicBezTo>
                    <a:pt x="184" y="289"/>
                    <a:pt x="183" y="287"/>
                    <a:pt x="182" y="286"/>
                  </a:cubicBezTo>
                  <a:cubicBezTo>
                    <a:pt x="199" y="278"/>
                    <a:pt x="215" y="268"/>
                    <a:pt x="231" y="257"/>
                  </a:cubicBezTo>
                  <a:cubicBezTo>
                    <a:pt x="233" y="261"/>
                    <a:pt x="235" y="265"/>
                    <a:pt x="238" y="269"/>
                  </a:cubicBezTo>
                  <a:cubicBezTo>
                    <a:pt x="219" y="277"/>
                    <a:pt x="201" y="284"/>
                    <a:pt x="185" y="290"/>
                  </a:cubicBezTo>
                  <a:moveTo>
                    <a:pt x="568" y="434"/>
                  </a:moveTo>
                  <a:cubicBezTo>
                    <a:pt x="558" y="397"/>
                    <a:pt x="550" y="363"/>
                    <a:pt x="543" y="334"/>
                  </a:cubicBezTo>
                  <a:cubicBezTo>
                    <a:pt x="585" y="306"/>
                    <a:pt x="630" y="279"/>
                    <a:pt x="677" y="254"/>
                  </a:cubicBezTo>
                  <a:cubicBezTo>
                    <a:pt x="684" y="283"/>
                    <a:pt x="692" y="317"/>
                    <a:pt x="700" y="354"/>
                  </a:cubicBezTo>
                  <a:cubicBezTo>
                    <a:pt x="653" y="379"/>
                    <a:pt x="609" y="406"/>
                    <a:pt x="568" y="434"/>
                  </a:cubicBezTo>
                  <a:moveTo>
                    <a:pt x="1360" y="365"/>
                  </a:moveTo>
                  <a:cubicBezTo>
                    <a:pt x="1355" y="331"/>
                    <a:pt x="1351" y="298"/>
                    <a:pt x="1346" y="265"/>
                  </a:cubicBezTo>
                  <a:cubicBezTo>
                    <a:pt x="1401" y="257"/>
                    <a:pt x="1455" y="252"/>
                    <a:pt x="1508" y="251"/>
                  </a:cubicBezTo>
                  <a:cubicBezTo>
                    <a:pt x="1511" y="283"/>
                    <a:pt x="1514" y="316"/>
                    <a:pt x="1516" y="350"/>
                  </a:cubicBezTo>
                  <a:cubicBezTo>
                    <a:pt x="1466" y="351"/>
                    <a:pt x="1414" y="357"/>
                    <a:pt x="1360" y="365"/>
                  </a:cubicBezTo>
                  <a:moveTo>
                    <a:pt x="1528" y="349"/>
                  </a:moveTo>
                  <a:cubicBezTo>
                    <a:pt x="1525" y="316"/>
                    <a:pt x="1522" y="283"/>
                    <a:pt x="1519" y="251"/>
                  </a:cubicBezTo>
                  <a:cubicBezTo>
                    <a:pt x="1521" y="251"/>
                    <a:pt x="1523" y="251"/>
                    <a:pt x="1525" y="251"/>
                  </a:cubicBezTo>
                  <a:cubicBezTo>
                    <a:pt x="1575" y="251"/>
                    <a:pt x="1623" y="255"/>
                    <a:pt x="1669" y="263"/>
                  </a:cubicBezTo>
                  <a:cubicBezTo>
                    <a:pt x="1671" y="293"/>
                    <a:pt x="1672" y="325"/>
                    <a:pt x="1674" y="356"/>
                  </a:cubicBezTo>
                  <a:cubicBezTo>
                    <a:pt x="1637" y="352"/>
                    <a:pt x="1597" y="349"/>
                    <a:pt x="1555" y="349"/>
                  </a:cubicBezTo>
                  <a:cubicBezTo>
                    <a:pt x="1546" y="349"/>
                    <a:pt x="1537" y="349"/>
                    <a:pt x="1528" y="349"/>
                  </a:cubicBezTo>
                  <a:moveTo>
                    <a:pt x="262" y="290"/>
                  </a:moveTo>
                  <a:cubicBezTo>
                    <a:pt x="259" y="285"/>
                    <a:pt x="257" y="280"/>
                    <a:pt x="254" y="275"/>
                  </a:cubicBezTo>
                  <a:cubicBezTo>
                    <a:pt x="272" y="267"/>
                    <a:pt x="290" y="258"/>
                    <a:pt x="309" y="248"/>
                  </a:cubicBezTo>
                  <a:cubicBezTo>
                    <a:pt x="311" y="251"/>
                    <a:pt x="313" y="254"/>
                    <a:pt x="314" y="256"/>
                  </a:cubicBezTo>
                  <a:cubicBezTo>
                    <a:pt x="295" y="269"/>
                    <a:pt x="278" y="280"/>
                    <a:pt x="262" y="290"/>
                  </a:cubicBezTo>
                  <a:moveTo>
                    <a:pt x="407" y="285"/>
                  </a:moveTo>
                  <a:cubicBezTo>
                    <a:pt x="406" y="281"/>
                    <a:pt x="405" y="278"/>
                    <a:pt x="403" y="273"/>
                  </a:cubicBezTo>
                  <a:cubicBezTo>
                    <a:pt x="416" y="265"/>
                    <a:pt x="430" y="256"/>
                    <a:pt x="444" y="246"/>
                  </a:cubicBezTo>
                  <a:cubicBezTo>
                    <a:pt x="445" y="249"/>
                    <a:pt x="446" y="252"/>
                    <a:pt x="447" y="255"/>
                  </a:cubicBezTo>
                  <a:cubicBezTo>
                    <a:pt x="447" y="255"/>
                    <a:pt x="447" y="255"/>
                    <a:pt x="447" y="255"/>
                  </a:cubicBezTo>
                  <a:cubicBezTo>
                    <a:pt x="434" y="265"/>
                    <a:pt x="420" y="275"/>
                    <a:pt x="407" y="285"/>
                  </a:cubicBezTo>
                  <a:moveTo>
                    <a:pt x="2013" y="252"/>
                  </a:moveTo>
                  <a:cubicBezTo>
                    <a:pt x="2010" y="249"/>
                    <a:pt x="2007" y="246"/>
                    <a:pt x="2003" y="243"/>
                  </a:cubicBezTo>
                  <a:cubicBezTo>
                    <a:pt x="2004" y="242"/>
                    <a:pt x="2004" y="241"/>
                    <a:pt x="2004" y="240"/>
                  </a:cubicBezTo>
                  <a:cubicBezTo>
                    <a:pt x="2006" y="242"/>
                    <a:pt x="2008" y="244"/>
                    <a:pt x="2010" y="246"/>
                  </a:cubicBezTo>
                  <a:cubicBezTo>
                    <a:pt x="2011" y="248"/>
                    <a:pt x="2012" y="250"/>
                    <a:pt x="2013" y="252"/>
                  </a:cubicBezTo>
                  <a:moveTo>
                    <a:pt x="175" y="277"/>
                  </a:moveTo>
                  <a:cubicBezTo>
                    <a:pt x="174" y="276"/>
                    <a:pt x="174" y="275"/>
                    <a:pt x="173" y="274"/>
                  </a:cubicBezTo>
                  <a:cubicBezTo>
                    <a:pt x="188" y="264"/>
                    <a:pt x="204" y="251"/>
                    <a:pt x="220" y="238"/>
                  </a:cubicBezTo>
                  <a:cubicBezTo>
                    <a:pt x="222" y="240"/>
                    <a:pt x="223" y="243"/>
                    <a:pt x="225" y="247"/>
                  </a:cubicBezTo>
                  <a:cubicBezTo>
                    <a:pt x="209" y="258"/>
                    <a:pt x="192" y="268"/>
                    <a:pt x="175" y="277"/>
                  </a:cubicBezTo>
                  <a:moveTo>
                    <a:pt x="349" y="295"/>
                  </a:moveTo>
                  <a:cubicBezTo>
                    <a:pt x="343" y="284"/>
                    <a:pt x="337" y="272"/>
                    <a:pt x="330" y="260"/>
                  </a:cubicBezTo>
                  <a:cubicBezTo>
                    <a:pt x="344" y="251"/>
                    <a:pt x="359" y="242"/>
                    <a:pt x="373" y="232"/>
                  </a:cubicBezTo>
                  <a:cubicBezTo>
                    <a:pt x="379" y="245"/>
                    <a:pt x="385" y="257"/>
                    <a:pt x="389" y="269"/>
                  </a:cubicBezTo>
                  <a:cubicBezTo>
                    <a:pt x="375" y="278"/>
                    <a:pt x="361" y="287"/>
                    <a:pt x="349" y="295"/>
                  </a:cubicBezTo>
                  <a:moveTo>
                    <a:pt x="1983" y="425"/>
                  </a:moveTo>
                  <a:cubicBezTo>
                    <a:pt x="1962" y="407"/>
                    <a:pt x="1941" y="387"/>
                    <a:pt x="1920" y="366"/>
                  </a:cubicBezTo>
                  <a:cubicBezTo>
                    <a:pt x="1895" y="343"/>
                    <a:pt x="1868" y="323"/>
                    <a:pt x="1837" y="307"/>
                  </a:cubicBezTo>
                  <a:cubicBezTo>
                    <a:pt x="1837" y="281"/>
                    <a:pt x="1837" y="256"/>
                    <a:pt x="1836" y="232"/>
                  </a:cubicBezTo>
                  <a:cubicBezTo>
                    <a:pt x="1854" y="245"/>
                    <a:pt x="1870" y="259"/>
                    <a:pt x="1885" y="275"/>
                  </a:cubicBezTo>
                  <a:cubicBezTo>
                    <a:pt x="1919" y="311"/>
                    <a:pt x="1953" y="344"/>
                    <a:pt x="1986" y="373"/>
                  </a:cubicBezTo>
                  <a:cubicBezTo>
                    <a:pt x="1985" y="390"/>
                    <a:pt x="1984" y="407"/>
                    <a:pt x="1983" y="425"/>
                  </a:cubicBezTo>
                  <a:moveTo>
                    <a:pt x="892" y="384"/>
                  </a:moveTo>
                  <a:cubicBezTo>
                    <a:pt x="886" y="349"/>
                    <a:pt x="879" y="315"/>
                    <a:pt x="873" y="283"/>
                  </a:cubicBezTo>
                  <a:cubicBezTo>
                    <a:pt x="893" y="274"/>
                    <a:pt x="913" y="266"/>
                    <a:pt x="933" y="258"/>
                  </a:cubicBezTo>
                  <a:cubicBezTo>
                    <a:pt x="960" y="248"/>
                    <a:pt x="988" y="238"/>
                    <a:pt x="1016" y="228"/>
                  </a:cubicBezTo>
                  <a:cubicBezTo>
                    <a:pt x="1021" y="260"/>
                    <a:pt x="1027" y="294"/>
                    <a:pt x="1033" y="329"/>
                  </a:cubicBezTo>
                  <a:cubicBezTo>
                    <a:pt x="1012" y="336"/>
                    <a:pt x="991" y="344"/>
                    <a:pt x="971" y="351"/>
                  </a:cubicBezTo>
                  <a:cubicBezTo>
                    <a:pt x="945" y="362"/>
                    <a:pt x="918" y="372"/>
                    <a:pt x="892" y="384"/>
                  </a:cubicBezTo>
                  <a:moveTo>
                    <a:pt x="394" y="432"/>
                  </a:moveTo>
                  <a:cubicBezTo>
                    <a:pt x="379" y="376"/>
                    <a:pt x="368" y="338"/>
                    <a:pt x="367" y="333"/>
                  </a:cubicBezTo>
                  <a:cubicBezTo>
                    <a:pt x="407" y="297"/>
                    <a:pt x="454" y="262"/>
                    <a:pt x="506" y="228"/>
                  </a:cubicBezTo>
                  <a:cubicBezTo>
                    <a:pt x="509" y="242"/>
                    <a:pt x="518" y="279"/>
                    <a:pt x="530" y="328"/>
                  </a:cubicBezTo>
                  <a:cubicBezTo>
                    <a:pt x="479" y="362"/>
                    <a:pt x="434" y="397"/>
                    <a:pt x="394" y="432"/>
                  </a:cubicBezTo>
                  <a:moveTo>
                    <a:pt x="324" y="250"/>
                  </a:moveTo>
                  <a:cubicBezTo>
                    <a:pt x="322" y="248"/>
                    <a:pt x="321" y="245"/>
                    <a:pt x="319" y="243"/>
                  </a:cubicBezTo>
                  <a:cubicBezTo>
                    <a:pt x="326" y="239"/>
                    <a:pt x="332" y="235"/>
                    <a:pt x="339" y="232"/>
                  </a:cubicBezTo>
                  <a:cubicBezTo>
                    <a:pt x="348" y="226"/>
                    <a:pt x="357" y="221"/>
                    <a:pt x="366" y="215"/>
                  </a:cubicBezTo>
                  <a:cubicBezTo>
                    <a:pt x="367" y="217"/>
                    <a:pt x="367" y="219"/>
                    <a:pt x="368" y="221"/>
                  </a:cubicBezTo>
                  <a:cubicBezTo>
                    <a:pt x="353" y="231"/>
                    <a:pt x="338" y="241"/>
                    <a:pt x="324" y="250"/>
                  </a:cubicBezTo>
                  <a:moveTo>
                    <a:pt x="248" y="265"/>
                  </a:moveTo>
                  <a:cubicBezTo>
                    <a:pt x="246" y="260"/>
                    <a:pt x="243" y="255"/>
                    <a:pt x="241" y="251"/>
                  </a:cubicBezTo>
                  <a:cubicBezTo>
                    <a:pt x="257" y="240"/>
                    <a:pt x="274" y="228"/>
                    <a:pt x="290" y="215"/>
                  </a:cubicBezTo>
                  <a:cubicBezTo>
                    <a:pt x="294" y="222"/>
                    <a:pt x="299" y="230"/>
                    <a:pt x="303" y="238"/>
                  </a:cubicBezTo>
                  <a:cubicBezTo>
                    <a:pt x="284" y="248"/>
                    <a:pt x="266" y="257"/>
                    <a:pt x="248" y="265"/>
                  </a:cubicBezTo>
                  <a:moveTo>
                    <a:pt x="1993" y="234"/>
                  </a:moveTo>
                  <a:cubicBezTo>
                    <a:pt x="1986" y="227"/>
                    <a:pt x="1979" y="220"/>
                    <a:pt x="1972" y="213"/>
                  </a:cubicBezTo>
                  <a:cubicBezTo>
                    <a:pt x="1974" y="212"/>
                    <a:pt x="1974" y="212"/>
                    <a:pt x="1974" y="212"/>
                  </a:cubicBezTo>
                  <a:cubicBezTo>
                    <a:pt x="1981" y="219"/>
                    <a:pt x="1989" y="226"/>
                    <a:pt x="1997" y="233"/>
                  </a:cubicBezTo>
                  <a:cubicBezTo>
                    <a:pt x="1993" y="233"/>
                    <a:pt x="1993" y="233"/>
                    <a:pt x="1993" y="233"/>
                  </a:cubicBezTo>
                  <a:cubicBezTo>
                    <a:pt x="1993" y="234"/>
                    <a:pt x="1993" y="234"/>
                    <a:pt x="1993" y="234"/>
                  </a:cubicBezTo>
                  <a:moveTo>
                    <a:pt x="98" y="309"/>
                  </a:moveTo>
                  <a:cubicBezTo>
                    <a:pt x="92" y="303"/>
                    <a:pt x="82" y="293"/>
                    <a:pt x="68" y="282"/>
                  </a:cubicBezTo>
                  <a:cubicBezTo>
                    <a:pt x="71" y="255"/>
                    <a:pt x="75" y="233"/>
                    <a:pt x="80" y="212"/>
                  </a:cubicBezTo>
                  <a:cubicBezTo>
                    <a:pt x="94" y="224"/>
                    <a:pt x="105" y="235"/>
                    <a:pt x="111" y="242"/>
                  </a:cubicBezTo>
                  <a:cubicBezTo>
                    <a:pt x="110" y="243"/>
                    <a:pt x="110" y="245"/>
                    <a:pt x="109" y="247"/>
                  </a:cubicBezTo>
                  <a:cubicBezTo>
                    <a:pt x="106" y="252"/>
                    <a:pt x="104" y="254"/>
                    <a:pt x="104" y="255"/>
                  </a:cubicBezTo>
                  <a:cubicBezTo>
                    <a:pt x="107" y="257"/>
                    <a:pt x="107" y="257"/>
                    <a:pt x="107" y="257"/>
                  </a:cubicBezTo>
                  <a:cubicBezTo>
                    <a:pt x="103" y="275"/>
                    <a:pt x="100" y="292"/>
                    <a:pt x="98" y="309"/>
                  </a:cubicBezTo>
                  <a:moveTo>
                    <a:pt x="456" y="248"/>
                  </a:moveTo>
                  <a:cubicBezTo>
                    <a:pt x="456" y="246"/>
                    <a:pt x="455" y="243"/>
                    <a:pt x="454" y="240"/>
                  </a:cubicBezTo>
                  <a:cubicBezTo>
                    <a:pt x="469" y="230"/>
                    <a:pt x="485" y="219"/>
                    <a:pt x="501" y="208"/>
                  </a:cubicBezTo>
                  <a:cubicBezTo>
                    <a:pt x="502" y="211"/>
                    <a:pt x="502" y="214"/>
                    <a:pt x="503" y="216"/>
                  </a:cubicBezTo>
                  <a:cubicBezTo>
                    <a:pt x="487" y="227"/>
                    <a:pt x="471" y="237"/>
                    <a:pt x="456" y="248"/>
                  </a:cubicBezTo>
                  <a:moveTo>
                    <a:pt x="2032" y="245"/>
                  </a:moveTo>
                  <a:cubicBezTo>
                    <a:pt x="2027" y="241"/>
                    <a:pt x="2022" y="237"/>
                    <a:pt x="2017" y="232"/>
                  </a:cubicBezTo>
                  <a:cubicBezTo>
                    <a:pt x="2014" y="224"/>
                    <a:pt x="2011" y="215"/>
                    <a:pt x="2008" y="207"/>
                  </a:cubicBezTo>
                  <a:cubicBezTo>
                    <a:pt x="2014" y="213"/>
                    <a:pt x="2020" y="219"/>
                    <a:pt x="2026" y="225"/>
                  </a:cubicBezTo>
                  <a:cubicBezTo>
                    <a:pt x="2028" y="232"/>
                    <a:pt x="2030" y="239"/>
                    <a:pt x="2032" y="245"/>
                  </a:cubicBezTo>
                  <a:moveTo>
                    <a:pt x="399" y="262"/>
                  </a:moveTo>
                  <a:cubicBezTo>
                    <a:pt x="394" y="251"/>
                    <a:pt x="389" y="238"/>
                    <a:pt x="383" y="226"/>
                  </a:cubicBezTo>
                  <a:cubicBezTo>
                    <a:pt x="397" y="216"/>
                    <a:pt x="411" y="207"/>
                    <a:pt x="426" y="197"/>
                  </a:cubicBezTo>
                  <a:cubicBezTo>
                    <a:pt x="431" y="211"/>
                    <a:pt x="436" y="224"/>
                    <a:pt x="440" y="235"/>
                  </a:cubicBezTo>
                  <a:cubicBezTo>
                    <a:pt x="426" y="244"/>
                    <a:pt x="412" y="254"/>
                    <a:pt x="399" y="262"/>
                  </a:cubicBezTo>
                  <a:moveTo>
                    <a:pt x="235" y="240"/>
                  </a:moveTo>
                  <a:cubicBezTo>
                    <a:pt x="233" y="236"/>
                    <a:pt x="231" y="233"/>
                    <a:pt x="229" y="231"/>
                  </a:cubicBezTo>
                  <a:cubicBezTo>
                    <a:pt x="245" y="218"/>
                    <a:pt x="260" y="204"/>
                    <a:pt x="274" y="189"/>
                  </a:cubicBezTo>
                  <a:cubicBezTo>
                    <a:pt x="276" y="192"/>
                    <a:pt x="279" y="197"/>
                    <a:pt x="284" y="205"/>
                  </a:cubicBezTo>
                  <a:cubicBezTo>
                    <a:pt x="267" y="217"/>
                    <a:pt x="251" y="229"/>
                    <a:pt x="235" y="240"/>
                  </a:cubicBezTo>
                  <a:moveTo>
                    <a:pt x="1044" y="326"/>
                  </a:moveTo>
                  <a:cubicBezTo>
                    <a:pt x="1038" y="290"/>
                    <a:pt x="1032" y="256"/>
                    <a:pt x="1027" y="224"/>
                  </a:cubicBezTo>
                  <a:cubicBezTo>
                    <a:pt x="1071" y="210"/>
                    <a:pt x="1116" y="197"/>
                    <a:pt x="1162" y="185"/>
                  </a:cubicBezTo>
                  <a:cubicBezTo>
                    <a:pt x="1167" y="217"/>
                    <a:pt x="1172" y="251"/>
                    <a:pt x="1178" y="286"/>
                  </a:cubicBezTo>
                  <a:cubicBezTo>
                    <a:pt x="1132" y="298"/>
                    <a:pt x="1087" y="311"/>
                    <a:pt x="1044" y="326"/>
                  </a:cubicBezTo>
                  <a:moveTo>
                    <a:pt x="378" y="215"/>
                  </a:moveTo>
                  <a:cubicBezTo>
                    <a:pt x="377" y="213"/>
                    <a:pt x="376" y="211"/>
                    <a:pt x="375" y="209"/>
                  </a:cubicBezTo>
                  <a:cubicBezTo>
                    <a:pt x="390" y="199"/>
                    <a:pt x="404" y="189"/>
                    <a:pt x="418" y="179"/>
                  </a:cubicBezTo>
                  <a:cubicBezTo>
                    <a:pt x="419" y="181"/>
                    <a:pt x="420" y="184"/>
                    <a:pt x="421" y="186"/>
                  </a:cubicBezTo>
                  <a:cubicBezTo>
                    <a:pt x="407" y="196"/>
                    <a:pt x="392" y="206"/>
                    <a:pt x="378" y="215"/>
                  </a:cubicBezTo>
                  <a:moveTo>
                    <a:pt x="2041" y="198"/>
                  </a:moveTo>
                  <a:cubicBezTo>
                    <a:pt x="2037" y="192"/>
                    <a:pt x="2033" y="187"/>
                    <a:pt x="2028" y="182"/>
                  </a:cubicBezTo>
                  <a:cubicBezTo>
                    <a:pt x="2028" y="180"/>
                    <a:pt x="2028" y="178"/>
                    <a:pt x="2027" y="175"/>
                  </a:cubicBezTo>
                  <a:cubicBezTo>
                    <a:pt x="2032" y="183"/>
                    <a:pt x="2037" y="190"/>
                    <a:pt x="2041" y="198"/>
                  </a:cubicBezTo>
                  <a:moveTo>
                    <a:pt x="57" y="274"/>
                  </a:moveTo>
                  <a:cubicBezTo>
                    <a:pt x="44" y="264"/>
                    <a:pt x="28" y="254"/>
                    <a:pt x="8" y="244"/>
                  </a:cubicBezTo>
                  <a:cubicBezTo>
                    <a:pt x="13" y="218"/>
                    <a:pt x="19" y="195"/>
                    <a:pt x="26" y="175"/>
                  </a:cubicBezTo>
                  <a:cubicBezTo>
                    <a:pt x="43" y="184"/>
                    <a:pt x="57" y="195"/>
                    <a:pt x="70" y="204"/>
                  </a:cubicBezTo>
                  <a:cubicBezTo>
                    <a:pt x="65" y="225"/>
                    <a:pt x="61" y="248"/>
                    <a:pt x="57" y="274"/>
                  </a:cubicBezTo>
                  <a:moveTo>
                    <a:pt x="293" y="197"/>
                  </a:moveTo>
                  <a:cubicBezTo>
                    <a:pt x="287" y="189"/>
                    <a:pt x="283" y="183"/>
                    <a:pt x="283" y="181"/>
                  </a:cubicBezTo>
                  <a:cubicBezTo>
                    <a:pt x="285" y="179"/>
                    <a:pt x="287" y="177"/>
                    <a:pt x="289" y="174"/>
                  </a:cubicBezTo>
                  <a:cubicBezTo>
                    <a:pt x="293" y="181"/>
                    <a:pt x="295" y="187"/>
                    <a:pt x="298" y="193"/>
                  </a:cubicBezTo>
                  <a:cubicBezTo>
                    <a:pt x="296" y="194"/>
                    <a:pt x="294" y="196"/>
                    <a:pt x="293" y="197"/>
                  </a:cubicBezTo>
                  <a:moveTo>
                    <a:pt x="710" y="348"/>
                  </a:moveTo>
                  <a:cubicBezTo>
                    <a:pt x="702" y="311"/>
                    <a:pt x="694" y="278"/>
                    <a:pt x="688" y="248"/>
                  </a:cubicBezTo>
                  <a:cubicBezTo>
                    <a:pt x="737" y="222"/>
                    <a:pt x="788" y="197"/>
                    <a:pt x="842" y="174"/>
                  </a:cubicBezTo>
                  <a:cubicBezTo>
                    <a:pt x="847" y="204"/>
                    <a:pt x="854" y="238"/>
                    <a:pt x="861" y="275"/>
                  </a:cubicBezTo>
                  <a:cubicBezTo>
                    <a:pt x="809" y="298"/>
                    <a:pt x="759" y="322"/>
                    <a:pt x="710" y="348"/>
                  </a:cubicBezTo>
                  <a:moveTo>
                    <a:pt x="513" y="210"/>
                  </a:moveTo>
                  <a:cubicBezTo>
                    <a:pt x="512" y="207"/>
                    <a:pt x="511" y="205"/>
                    <a:pt x="510" y="202"/>
                  </a:cubicBezTo>
                  <a:cubicBezTo>
                    <a:pt x="525" y="192"/>
                    <a:pt x="540" y="181"/>
                    <a:pt x="555" y="171"/>
                  </a:cubicBezTo>
                  <a:cubicBezTo>
                    <a:pt x="556" y="175"/>
                    <a:pt x="556" y="178"/>
                    <a:pt x="557" y="182"/>
                  </a:cubicBezTo>
                  <a:cubicBezTo>
                    <a:pt x="542" y="191"/>
                    <a:pt x="527" y="200"/>
                    <a:pt x="513" y="210"/>
                  </a:cubicBezTo>
                  <a:moveTo>
                    <a:pt x="313" y="232"/>
                  </a:moveTo>
                  <a:cubicBezTo>
                    <a:pt x="308" y="224"/>
                    <a:pt x="303" y="215"/>
                    <a:pt x="299" y="208"/>
                  </a:cubicBezTo>
                  <a:cubicBezTo>
                    <a:pt x="314" y="196"/>
                    <a:pt x="329" y="183"/>
                    <a:pt x="344" y="170"/>
                  </a:cubicBezTo>
                  <a:cubicBezTo>
                    <a:pt x="347" y="176"/>
                    <a:pt x="353" y="189"/>
                    <a:pt x="361" y="204"/>
                  </a:cubicBezTo>
                  <a:cubicBezTo>
                    <a:pt x="352" y="210"/>
                    <a:pt x="343" y="216"/>
                    <a:pt x="334" y="221"/>
                  </a:cubicBezTo>
                  <a:cubicBezTo>
                    <a:pt x="327" y="225"/>
                    <a:pt x="320" y="229"/>
                    <a:pt x="313" y="232"/>
                  </a:cubicBezTo>
                  <a:moveTo>
                    <a:pt x="2020" y="203"/>
                  </a:moveTo>
                  <a:cubicBezTo>
                    <a:pt x="2014" y="196"/>
                    <a:pt x="2009" y="190"/>
                    <a:pt x="2003" y="183"/>
                  </a:cubicBezTo>
                  <a:cubicBezTo>
                    <a:pt x="2001" y="177"/>
                    <a:pt x="2000" y="170"/>
                    <a:pt x="1999" y="163"/>
                  </a:cubicBezTo>
                  <a:cubicBezTo>
                    <a:pt x="2005" y="171"/>
                    <a:pt x="2011" y="179"/>
                    <a:pt x="2018" y="187"/>
                  </a:cubicBezTo>
                  <a:cubicBezTo>
                    <a:pt x="2018" y="192"/>
                    <a:pt x="2019" y="197"/>
                    <a:pt x="2020" y="203"/>
                  </a:cubicBezTo>
                  <a:moveTo>
                    <a:pt x="1999" y="216"/>
                  </a:moveTo>
                  <a:cubicBezTo>
                    <a:pt x="1992" y="209"/>
                    <a:pt x="1985" y="202"/>
                    <a:pt x="1977" y="195"/>
                  </a:cubicBezTo>
                  <a:cubicBezTo>
                    <a:pt x="1974" y="184"/>
                    <a:pt x="1971" y="173"/>
                    <a:pt x="1969" y="162"/>
                  </a:cubicBezTo>
                  <a:cubicBezTo>
                    <a:pt x="1976" y="171"/>
                    <a:pt x="1984" y="180"/>
                    <a:pt x="1992" y="189"/>
                  </a:cubicBezTo>
                  <a:cubicBezTo>
                    <a:pt x="1994" y="198"/>
                    <a:pt x="1996" y="207"/>
                    <a:pt x="1999" y="216"/>
                  </a:cubicBezTo>
                  <a:moveTo>
                    <a:pt x="1826" y="301"/>
                  </a:moveTo>
                  <a:cubicBezTo>
                    <a:pt x="1782" y="278"/>
                    <a:pt x="1733" y="263"/>
                    <a:pt x="1680" y="253"/>
                  </a:cubicBezTo>
                  <a:cubicBezTo>
                    <a:pt x="1679" y="221"/>
                    <a:pt x="1677" y="190"/>
                    <a:pt x="1676" y="161"/>
                  </a:cubicBezTo>
                  <a:cubicBezTo>
                    <a:pt x="1731" y="174"/>
                    <a:pt x="1781" y="195"/>
                    <a:pt x="1825" y="224"/>
                  </a:cubicBezTo>
                  <a:cubicBezTo>
                    <a:pt x="1825" y="248"/>
                    <a:pt x="1826" y="274"/>
                    <a:pt x="1826" y="301"/>
                  </a:cubicBezTo>
                  <a:moveTo>
                    <a:pt x="450" y="228"/>
                  </a:moveTo>
                  <a:cubicBezTo>
                    <a:pt x="446" y="217"/>
                    <a:pt x="441" y="204"/>
                    <a:pt x="435" y="191"/>
                  </a:cubicBezTo>
                  <a:cubicBezTo>
                    <a:pt x="451" y="180"/>
                    <a:pt x="467" y="169"/>
                    <a:pt x="482" y="157"/>
                  </a:cubicBezTo>
                  <a:cubicBezTo>
                    <a:pt x="488" y="171"/>
                    <a:pt x="493" y="185"/>
                    <a:pt x="497" y="197"/>
                  </a:cubicBezTo>
                  <a:cubicBezTo>
                    <a:pt x="481" y="208"/>
                    <a:pt x="465" y="218"/>
                    <a:pt x="450" y="228"/>
                  </a:cubicBezTo>
                  <a:moveTo>
                    <a:pt x="1189" y="284"/>
                  </a:moveTo>
                  <a:cubicBezTo>
                    <a:pt x="1183" y="248"/>
                    <a:pt x="1178" y="215"/>
                    <a:pt x="1173" y="183"/>
                  </a:cubicBezTo>
                  <a:cubicBezTo>
                    <a:pt x="1221" y="171"/>
                    <a:pt x="1270" y="161"/>
                    <a:pt x="1319" y="154"/>
                  </a:cubicBezTo>
                  <a:cubicBezTo>
                    <a:pt x="1324" y="186"/>
                    <a:pt x="1328" y="220"/>
                    <a:pt x="1333" y="255"/>
                  </a:cubicBezTo>
                  <a:cubicBezTo>
                    <a:pt x="1285" y="262"/>
                    <a:pt x="1236" y="272"/>
                    <a:pt x="1189" y="284"/>
                  </a:cubicBezTo>
                  <a:moveTo>
                    <a:pt x="1986" y="358"/>
                  </a:moveTo>
                  <a:cubicBezTo>
                    <a:pt x="1956" y="330"/>
                    <a:pt x="1925" y="300"/>
                    <a:pt x="1893" y="266"/>
                  </a:cubicBezTo>
                  <a:cubicBezTo>
                    <a:pt x="1876" y="248"/>
                    <a:pt x="1856" y="232"/>
                    <a:pt x="1836" y="217"/>
                  </a:cubicBezTo>
                  <a:cubicBezTo>
                    <a:pt x="1835" y="193"/>
                    <a:pt x="1835" y="170"/>
                    <a:pt x="1835" y="150"/>
                  </a:cubicBezTo>
                  <a:cubicBezTo>
                    <a:pt x="1843" y="157"/>
                    <a:pt x="1851" y="165"/>
                    <a:pt x="1858" y="174"/>
                  </a:cubicBezTo>
                  <a:cubicBezTo>
                    <a:pt x="1902" y="225"/>
                    <a:pt x="1946" y="270"/>
                    <a:pt x="1989" y="310"/>
                  </a:cubicBezTo>
                  <a:cubicBezTo>
                    <a:pt x="1988" y="324"/>
                    <a:pt x="1987" y="341"/>
                    <a:pt x="1986" y="358"/>
                  </a:cubicBezTo>
                  <a:moveTo>
                    <a:pt x="137" y="282"/>
                  </a:moveTo>
                  <a:cubicBezTo>
                    <a:pt x="175" y="257"/>
                    <a:pt x="231" y="201"/>
                    <a:pt x="275" y="147"/>
                  </a:cubicBezTo>
                  <a:cubicBezTo>
                    <a:pt x="278" y="152"/>
                    <a:pt x="281" y="158"/>
                    <a:pt x="284" y="163"/>
                  </a:cubicBezTo>
                  <a:cubicBezTo>
                    <a:pt x="237" y="212"/>
                    <a:pt x="181" y="259"/>
                    <a:pt x="137" y="282"/>
                  </a:cubicBezTo>
                  <a:moveTo>
                    <a:pt x="1518" y="239"/>
                  </a:moveTo>
                  <a:cubicBezTo>
                    <a:pt x="1516" y="205"/>
                    <a:pt x="1513" y="172"/>
                    <a:pt x="1510" y="141"/>
                  </a:cubicBezTo>
                  <a:cubicBezTo>
                    <a:pt x="1564" y="142"/>
                    <a:pt x="1616" y="147"/>
                    <a:pt x="1664" y="158"/>
                  </a:cubicBezTo>
                  <a:cubicBezTo>
                    <a:pt x="1666" y="187"/>
                    <a:pt x="1667" y="219"/>
                    <a:pt x="1669" y="251"/>
                  </a:cubicBezTo>
                  <a:cubicBezTo>
                    <a:pt x="1623" y="243"/>
                    <a:pt x="1575" y="239"/>
                    <a:pt x="1525" y="239"/>
                  </a:cubicBezTo>
                  <a:cubicBezTo>
                    <a:pt x="1523" y="239"/>
                    <a:pt x="1521" y="239"/>
                    <a:pt x="1518" y="239"/>
                  </a:cubicBezTo>
                  <a:moveTo>
                    <a:pt x="1344" y="253"/>
                  </a:moveTo>
                  <a:cubicBezTo>
                    <a:pt x="1339" y="218"/>
                    <a:pt x="1335" y="185"/>
                    <a:pt x="1330" y="153"/>
                  </a:cubicBezTo>
                  <a:cubicBezTo>
                    <a:pt x="1386" y="145"/>
                    <a:pt x="1441" y="141"/>
                    <a:pt x="1494" y="141"/>
                  </a:cubicBezTo>
                  <a:cubicBezTo>
                    <a:pt x="1495" y="141"/>
                    <a:pt x="1497" y="141"/>
                    <a:pt x="1499" y="141"/>
                  </a:cubicBezTo>
                  <a:cubicBezTo>
                    <a:pt x="1502" y="172"/>
                    <a:pt x="1504" y="205"/>
                    <a:pt x="1507" y="239"/>
                  </a:cubicBezTo>
                  <a:cubicBezTo>
                    <a:pt x="1454" y="240"/>
                    <a:pt x="1399" y="245"/>
                    <a:pt x="1344" y="253"/>
                  </a:cubicBezTo>
                  <a:moveTo>
                    <a:pt x="540" y="322"/>
                  </a:moveTo>
                  <a:cubicBezTo>
                    <a:pt x="527" y="268"/>
                    <a:pt x="518" y="231"/>
                    <a:pt x="516" y="221"/>
                  </a:cubicBezTo>
                  <a:cubicBezTo>
                    <a:pt x="532" y="211"/>
                    <a:pt x="548" y="200"/>
                    <a:pt x="565" y="190"/>
                  </a:cubicBezTo>
                  <a:cubicBezTo>
                    <a:pt x="570" y="189"/>
                    <a:pt x="570" y="189"/>
                    <a:pt x="570" y="189"/>
                  </a:cubicBezTo>
                  <a:cubicBezTo>
                    <a:pt x="570" y="189"/>
                    <a:pt x="570" y="188"/>
                    <a:pt x="570" y="187"/>
                  </a:cubicBezTo>
                  <a:cubicBezTo>
                    <a:pt x="596" y="171"/>
                    <a:pt x="624" y="156"/>
                    <a:pt x="652" y="141"/>
                  </a:cubicBezTo>
                  <a:cubicBezTo>
                    <a:pt x="656" y="157"/>
                    <a:pt x="664" y="193"/>
                    <a:pt x="675" y="242"/>
                  </a:cubicBezTo>
                  <a:cubicBezTo>
                    <a:pt x="627" y="267"/>
                    <a:pt x="582" y="294"/>
                    <a:pt x="540" y="322"/>
                  </a:cubicBezTo>
                  <a:moveTo>
                    <a:pt x="114" y="228"/>
                  </a:moveTo>
                  <a:cubicBezTo>
                    <a:pt x="107" y="221"/>
                    <a:pt x="96" y="211"/>
                    <a:pt x="83" y="200"/>
                  </a:cubicBezTo>
                  <a:cubicBezTo>
                    <a:pt x="89" y="176"/>
                    <a:pt x="97" y="155"/>
                    <a:pt x="105" y="137"/>
                  </a:cubicBezTo>
                  <a:cubicBezTo>
                    <a:pt x="123" y="154"/>
                    <a:pt x="133" y="166"/>
                    <a:pt x="134" y="167"/>
                  </a:cubicBezTo>
                  <a:cubicBezTo>
                    <a:pt x="135" y="165"/>
                    <a:pt x="135" y="165"/>
                    <a:pt x="135" y="165"/>
                  </a:cubicBezTo>
                  <a:cubicBezTo>
                    <a:pt x="127" y="186"/>
                    <a:pt x="120" y="207"/>
                    <a:pt x="114" y="228"/>
                  </a:cubicBezTo>
                  <a:moveTo>
                    <a:pt x="451" y="157"/>
                  </a:moveTo>
                  <a:cubicBezTo>
                    <a:pt x="453" y="156"/>
                    <a:pt x="461" y="147"/>
                    <a:pt x="473" y="135"/>
                  </a:cubicBezTo>
                  <a:cubicBezTo>
                    <a:pt x="474" y="139"/>
                    <a:pt x="476" y="143"/>
                    <a:pt x="477" y="146"/>
                  </a:cubicBezTo>
                  <a:cubicBezTo>
                    <a:pt x="462" y="158"/>
                    <a:pt x="446" y="169"/>
                    <a:pt x="431" y="180"/>
                  </a:cubicBezTo>
                  <a:cubicBezTo>
                    <a:pt x="429" y="177"/>
                    <a:pt x="428" y="174"/>
                    <a:pt x="427" y="172"/>
                  </a:cubicBezTo>
                  <a:cubicBezTo>
                    <a:pt x="435" y="166"/>
                    <a:pt x="442" y="160"/>
                    <a:pt x="449" y="154"/>
                  </a:cubicBezTo>
                  <a:cubicBezTo>
                    <a:pt x="451" y="157"/>
                    <a:pt x="451" y="157"/>
                    <a:pt x="451" y="157"/>
                  </a:cubicBezTo>
                  <a:moveTo>
                    <a:pt x="567" y="176"/>
                  </a:moveTo>
                  <a:cubicBezTo>
                    <a:pt x="566" y="172"/>
                    <a:pt x="565" y="168"/>
                    <a:pt x="564" y="165"/>
                  </a:cubicBezTo>
                  <a:cubicBezTo>
                    <a:pt x="582" y="152"/>
                    <a:pt x="598" y="140"/>
                    <a:pt x="614" y="129"/>
                  </a:cubicBezTo>
                  <a:cubicBezTo>
                    <a:pt x="616" y="136"/>
                    <a:pt x="617" y="141"/>
                    <a:pt x="618" y="146"/>
                  </a:cubicBezTo>
                  <a:cubicBezTo>
                    <a:pt x="601" y="156"/>
                    <a:pt x="584" y="166"/>
                    <a:pt x="567" y="176"/>
                  </a:cubicBezTo>
                  <a:moveTo>
                    <a:pt x="2081" y="193"/>
                  </a:moveTo>
                  <a:cubicBezTo>
                    <a:pt x="2068" y="172"/>
                    <a:pt x="2056" y="150"/>
                    <a:pt x="2044" y="127"/>
                  </a:cubicBezTo>
                  <a:cubicBezTo>
                    <a:pt x="2056" y="143"/>
                    <a:pt x="2069" y="160"/>
                    <a:pt x="2084" y="178"/>
                  </a:cubicBezTo>
                  <a:cubicBezTo>
                    <a:pt x="2083" y="183"/>
                    <a:pt x="2082" y="189"/>
                    <a:pt x="2081" y="193"/>
                  </a:cubicBezTo>
                  <a:moveTo>
                    <a:pt x="370" y="198"/>
                  </a:moveTo>
                  <a:cubicBezTo>
                    <a:pt x="362" y="181"/>
                    <a:pt x="355" y="167"/>
                    <a:pt x="352" y="162"/>
                  </a:cubicBezTo>
                  <a:cubicBezTo>
                    <a:pt x="366" y="150"/>
                    <a:pt x="380" y="137"/>
                    <a:pt x="393" y="124"/>
                  </a:cubicBezTo>
                  <a:cubicBezTo>
                    <a:pt x="398" y="134"/>
                    <a:pt x="405" y="150"/>
                    <a:pt x="413" y="168"/>
                  </a:cubicBezTo>
                  <a:cubicBezTo>
                    <a:pt x="399" y="179"/>
                    <a:pt x="384" y="189"/>
                    <a:pt x="370" y="198"/>
                  </a:cubicBezTo>
                  <a:moveTo>
                    <a:pt x="132" y="271"/>
                  </a:moveTo>
                  <a:cubicBezTo>
                    <a:pt x="164" y="244"/>
                    <a:pt x="217" y="182"/>
                    <a:pt x="260" y="122"/>
                  </a:cubicBezTo>
                  <a:cubicBezTo>
                    <a:pt x="263" y="126"/>
                    <a:pt x="266" y="131"/>
                    <a:pt x="269" y="136"/>
                  </a:cubicBezTo>
                  <a:cubicBezTo>
                    <a:pt x="225" y="191"/>
                    <a:pt x="168" y="247"/>
                    <a:pt x="132" y="271"/>
                  </a:cubicBezTo>
                  <a:moveTo>
                    <a:pt x="2015" y="165"/>
                  </a:moveTo>
                  <a:cubicBezTo>
                    <a:pt x="2008" y="157"/>
                    <a:pt x="2002" y="149"/>
                    <a:pt x="1997" y="140"/>
                  </a:cubicBezTo>
                  <a:cubicBezTo>
                    <a:pt x="1996" y="132"/>
                    <a:pt x="1996" y="124"/>
                    <a:pt x="1995" y="116"/>
                  </a:cubicBezTo>
                  <a:cubicBezTo>
                    <a:pt x="2001" y="128"/>
                    <a:pt x="2007" y="140"/>
                    <a:pt x="2014" y="152"/>
                  </a:cubicBezTo>
                  <a:cubicBezTo>
                    <a:pt x="2014" y="156"/>
                    <a:pt x="2014" y="160"/>
                    <a:pt x="2015" y="165"/>
                  </a:cubicBezTo>
                  <a:moveTo>
                    <a:pt x="1971" y="213"/>
                  </a:moveTo>
                  <a:cubicBezTo>
                    <a:pt x="1942" y="184"/>
                    <a:pt x="1912" y="152"/>
                    <a:pt x="1882" y="116"/>
                  </a:cubicBezTo>
                  <a:cubicBezTo>
                    <a:pt x="1885" y="116"/>
                    <a:pt x="1885" y="116"/>
                    <a:pt x="1885" y="116"/>
                  </a:cubicBezTo>
                  <a:cubicBezTo>
                    <a:pt x="1898" y="131"/>
                    <a:pt x="1911" y="146"/>
                    <a:pt x="1925" y="162"/>
                  </a:cubicBezTo>
                  <a:cubicBezTo>
                    <a:pt x="1925" y="163"/>
                    <a:pt x="1926" y="164"/>
                    <a:pt x="1926" y="165"/>
                  </a:cubicBezTo>
                  <a:cubicBezTo>
                    <a:pt x="1928" y="164"/>
                    <a:pt x="1928" y="164"/>
                    <a:pt x="1928" y="164"/>
                  </a:cubicBezTo>
                  <a:cubicBezTo>
                    <a:pt x="1941" y="179"/>
                    <a:pt x="1955" y="194"/>
                    <a:pt x="1970" y="208"/>
                  </a:cubicBezTo>
                  <a:cubicBezTo>
                    <a:pt x="1970" y="210"/>
                    <a:pt x="1971" y="211"/>
                    <a:pt x="1971" y="213"/>
                  </a:cubicBezTo>
                  <a:moveTo>
                    <a:pt x="507" y="190"/>
                  </a:moveTo>
                  <a:cubicBezTo>
                    <a:pt x="502" y="178"/>
                    <a:pt x="497" y="164"/>
                    <a:pt x="491" y="151"/>
                  </a:cubicBezTo>
                  <a:cubicBezTo>
                    <a:pt x="507" y="139"/>
                    <a:pt x="522" y="127"/>
                    <a:pt x="536" y="115"/>
                  </a:cubicBezTo>
                  <a:cubicBezTo>
                    <a:pt x="542" y="131"/>
                    <a:pt x="547" y="146"/>
                    <a:pt x="551" y="160"/>
                  </a:cubicBezTo>
                  <a:cubicBezTo>
                    <a:pt x="537" y="170"/>
                    <a:pt x="522" y="180"/>
                    <a:pt x="507" y="190"/>
                  </a:cubicBezTo>
                  <a:moveTo>
                    <a:pt x="871" y="271"/>
                  </a:moveTo>
                  <a:cubicBezTo>
                    <a:pt x="864" y="234"/>
                    <a:pt x="858" y="199"/>
                    <a:pt x="852" y="170"/>
                  </a:cubicBezTo>
                  <a:cubicBezTo>
                    <a:pt x="865" y="164"/>
                    <a:pt x="878" y="159"/>
                    <a:pt x="891" y="154"/>
                  </a:cubicBezTo>
                  <a:cubicBezTo>
                    <a:pt x="925" y="140"/>
                    <a:pt x="961" y="127"/>
                    <a:pt x="998" y="115"/>
                  </a:cubicBezTo>
                  <a:cubicBezTo>
                    <a:pt x="1003" y="145"/>
                    <a:pt x="1008" y="179"/>
                    <a:pt x="1014" y="216"/>
                  </a:cubicBezTo>
                  <a:cubicBezTo>
                    <a:pt x="985" y="226"/>
                    <a:pt x="957" y="236"/>
                    <a:pt x="929" y="247"/>
                  </a:cubicBezTo>
                  <a:cubicBezTo>
                    <a:pt x="910" y="255"/>
                    <a:pt x="890" y="263"/>
                    <a:pt x="871" y="271"/>
                  </a:cubicBezTo>
                  <a:moveTo>
                    <a:pt x="1988" y="167"/>
                  </a:moveTo>
                  <a:cubicBezTo>
                    <a:pt x="1980" y="158"/>
                    <a:pt x="1973" y="148"/>
                    <a:pt x="1965" y="139"/>
                  </a:cubicBezTo>
                  <a:cubicBezTo>
                    <a:pt x="1964" y="129"/>
                    <a:pt x="1963" y="120"/>
                    <a:pt x="1963" y="111"/>
                  </a:cubicBezTo>
                  <a:cubicBezTo>
                    <a:pt x="1970" y="122"/>
                    <a:pt x="1978" y="133"/>
                    <a:pt x="1985" y="144"/>
                  </a:cubicBezTo>
                  <a:cubicBezTo>
                    <a:pt x="1986" y="152"/>
                    <a:pt x="1987" y="159"/>
                    <a:pt x="1988" y="167"/>
                  </a:cubicBezTo>
                  <a:moveTo>
                    <a:pt x="129" y="219"/>
                  </a:moveTo>
                  <a:cubicBezTo>
                    <a:pt x="140" y="180"/>
                    <a:pt x="156" y="143"/>
                    <a:pt x="175" y="110"/>
                  </a:cubicBezTo>
                  <a:cubicBezTo>
                    <a:pt x="171" y="136"/>
                    <a:pt x="168" y="153"/>
                    <a:pt x="168" y="153"/>
                  </a:cubicBezTo>
                  <a:cubicBezTo>
                    <a:pt x="171" y="154"/>
                    <a:pt x="171" y="154"/>
                    <a:pt x="171" y="154"/>
                  </a:cubicBezTo>
                  <a:cubicBezTo>
                    <a:pt x="155" y="179"/>
                    <a:pt x="140" y="202"/>
                    <a:pt x="129" y="219"/>
                  </a:cubicBezTo>
                  <a:moveTo>
                    <a:pt x="1961" y="179"/>
                  </a:moveTo>
                  <a:cubicBezTo>
                    <a:pt x="1952" y="170"/>
                    <a:pt x="1943" y="160"/>
                    <a:pt x="1934" y="150"/>
                  </a:cubicBezTo>
                  <a:cubicBezTo>
                    <a:pt x="1931" y="136"/>
                    <a:pt x="1929" y="123"/>
                    <a:pt x="1927" y="109"/>
                  </a:cubicBezTo>
                  <a:cubicBezTo>
                    <a:pt x="1936" y="121"/>
                    <a:pt x="1945" y="132"/>
                    <a:pt x="1954" y="144"/>
                  </a:cubicBezTo>
                  <a:cubicBezTo>
                    <a:pt x="1956" y="155"/>
                    <a:pt x="1958" y="167"/>
                    <a:pt x="1961" y="179"/>
                  </a:cubicBezTo>
                  <a:moveTo>
                    <a:pt x="307" y="186"/>
                  </a:moveTo>
                  <a:cubicBezTo>
                    <a:pt x="304" y="179"/>
                    <a:pt x="301" y="172"/>
                    <a:pt x="298" y="166"/>
                  </a:cubicBezTo>
                  <a:cubicBezTo>
                    <a:pt x="318" y="144"/>
                    <a:pt x="336" y="122"/>
                    <a:pt x="351" y="103"/>
                  </a:cubicBezTo>
                  <a:cubicBezTo>
                    <a:pt x="351" y="102"/>
                    <a:pt x="351" y="102"/>
                    <a:pt x="351" y="102"/>
                  </a:cubicBezTo>
                  <a:cubicBezTo>
                    <a:pt x="356" y="113"/>
                    <a:pt x="359" y="124"/>
                    <a:pt x="360" y="134"/>
                  </a:cubicBezTo>
                  <a:cubicBezTo>
                    <a:pt x="366" y="134"/>
                    <a:pt x="366" y="134"/>
                    <a:pt x="366" y="134"/>
                  </a:cubicBezTo>
                  <a:cubicBezTo>
                    <a:pt x="347" y="152"/>
                    <a:pt x="327" y="169"/>
                    <a:pt x="307" y="186"/>
                  </a:cubicBezTo>
                  <a:moveTo>
                    <a:pt x="73" y="192"/>
                  </a:moveTo>
                  <a:cubicBezTo>
                    <a:pt x="61" y="183"/>
                    <a:pt x="46" y="173"/>
                    <a:pt x="29" y="163"/>
                  </a:cubicBezTo>
                  <a:cubicBezTo>
                    <a:pt x="38" y="140"/>
                    <a:pt x="47" y="119"/>
                    <a:pt x="57" y="101"/>
                  </a:cubicBezTo>
                  <a:cubicBezTo>
                    <a:pt x="72" y="111"/>
                    <a:pt x="85" y="121"/>
                    <a:pt x="96" y="130"/>
                  </a:cubicBezTo>
                  <a:cubicBezTo>
                    <a:pt x="87" y="148"/>
                    <a:pt x="80" y="168"/>
                    <a:pt x="73" y="192"/>
                  </a:cubicBezTo>
                  <a:moveTo>
                    <a:pt x="126" y="261"/>
                  </a:moveTo>
                  <a:cubicBezTo>
                    <a:pt x="152" y="233"/>
                    <a:pt x="203" y="165"/>
                    <a:pt x="246" y="98"/>
                  </a:cubicBezTo>
                  <a:cubicBezTo>
                    <a:pt x="248" y="102"/>
                    <a:pt x="251" y="106"/>
                    <a:pt x="254" y="112"/>
                  </a:cubicBezTo>
                  <a:cubicBezTo>
                    <a:pt x="211" y="173"/>
                    <a:pt x="156" y="235"/>
                    <a:pt x="126" y="261"/>
                  </a:cubicBezTo>
                  <a:moveTo>
                    <a:pt x="628" y="141"/>
                  </a:moveTo>
                  <a:cubicBezTo>
                    <a:pt x="627" y="135"/>
                    <a:pt x="626" y="129"/>
                    <a:pt x="624" y="122"/>
                  </a:cubicBezTo>
                  <a:cubicBezTo>
                    <a:pt x="641" y="110"/>
                    <a:pt x="656" y="98"/>
                    <a:pt x="669" y="88"/>
                  </a:cubicBezTo>
                  <a:cubicBezTo>
                    <a:pt x="672" y="99"/>
                    <a:pt x="674" y="108"/>
                    <a:pt x="676" y="115"/>
                  </a:cubicBezTo>
                  <a:cubicBezTo>
                    <a:pt x="660" y="124"/>
                    <a:pt x="644" y="132"/>
                    <a:pt x="628" y="141"/>
                  </a:cubicBezTo>
                  <a:moveTo>
                    <a:pt x="238" y="90"/>
                  </a:moveTo>
                  <a:cubicBezTo>
                    <a:pt x="238" y="89"/>
                    <a:pt x="238" y="88"/>
                    <a:pt x="238" y="87"/>
                  </a:cubicBezTo>
                  <a:cubicBezTo>
                    <a:pt x="239" y="88"/>
                    <a:pt x="239" y="88"/>
                    <a:pt x="239" y="88"/>
                  </a:cubicBezTo>
                  <a:cubicBezTo>
                    <a:pt x="239" y="89"/>
                    <a:pt x="238" y="90"/>
                    <a:pt x="238" y="90"/>
                  </a:cubicBezTo>
                  <a:moveTo>
                    <a:pt x="123" y="248"/>
                  </a:moveTo>
                  <a:cubicBezTo>
                    <a:pt x="142" y="220"/>
                    <a:pt x="188" y="152"/>
                    <a:pt x="228" y="83"/>
                  </a:cubicBezTo>
                  <a:cubicBezTo>
                    <a:pt x="227" y="87"/>
                    <a:pt x="226" y="91"/>
                    <a:pt x="225" y="96"/>
                  </a:cubicBezTo>
                  <a:cubicBezTo>
                    <a:pt x="233" y="98"/>
                    <a:pt x="233" y="98"/>
                    <a:pt x="233" y="98"/>
                  </a:cubicBezTo>
                  <a:cubicBezTo>
                    <a:pt x="193" y="159"/>
                    <a:pt x="147" y="221"/>
                    <a:pt x="123" y="248"/>
                  </a:cubicBezTo>
                  <a:moveTo>
                    <a:pt x="487" y="139"/>
                  </a:moveTo>
                  <a:cubicBezTo>
                    <a:pt x="485" y="135"/>
                    <a:pt x="483" y="130"/>
                    <a:pt x="481" y="126"/>
                  </a:cubicBezTo>
                  <a:cubicBezTo>
                    <a:pt x="493" y="113"/>
                    <a:pt x="508" y="97"/>
                    <a:pt x="524" y="80"/>
                  </a:cubicBezTo>
                  <a:cubicBezTo>
                    <a:pt x="527" y="88"/>
                    <a:pt x="530" y="96"/>
                    <a:pt x="532" y="104"/>
                  </a:cubicBezTo>
                  <a:cubicBezTo>
                    <a:pt x="518" y="116"/>
                    <a:pt x="503" y="128"/>
                    <a:pt x="487" y="139"/>
                  </a:cubicBezTo>
                  <a:moveTo>
                    <a:pt x="1989" y="295"/>
                  </a:moveTo>
                  <a:cubicBezTo>
                    <a:pt x="1949" y="257"/>
                    <a:pt x="1908" y="214"/>
                    <a:pt x="1866" y="166"/>
                  </a:cubicBezTo>
                  <a:cubicBezTo>
                    <a:pt x="1856" y="154"/>
                    <a:pt x="1846" y="144"/>
                    <a:pt x="1835" y="134"/>
                  </a:cubicBezTo>
                  <a:cubicBezTo>
                    <a:pt x="1834" y="110"/>
                    <a:pt x="1834" y="90"/>
                    <a:pt x="1834" y="77"/>
                  </a:cubicBezTo>
                  <a:cubicBezTo>
                    <a:pt x="1888" y="145"/>
                    <a:pt x="1941" y="202"/>
                    <a:pt x="1992" y="249"/>
                  </a:cubicBezTo>
                  <a:cubicBezTo>
                    <a:pt x="1991" y="259"/>
                    <a:pt x="1990" y="275"/>
                    <a:pt x="1989" y="295"/>
                  </a:cubicBezTo>
                  <a:moveTo>
                    <a:pt x="1025" y="213"/>
                  </a:moveTo>
                  <a:cubicBezTo>
                    <a:pt x="1019" y="175"/>
                    <a:pt x="1013" y="141"/>
                    <a:pt x="1008" y="111"/>
                  </a:cubicBezTo>
                  <a:cubicBezTo>
                    <a:pt x="1053" y="97"/>
                    <a:pt x="1098" y="84"/>
                    <a:pt x="1144" y="73"/>
                  </a:cubicBezTo>
                  <a:cubicBezTo>
                    <a:pt x="1149" y="102"/>
                    <a:pt x="1154" y="136"/>
                    <a:pt x="1160" y="174"/>
                  </a:cubicBezTo>
                  <a:cubicBezTo>
                    <a:pt x="1114" y="185"/>
                    <a:pt x="1069" y="198"/>
                    <a:pt x="1025" y="213"/>
                  </a:cubicBezTo>
                  <a:moveTo>
                    <a:pt x="422" y="161"/>
                  </a:moveTo>
                  <a:cubicBezTo>
                    <a:pt x="414" y="142"/>
                    <a:pt x="406" y="125"/>
                    <a:pt x="402" y="116"/>
                  </a:cubicBezTo>
                  <a:cubicBezTo>
                    <a:pt x="417" y="101"/>
                    <a:pt x="431" y="87"/>
                    <a:pt x="445" y="72"/>
                  </a:cubicBezTo>
                  <a:cubicBezTo>
                    <a:pt x="450" y="83"/>
                    <a:pt x="458" y="101"/>
                    <a:pt x="467" y="122"/>
                  </a:cubicBezTo>
                  <a:cubicBezTo>
                    <a:pt x="452" y="136"/>
                    <a:pt x="437" y="149"/>
                    <a:pt x="422" y="161"/>
                  </a:cubicBezTo>
                  <a:moveTo>
                    <a:pt x="1880" y="114"/>
                  </a:moveTo>
                  <a:cubicBezTo>
                    <a:pt x="1867" y="99"/>
                    <a:pt x="1854" y="84"/>
                    <a:pt x="1841" y="68"/>
                  </a:cubicBezTo>
                  <a:cubicBezTo>
                    <a:pt x="1846" y="67"/>
                    <a:pt x="1846" y="67"/>
                    <a:pt x="1846" y="67"/>
                  </a:cubicBezTo>
                  <a:cubicBezTo>
                    <a:pt x="1846" y="66"/>
                    <a:pt x="1846" y="66"/>
                    <a:pt x="1846" y="66"/>
                  </a:cubicBezTo>
                  <a:cubicBezTo>
                    <a:pt x="1856" y="80"/>
                    <a:pt x="1867" y="94"/>
                    <a:pt x="1879" y="108"/>
                  </a:cubicBezTo>
                  <a:cubicBezTo>
                    <a:pt x="1879" y="110"/>
                    <a:pt x="1879" y="112"/>
                    <a:pt x="1880" y="114"/>
                  </a:cubicBezTo>
                  <a:moveTo>
                    <a:pt x="292" y="155"/>
                  </a:moveTo>
                  <a:cubicBezTo>
                    <a:pt x="289" y="149"/>
                    <a:pt x="286" y="143"/>
                    <a:pt x="283" y="137"/>
                  </a:cubicBezTo>
                  <a:cubicBezTo>
                    <a:pt x="303" y="112"/>
                    <a:pt x="320" y="87"/>
                    <a:pt x="332" y="65"/>
                  </a:cubicBezTo>
                  <a:cubicBezTo>
                    <a:pt x="337" y="73"/>
                    <a:pt x="342" y="81"/>
                    <a:pt x="346" y="90"/>
                  </a:cubicBezTo>
                  <a:cubicBezTo>
                    <a:pt x="344" y="91"/>
                    <a:pt x="343" y="94"/>
                    <a:pt x="342" y="95"/>
                  </a:cubicBezTo>
                  <a:cubicBezTo>
                    <a:pt x="328" y="114"/>
                    <a:pt x="311" y="134"/>
                    <a:pt x="292" y="155"/>
                  </a:cubicBezTo>
                  <a:moveTo>
                    <a:pt x="561" y="153"/>
                  </a:moveTo>
                  <a:cubicBezTo>
                    <a:pt x="556" y="139"/>
                    <a:pt x="551" y="123"/>
                    <a:pt x="546" y="108"/>
                  </a:cubicBezTo>
                  <a:cubicBezTo>
                    <a:pt x="563" y="93"/>
                    <a:pt x="578" y="79"/>
                    <a:pt x="593" y="65"/>
                  </a:cubicBezTo>
                  <a:cubicBezTo>
                    <a:pt x="599" y="83"/>
                    <a:pt x="606" y="102"/>
                    <a:pt x="611" y="117"/>
                  </a:cubicBezTo>
                  <a:cubicBezTo>
                    <a:pt x="595" y="129"/>
                    <a:pt x="578" y="141"/>
                    <a:pt x="561" y="153"/>
                  </a:cubicBezTo>
                  <a:moveTo>
                    <a:pt x="813" y="67"/>
                  </a:moveTo>
                  <a:cubicBezTo>
                    <a:pt x="813" y="66"/>
                    <a:pt x="813" y="66"/>
                    <a:pt x="813" y="66"/>
                  </a:cubicBezTo>
                  <a:cubicBezTo>
                    <a:pt x="813" y="65"/>
                    <a:pt x="813" y="65"/>
                    <a:pt x="813" y="64"/>
                  </a:cubicBezTo>
                  <a:cubicBezTo>
                    <a:pt x="816" y="63"/>
                    <a:pt x="818" y="62"/>
                    <a:pt x="821" y="60"/>
                  </a:cubicBezTo>
                  <a:cubicBezTo>
                    <a:pt x="823" y="73"/>
                    <a:pt x="830" y="110"/>
                    <a:pt x="840" y="162"/>
                  </a:cubicBezTo>
                  <a:cubicBezTo>
                    <a:pt x="786" y="185"/>
                    <a:pt x="734" y="210"/>
                    <a:pt x="685" y="236"/>
                  </a:cubicBezTo>
                  <a:cubicBezTo>
                    <a:pt x="673" y="186"/>
                    <a:pt x="665" y="149"/>
                    <a:pt x="662" y="135"/>
                  </a:cubicBezTo>
                  <a:cubicBezTo>
                    <a:pt x="709" y="111"/>
                    <a:pt x="758" y="87"/>
                    <a:pt x="809" y="65"/>
                  </a:cubicBezTo>
                  <a:cubicBezTo>
                    <a:pt x="813" y="67"/>
                    <a:pt x="813" y="67"/>
                    <a:pt x="813" y="67"/>
                  </a:cubicBezTo>
                  <a:moveTo>
                    <a:pt x="1825" y="210"/>
                  </a:moveTo>
                  <a:cubicBezTo>
                    <a:pt x="1781" y="182"/>
                    <a:pt x="1730" y="161"/>
                    <a:pt x="1675" y="148"/>
                  </a:cubicBezTo>
                  <a:cubicBezTo>
                    <a:pt x="1674" y="116"/>
                    <a:pt x="1672" y="85"/>
                    <a:pt x="1671" y="58"/>
                  </a:cubicBezTo>
                  <a:cubicBezTo>
                    <a:pt x="1729" y="76"/>
                    <a:pt x="1781" y="102"/>
                    <a:pt x="1823" y="140"/>
                  </a:cubicBezTo>
                  <a:cubicBezTo>
                    <a:pt x="1824" y="160"/>
                    <a:pt x="1824" y="184"/>
                    <a:pt x="1825" y="210"/>
                  </a:cubicBezTo>
                  <a:moveTo>
                    <a:pt x="686" y="110"/>
                  </a:moveTo>
                  <a:cubicBezTo>
                    <a:pt x="685" y="102"/>
                    <a:pt x="682" y="92"/>
                    <a:pt x="679" y="81"/>
                  </a:cubicBezTo>
                  <a:cubicBezTo>
                    <a:pt x="687" y="74"/>
                    <a:pt x="694" y="68"/>
                    <a:pt x="699" y="63"/>
                  </a:cubicBezTo>
                  <a:cubicBezTo>
                    <a:pt x="703" y="60"/>
                    <a:pt x="706" y="58"/>
                    <a:pt x="709" y="55"/>
                  </a:cubicBezTo>
                  <a:cubicBezTo>
                    <a:pt x="725" y="91"/>
                    <a:pt x="725" y="91"/>
                    <a:pt x="725" y="91"/>
                  </a:cubicBezTo>
                  <a:cubicBezTo>
                    <a:pt x="712" y="97"/>
                    <a:pt x="699" y="104"/>
                    <a:pt x="686" y="110"/>
                  </a:cubicBezTo>
                  <a:moveTo>
                    <a:pt x="2013" y="126"/>
                  </a:moveTo>
                  <a:cubicBezTo>
                    <a:pt x="2007" y="115"/>
                    <a:pt x="2001" y="103"/>
                    <a:pt x="1996" y="91"/>
                  </a:cubicBezTo>
                  <a:cubicBezTo>
                    <a:pt x="1996" y="77"/>
                    <a:pt x="1998" y="64"/>
                    <a:pt x="1999" y="54"/>
                  </a:cubicBezTo>
                  <a:cubicBezTo>
                    <a:pt x="2001" y="58"/>
                    <a:pt x="2002" y="62"/>
                    <a:pt x="2004" y="66"/>
                  </a:cubicBezTo>
                  <a:cubicBezTo>
                    <a:pt x="2008" y="75"/>
                    <a:pt x="2011" y="84"/>
                    <a:pt x="2015" y="93"/>
                  </a:cubicBezTo>
                  <a:cubicBezTo>
                    <a:pt x="2014" y="99"/>
                    <a:pt x="2013" y="111"/>
                    <a:pt x="2013" y="126"/>
                  </a:cubicBezTo>
                  <a:moveTo>
                    <a:pt x="1919" y="134"/>
                  </a:moveTo>
                  <a:cubicBezTo>
                    <a:pt x="1909" y="123"/>
                    <a:pt x="1899" y="111"/>
                    <a:pt x="1889" y="99"/>
                  </a:cubicBezTo>
                  <a:cubicBezTo>
                    <a:pt x="1887" y="84"/>
                    <a:pt x="1886" y="68"/>
                    <a:pt x="1886" y="53"/>
                  </a:cubicBezTo>
                  <a:cubicBezTo>
                    <a:pt x="1886" y="53"/>
                    <a:pt x="1886" y="52"/>
                    <a:pt x="1886" y="51"/>
                  </a:cubicBezTo>
                  <a:cubicBezTo>
                    <a:pt x="1895" y="65"/>
                    <a:pt x="1905" y="78"/>
                    <a:pt x="1915" y="92"/>
                  </a:cubicBezTo>
                  <a:cubicBezTo>
                    <a:pt x="1915" y="106"/>
                    <a:pt x="1917" y="120"/>
                    <a:pt x="1919" y="134"/>
                  </a:cubicBezTo>
                  <a:moveTo>
                    <a:pt x="1952" y="122"/>
                  </a:moveTo>
                  <a:cubicBezTo>
                    <a:pt x="1943" y="111"/>
                    <a:pt x="1934" y="99"/>
                    <a:pt x="1926" y="88"/>
                  </a:cubicBezTo>
                  <a:cubicBezTo>
                    <a:pt x="1926" y="83"/>
                    <a:pt x="1926" y="78"/>
                    <a:pt x="1926" y="73"/>
                  </a:cubicBezTo>
                  <a:cubicBezTo>
                    <a:pt x="1926" y="65"/>
                    <a:pt x="1926" y="58"/>
                    <a:pt x="1926" y="50"/>
                  </a:cubicBezTo>
                  <a:cubicBezTo>
                    <a:pt x="1934" y="63"/>
                    <a:pt x="1942" y="78"/>
                    <a:pt x="1951" y="92"/>
                  </a:cubicBezTo>
                  <a:cubicBezTo>
                    <a:pt x="1951" y="102"/>
                    <a:pt x="1951" y="112"/>
                    <a:pt x="1952" y="122"/>
                  </a:cubicBezTo>
                  <a:moveTo>
                    <a:pt x="1984" y="122"/>
                  </a:moveTo>
                  <a:cubicBezTo>
                    <a:pt x="1976" y="111"/>
                    <a:pt x="1969" y="100"/>
                    <a:pt x="1962" y="89"/>
                  </a:cubicBezTo>
                  <a:cubicBezTo>
                    <a:pt x="1962" y="75"/>
                    <a:pt x="1963" y="62"/>
                    <a:pt x="1964" y="49"/>
                  </a:cubicBezTo>
                  <a:cubicBezTo>
                    <a:pt x="1971" y="64"/>
                    <a:pt x="1977" y="79"/>
                    <a:pt x="1984" y="93"/>
                  </a:cubicBezTo>
                  <a:cubicBezTo>
                    <a:pt x="1984" y="99"/>
                    <a:pt x="1984" y="105"/>
                    <a:pt x="1984" y="111"/>
                  </a:cubicBezTo>
                  <a:cubicBezTo>
                    <a:pt x="1984" y="114"/>
                    <a:pt x="1984" y="118"/>
                    <a:pt x="1984" y="122"/>
                  </a:cubicBezTo>
                  <a:moveTo>
                    <a:pt x="1171" y="171"/>
                  </a:moveTo>
                  <a:cubicBezTo>
                    <a:pt x="1165" y="134"/>
                    <a:pt x="1160" y="100"/>
                    <a:pt x="1155" y="70"/>
                  </a:cubicBezTo>
                  <a:cubicBezTo>
                    <a:pt x="1204" y="58"/>
                    <a:pt x="1254" y="49"/>
                    <a:pt x="1304" y="42"/>
                  </a:cubicBezTo>
                  <a:cubicBezTo>
                    <a:pt x="1308" y="72"/>
                    <a:pt x="1313" y="106"/>
                    <a:pt x="1318" y="143"/>
                  </a:cubicBezTo>
                  <a:cubicBezTo>
                    <a:pt x="1269" y="150"/>
                    <a:pt x="1219" y="159"/>
                    <a:pt x="1171" y="171"/>
                  </a:cubicBezTo>
                  <a:moveTo>
                    <a:pt x="277" y="127"/>
                  </a:moveTo>
                  <a:cubicBezTo>
                    <a:pt x="274" y="121"/>
                    <a:pt x="271" y="116"/>
                    <a:pt x="268" y="112"/>
                  </a:cubicBezTo>
                  <a:cubicBezTo>
                    <a:pt x="286" y="85"/>
                    <a:pt x="301" y="60"/>
                    <a:pt x="312" y="38"/>
                  </a:cubicBezTo>
                  <a:cubicBezTo>
                    <a:pt x="316" y="43"/>
                    <a:pt x="321" y="49"/>
                    <a:pt x="325" y="55"/>
                  </a:cubicBezTo>
                  <a:cubicBezTo>
                    <a:pt x="314" y="76"/>
                    <a:pt x="297" y="101"/>
                    <a:pt x="277" y="127"/>
                  </a:cubicBezTo>
                  <a:moveTo>
                    <a:pt x="1664" y="146"/>
                  </a:moveTo>
                  <a:cubicBezTo>
                    <a:pt x="1615" y="135"/>
                    <a:pt x="1563" y="130"/>
                    <a:pt x="1509" y="129"/>
                  </a:cubicBezTo>
                  <a:cubicBezTo>
                    <a:pt x="1507" y="94"/>
                    <a:pt x="1504" y="61"/>
                    <a:pt x="1502" y="32"/>
                  </a:cubicBezTo>
                  <a:cubicBezTo>
                    <a:pt x="1557" y="34"/>
                    <a:pt x="1611" y="41"/>
                    <a:pt x="1660" y="55"/>
                  </a:cubicBezTo>
                  <a:cubicBezTo>
                    <a:pt x="1661" y="82"/>
                    <a:pt x="1662" y="113"/>
                    <a:pt x="1664" y="146"/>
                  </a:cubicBezTo>
                  <a:moveTo>
                    <a:pt x="1329" y="141"/>
                  </a:moveTo>
                  <a:cubicBezTo>
                    <a:pt x="1324" y="104"/>
                    <a:pt x="1319" y="70"/>
                    <a:pt x="1315" y="41"/>
                  </a:cubicBezTo>
                  <a:cubicBezTo>
                    <a:pt x="1365" y="34"/>
                    <a:pt x="1415" y="31"/>
                    <a:pt x="1463" y="31"/>
                  </a:cubicBezTo>
                  <a:cubicBezTo>
                    <a:pt x="1472" y="31"/>
                    <a:pt x="1481" y="31"/>
                    <a:pt x="1490" y="31"/>
                  </a:cubicBezTo>
                  <a:cubicBezTo>
                    <a:pt x="1493" y="60"/>
                    <a:pt x="1495" y="93"/>
                    <a:pt x="1498" y="129"/>
                  </a:cubicBezTo>
                  <a:cubicBezTo>
                    <a:pt x="1497" y="129"/>
                    <a:pt x="1495" y="129"/>
                    <a:pt x="1493" y="129"/>
                  </a:cubicBezTo>
                  <a:cubicBezTo>
                    <a:pt x="1440" y="129"/>
                    <a:pt x="1384" y="133"/>
                    <a:pt x="1329" y="141"/>
                  </a:cubicBezTo>
                  <a:moveTo>
                    <a:pt x="101" y="118"/>
                  </a:moveTo>
                  <a:cubicBezTo>
                    <a:pt x="90" y="108"/>
                    <a:pt x="77" y="99"/>
                    <a:pt x="63" y="89"/>
                  </a:cubicBezTo>
                  <a:cubicBezTo>
                    <a:pt x="65" y="85"/>
                    <a:pt x="68" y="80"/>
                    <a:pt x="70" y="76"/>
                  </a:cubicBezTo>
                  <a:cubicBezTo>
                    <a:pt x="79" y="59"/>
                    <a:pt x="88" y="42"/>
                    <a:pt x="96" y="24"/>
                  </a:cubicBezTo>
                  <a:cubicBezTo>
                    <a:pt x="119" y="43"/>
                    <a:pt x="131" y="58"/>
                    <a:pt x="133" y="61"/>
                  </a:cubicBezTo>
                  <a:cubicBezTo>
                    <a:pt x="132" y="63"/>
                    <a:pt x="130" y="66"/>
                    <a:pt x="129" y="69"/>
                  </a:cubicBezTo>
                  <a:cubicBezTo>
                    <a:pt x="120" y="84"/>
                    <a:pt x="110" y="100"/>
                    <a:pt x="101" y="118"/>
                  </a:cubicBezTo>
                  <a:moveTo>
                    <a:pt x="542" y="96"/>
                  </a:moveTo>
                  <a:cubicBezTo>
                    <a:pt x="539" y="87"/>
                    <a:pt x="535" y="79"/>
                    <a:pt x="532" y="70"/>
                  </a:cubicBezTo>
                  <a:cubicBezTo>
                    <a:pt x="547" y="54"/>
                    <a:pt x="562" y="38"/>
                    <a:pt x="576" y="21"/>
                  </a:cubicBezTo>
                  <a:cubicBezTo>
                    <a:pt x="580" y="31"/>
                    <a:pt x="584" y="42"/>
                    <a:pt x="588" y="53"/>
                  </a:cubicBezTo>
                  <a:cubicBezTo>
                    <a:pt x="574" y="67"/>
                    <a:pt x="558" y="82"/>
                    <a:pt x="542" y="96"/>
                  </a:cubicBezTo>
                  <a:moveTo>
                    <a:pt x="736" y="86"/>
                  </a:moveTo>
                  <a:cubicBezTo>
                    <a:pt x="719" y="48"/>
                    <a:pt x="719" y="48"/>
                    <a:pt x="719" y="48"/>
                  </a:cubicBezTo>
                  <a:cubicBezTo>
                    <a:pt x="738" y="34"/>
                    <a:pt x="760" y="25"/>
                    <a:pt x="785" y="17"/>
                  </a:cubicBezTo>
                  <a:cubicBezTo>
                    <a:pt x="792" y="35"/>
                    <a:pt x="798" y="49"/>
                    <a:pt x="800" y="57"/>
                  </a:cubicBezTo>
                  <a:cubicBezTo>
                    <a:pt x="779" y="66"/>
                    <a:pt x="757" y="76"/>
                    <a:pt x="736" y="86"/>
                  </a:cubicBezTo>
                  <a:moveTo>
                    <a:pt x="261" y="101"/>
                  </a:moveTo>
                  <a:cubicBezTo>
                    <a:pt x="258" y="96"/>
                    <a:pt x="255" y="91"/>
                    <a:pt x="252" y="87"/>
                  </a:cubicBezTo>
                  <a:cubicBezTo>
                    <a:pt x="268" y="62"/>
                    <a:pt x="282" y="37"/>
                    <a:pt x="293" y="14"/>
                  </a:cubicBezTo>
                  <a:cubicBezTo>
                    <a:pt x="296" y="18"/>
                    <a:pt x="300" y="23"/>
                    <a:pt x="305" y="28"/>
                  </a:cubicBezTo>
                  <a:cubicBezTo>
                    <a:pt x="295" y="50"/>
                    <a:pt x="279" y="75"/>
                    <a:pt x="261" y="101"/>
                  </a:cubicBezTo>
                  <a:moveTo>
                    <a:pt x="476" y="113"/>
                  </a:moveTo>
                  <a:cubicBezTo>
                    <a:pt x="466" y="91"/>
                    <a:pt x="458" y="73"/>
                    <a:pt x="453" y="64"/>
                  </a:cubicBezTo>
                  <a:cubicBezTo>
                    <a:pt x="469" y="47"/>
                    <a:pt x="484" y="30"/>
                    <a:pt x="499" y="14"/>
                  </a:cubicBezTo>
                  <a:cubicBezTo>
                    <a:pt x="503" y="24"/>
                    <a:pt x="510" y="43"/>
                    <a:pt x="519" y="66"/>
                  </a:cubicBezTo>
                  <a:cubicBezTo>
                    <a:pt x="505" y="83"/>
                    <a:pt x="490" y="99"/>
                    <a:pt x="476" y="113"/>
                  </a:cubicBezTo>
                  <a:moveTo>
                    <a:pt x="353" y="79"/>
                  </a:moveTo>
                  <a:cubicBezTo>
                    <a:pt x="348" y="70"/>
                    <a:pt x="343" y="62"/>
                    <a:pt x="338" y="54"/>
                  </a:cubicBezTo>
                  <a:cubicBezTo>
                    <a:pt x="338" y="53"/>
                    <a:pt x="338" y="53"/>
                    <a:pt x="338" y="53"/>
                  </a:cubicBezTo>
                  <a:cubicBezTo>
                    <a:pt x="342" y="45"/>
                    <a:pt x="345" y="37"/>
                    <a:pt x="349" y="28"/>
                  </a:cubicBezTo>
                  <a:cubicBezTo>
                    <a:pt x="352" y="21"/>
                    <a:pt x="356" y="13"/>
                    <a:pt x="359" y="6"/>
                  </a:cubicBezTo>
                  <a:cubicBezTo>
                    <a:pt x="365" y="18"/>
                    <a:pt x="372" y="30"/>
                    <a:pt x="378" y="41"/>
                  </a:cubicBezTo>
                  <a:cubicBezTo>
                    <a:pt x="375" y="45"/>
                    <a:pt x="372" y="50"/>
                    <a:pt x="369" y="54"/>
                  </a:cubicBezTo>
                  <a:cubicBezTo>
                    <a:pt x="364" y="62"/>
                    <a:pt x="358" y="71"/>
                    <a:pt x="353" y="79"/>
                  </a:cubicBezTo>
                  <a:moveTo>
                    <a:pt x="405" y="91"/>
                  </a:moveTo>
                  <a:cubicBezTo>
                    <a:pt x="415" y="85"/>
                    <a:pt x="415" y="85"/>
                    <a:pt x="415" y="85"/>
                  </a:cubicBezTo>
                  <a:cubicBezTo>
                    <a:pt x="408" y="73"/>
                    <a:pt x="400" y="58"/>
                    <a:pt x="391" y="41"/>
                  </a:cubicBezTo>
                  <a:cubicBezTo>
                    <a:pt x="400" y="28"/>
                    <a:pt x="409" y="15"/>
                    <a:pt x="417" y="5"/>
                  </a:cubicBezTo>
                  <a:cubicBezTo>
                    <a:pt x="429" y="21"/>
                    <a:pt x="441" y="35"/>
                    <a:pt x="454" y="46"/>
                  </a:cubicBezTo>
                  <a:cubicBezTo>
                    <a:pt x="427" y="73"/>
                    <a:pt x="399" y="102"/>
                    <a:pt x="370" y="129"/>
                  </a:cubicBezTo>
                  <a:cubicBezTo>
                    <a:pt x="369" y="117"/>
                    <a:pt x="365" y="104"/>
                    <a:pt x="359" y="91"/>
                  </a:cubicBezTo>
                  <a:cubicBezTo>
                    <a:pt x="365" y="81"/>
                    <a:pt x="372" y="71"/>
                    <a:pt x="378" y="61"/>
                  </a:cubicBezTo>
                  <a:cubicBezTo>
                    <a:pt x="380" y="58"/>
                    <a:pt x="382" y="55"/>
                    <a:pt x="384" y="52"/>
                  </a:cubicBezTo>
                  <a:cubicBezTo>
                    <a:pt x="392" y="67"/>
                    <a:pt x="399" y="80"/>
                    <a:pt x="405" y="91"/>
                  </a:cubicBezTo>
                  <a:moveTo>
                    <a:pt x="620" y="110"/>
                  </a:moveTo>
                  <a:cubicBezTo>
                    <a:pt x="615" y="94"/>
                    <a:pt x="608" y="75"/>
                    <a:pt x="601" y="56"/>
                  </a:cubicBezTo>
                  <a:cubicBezTo>
                    <a:pt x="617" y="39"/>
                    <a:pt x="631" y="22"/>
                    <a:pt x="642" y="5"/>
                  </a:cubicBezTo>
                  <a:cubicBezTo>
                    <a:pt x="650" y="29"/>
                    <a:pt x="659" y="54"/>
                    <a:pt x="666" y="76"/>
                  </a:cubicBezTo>
                  <a:cubicBezTo>
                    <a:pt x="653" y="86"/>
                    <a:pt x="638" y="98"/>
                    <a:pt x="620" y="110"/>
                  </a:cubicBezTo>
                  <a:moveTo>
                    <a:pt x="2071" y="85"/>
                  </a:moveTo>
                  <a:cubicBezTo>
                    <a:pt x="2063" y="73"/>
                    <a:pt x="2055" y="61"/>
                    <a:pt x="2047" y="50"/>
                  </a:cubicBezTo>
                  <a:cubicBezTo>
                    <a:pt x="2047" y="45"/>
                    <a:pt x="2046" y="38"/>
                    <a:pt x="2046" y="29"/>
                  </a:cubicBezTo>
                  <a:cubicBezTo>
                    <a:pt x="2046" y="21"/>
                    <a:pt x="2047" y="12"/>
                    <a:pt x="2047" y="2"/>
                  </a:cubicBezTo>
                  <a:cubicBezTo>
                    <a:pt x="2057" y="17"/>
                    <a:pt x="2066" y="31"/>
                    <a:pt x="2076" y="45"/>
                  </a:cubicBezTo>
                  <a:cubicBezTo>
                    <a:pt x="2073" y="60"/>
                    <a:pt x="2072" y="74"/>
                    <a:pt x="2071" y="85"/>
                  </a:cubicBezTo>
                  <a:moveTo>
                    <a:pt x="879" y="38"/>
                  </a:moveTo>
                  <a:cubicBezTo>
                    <a:pt x="880" y="38"/>
                    <a:pt x="880" y="37"/>
                    <a:pt x="880" y="37"/>
                  </a:cubicBezTo>
                  <a:cubicBezTo>
                    <a:pt x="912" y="24"/>
                    <a:pt x="946" y="12"/>
                    <a:pt x="979" y="1"/>
                  </a:cubicBezTo>
                  <a:cubicBezTo>
                    <a:pt x="981" y="12"/>
                    <a:pt x="987" y="49"/>
                    <a:pt x="996" y="103"/>
                  </a:cubicBezTo>
                  <a:cubicBezTo>
                    <a:pt x="959" y="115"/>
                    <a:pt x="923" y="128"/>
                    <a:pt x="887" y="143"/>
                  </a:cubicBezTo>
                  <a:cubicBezTo>
                    <a:pt x="875" y="148"/>
                    <a:pt x="862" y="153"/>
                    <a:pt x="850" y="158"/>
                  </a:cubicBezTo>
                  <a:cubicBezTo>
                    <a:pt x="840" y="101"/>
                    <a:pt x="833" y="63"/>
                    <a:pt x="832" y="56"/>
                  </a:cubicBezTo>
                  <a:cubicBezTo>
                    <a:pt x="847" y="50"/>
                    <a:pt x="862" y="44"/>
                    <a:pt x="878" y="38"/>
                  </a:cubicBezTo>
                  <a:cubicBezTo>
                    <a:pt x="879" y="38"/>
                    <a:pt x="879" y="38"/>
                    <a:pt x="879" y="38"/>
                  </a:cubicBezTo>
                  <a:moveTo>
                    <a:pt x="1834" y="58"/>
                  </a:moveTo>
                  <a:cubicBezTo>
                    <a:pt x="1833" y="58"/>
                    <a:pt x="1833" y="58"/>
                    <a:pt x="1833" y="58"/>
                  </a:cubicBezTo>
                  <a:cubicBezTo>
                    <a:pt x="1833" y="57"/>
                    <a:pt x="1833" y="56"/>
                    <a:pt x="1833" y="56"/>
                  </a:cubicBezTo>
                  <a:cubicBezTo>
                    <a:pt x="1832" y="54"/>
                    <a:pt x="1832" y="54"/>
                    <a:pt x="1832" y="54"/>
                  </a:cubicBezTo>
                  <a:cubicBezTo>
                    <a:pt x="1821" y="41"/>
                    <a:pt x="1809" y="25"/>
                    <a:pt x="1796" y="15"/>
                  </a:cubicBezTo>
                  <a:cubicBezTo>
                    <a:pt x="1800" y="14"/>
                    <a:pt x="1800" y="14"/>
                    <a:pt x="1800" y="14"/>
                  </a:cubicBezTo>
                  <a:cubicBezTo>
                    <a:pt x="1800" y="14"/>
                    <a:pt x="1800" y="11"/>
                    <a:pt x="1800" y="7"/>
                  </a:cubicBezTo>
                  <a:cubicBezTo>
                    <a:pt x="1800" y="5"/>
                    <a:pt x="1800" y="3"/>
                    <a:pt x="1800" y="1"/>
                  </a:cubicBezTo>
                  <a:cubicBezTo>
                    <a:pt x="1810" y="15"/>
                    <a:pt x="1821" y="32"/>
                    <a:pt x="1833" y="49"/>
                  </a:cubicBezTo>
                  <a:cubicBezTo>
                    <a:pt x="1833" y="51"/>
                    <a:pt x="1834" y="55"/>
                    <a:pt x="1834" y="58"/>
                  </a:cubicBezTo>
                  <a:moveTo>
                    <a:pt x="2097" y="0"/>
                  </a:moveTo>
                  <a:cubicBezTo>
                    <a:pt x="2088" y="0"/>
                    <a:pt x="2088" y="0"/>
                    <a:pt x="2088" y="0"/>
                  </a:cubicBezTo>
                  <a:cubicBezTo>
                    <a:pt x="2088" y="2"/>
                    <a:pt x="2087" y="3"/>
                    <a:pt x="2086" y="5"/>
                  </a:cubicBezTo>
                  <a:cubicBezTo>
                    <a:pt x="2085" y="3"/>
                    <a:pt x="2084" y="2"/>
                    <a:pt x="2083" y="0"/>
                  </a:cubicBezTo>
                  <a:cubicBezTo>
                    <a:pt x="2069" y="0"/>
                    <a:pt x="2069" y="0"/>
                    <a:pt x="2069" y="0"/>
                  </a:cubicBezTo>
                  <a:cubicBezTo>
                    <a:pt x="2073" y="6"/>
                    <a:pt x="2077" y="13"/>
                    <a:pt x="2082" y="20"/>
                  </a:cubicBezTo>
                  <a:cubicBezTo>
                    <a:pt x="2081" y="23"/>
                    <a:pt x="2080" y="25"/>
                    <a:pt x="2079" y="28"/>
                  </a:cubicBezTo>
                  <a:cubicBezTo>
                    <a:pt x="2073" y="19"/>
                    <a:pt x="2067" y="9"/>
                    <a:pt x="2061" y="0"/>
                  </a:cubicBezTo>
                  <a:cubicBezTo>
                    <a:pt x="2037" y="0"/>
                    <a:pt x="2037" y="0"/>
                    <a:pt x="2037" y="0"/>
                  </a:cubicBezTo>
                  <a:cubicBezTo>
                    <a:pt x="2036" y="11"/>
                    <a:pt x="2035" y="21"/>
                    <a:pt x="2035" y="30"/>
                  </a:cubicBezTo>
                  <a:cubicBezTo>
                    <a:pt x="2035" y="30"/>
                    <a:pt x="2035" y="31"/>
                    <a:pt x="2035" y="31"/>
                  </a:cubicBezTo>
                  <a:cubicBezTo>
                    <a:pt x="2029" y="21"/>
                    <a:pt x="2022" y="11"/>
                    <a:pt x="2016" y="0"/>
                  </a:cubicBezTo>
                  <a:cubicBezTo>
                    <a:pt x="2018" y="0"/>
                    <a:pt x="2018" y="0"/>
                    <a:pt x="2018" y="0"/>
                  </a:cubicBezTo>
                  <a:cubicBezTo>
                    <a:pt x="2018" y="0"/>
                    <a:pt x="2018" y="0"/>
                    <a:pt x="2018" y="0"/>
                  </a:cubicBezTo>
                  <a:cubicBezTo>
                    <a:pt x="2003" y="0"/>
                    <a:pt x="2003" y="0"/>
                    <a:pt x="2003" y="0"/>
                  </a:cubicBezTo>
                  <a:cubicBezTo>
                    <a:pt x="2013" y="17"/>
                    <a:pt x="2024" y="36"/>
                    <a:pt x="2036" y="54"/>
                  </a:cubicBezTo>
                  <a:cubicBezTo>
                    <a:pt x="2037" y="56"/>
                    <a:pt x="2037" y="58"/>
                    <a:pt x="2037" y="58"/>
                  </a:cubicBezTo>
                  <a:cubicBezTo>
                    <a:pt x="2039" y="58"/>
                    <a:pt x="2039" y="58"/>
                    <a:pt x="2039" y="58"/>
                  </a:cubicBezTo>
                  <a:cubicBezTo>
                    <a:pt x="2049" y="73"/>
                    <a:pt x="2060" y="92"/>
                    <a:pt x="2072" y="107"/>
                  </a:cubicBezTo>
                  <a:cubicBezTo>
                    <a:pt x="2072" y="111"/>
                    <a:pt x="2073" y="117"/>
                    <a:pt x="2073" y="117"/>
                  </a:cubicBezTo>
                  <a:cubicBezTo>
                    <a:pt x="2077" y="116"/>
                    <a:pt x="2077" y="116"/>
                    <a:pt x="2077" y="116"/>
                  </a:cubicBezTo>
                  <a:cubicBezTo>
                    <a:pt x="2083" y="126"/>
                    <a:pt x="2089" y="129"/>
                    <a:pt x="2096" y="138"/>
                  </a:cubicBezTo>
                  <a:cubicBezTo>
                    <a:pt x="2093" y="148"/>
                    <a:pt x="2090" y="156"/>
                    <a:pt x="2088" y="165"/>
                  </a:cubicBezTo>
                  <a:cubicBezTo>
                    <a:pt x="2036" y="105"/>
                    <a:pt x="2010" y="47"/>
                    <a:pt x="2009" y="45"/>
                  </a:cubicBezTo>
                  <a:cubicBezTo>
                    <a:pt x="2008" y="46"/>
                    <a:pt x="2008" y="46"/>
                    <a:pt x="2008" y="46"/>
                  </a:cubicBezTo>
                  <a:cubicBezTo>
                    <a:pt x="2006" y="41"/>
                    <a:pt x="2005" y="37"/>
                    <a:pt x="2003" y="32"/>
                  </a:cubicBezTo>
                  <a:cubicBezTo>
                    <a:pt x="2003" y="30"/>
                    <a:pt x="2004" y="28"/>
                    <a:pt x="2004" y="28"/>
                  </a:cubicBezTo>
                  <a:cubicBezTo>
                    <a:pt x="2001" y="28"/>
                    <a:pt x="2001" y="28"/>
                    <a:pt x="2001" y="28"/>
                  </a:cubicBezTo>
                  <a:cubicBezTo>
                    <a:pt x="1998" y="18"/>
                    <a:pt x="1995" y="9"/>
                    <a:pt x="1991" y="0"/>
                  </a:cubicBezTo>
                  <a:cubicBezTo>
                    <a:pt x="1978" y="0"/>
                    <a:pt x="1978" y="0"/>
                    <a:pt x="1978" y="0"/>
                  </a:cubicBezTo>
                  <a:cubicBezTo>
                    <a:pt x="1982" y="11"/>
                    <a:pt x="1986" y="23"/>
                    <a:pt x="1991" y="34"/>
                  </a:cubicBezTo>
                  <a:cubicBezTo>
                    <a:pt x="1989" y="42"/>
                    <a:pt x="1987" y="54"/>
                    <a:pt x="1986" y="70"/>
                  </a:cubicBezTo>
                  <a:cubicBezTo>
                    <a:pt x="1979" y="55"/>
                    <a:pt x="1973" y="41"/>
                    <a:pt x="1967" y="27"/>
                  </a:cubicBezTo>
                  <a:cubicBezTo>
                    <a:pt x="1969" y="17"/>
                    <a:pt x="1970" y="8"/>
                    <a:pt x="1972" y="0"/>
                  </a:cubicBezTo>
                  <a:cubicBezTo>
                    <a:pt x="1961" y="0"/>
                    <a:pt x="1961" y="0"/>
                    <a:pt x="1961" y="0"/>
                  </a:cubicBezTo>
                  <a:cubicBezTo>
                    <a:pt x="1960" y="2"/>
                    <a:pt x="1960" y="4"/>
                    <a:pt x="1959" y="7"/>
                  </a:cubicBezTo>
                  <a:cubicBezTo>
                    <a:pt x="1958" y="4"/>
                    <a:pt x="1957" y="2"/>
                    <a:pt x="1956" y="0"/>
                  </a:cubicBezTo>
                  <a:cubicBezTo>
                    <a:pt x="1944" y="0"/>
                    <a:pt x="1944" y="0"/>
                    <a:pt x="1944" y="0"/>
                  </a:cubicBezTo>
                  <a:cubicBezTo>
                    <a:pt x="1948" y="9"/>
                    <a:pt x="1951" y="18"/>
                    <a:pt x="1955" y="28"/>
                  </a:cubicBezTo>
                  <a:cubicBezTo>
                    <a:pt x="1954" y="41"/>
                    <a:pt x="1952" y="55"/>
                    <a:pt x="1951" y="71"/>
                  </a:cubicBezTo>
                  <a:cubicBezTo>
                    <a:pt x="1943" y="56"/>
                    <a:pt x="1935" y="43"/>
                    <a:pt x="1928" y="29"/>
                  </a:cubicBezTo>
                  <a:cubicBezTo>
                    <a:pt x="1929" y="19"/>
                    <a:pt x="1930" y="9"/>
                    <a:pt x="1932" y="0"/>
                  </a:cubicBezTo>
                  <a:cubicBezTo>
                    <a:pt x="1921" y="0"/>
                    <a:pt x="1921" y="0"/>
                    <a:pt x="1921" y="0"/>
                  </a:cubicBezTo>
                  <a:cubicBezTo>
                    <a:pt x="1920" y="4"/>
                    <a:pt x="1919" y="8"/>
                    <a:pt x="1919" y="12"/>
                  </a:cubicBezTo>
                  <a:cubicBezTo>
                    <a:pt x="1917" y="8"/>
                    <a:pt x="1915" y="4"/>
                    <a:pt x="1913" y="0"/>
                  </a:cubicBezTo>
                  <a:cubicBezTo>
                    <a:pt x="1900" y="0"/>
                    <a:pt x="1900" y="0"/>
                    <a:pt x="1900" y="0"/>
                  </a:cubicBezTo>
                  <a:cubicBezTo>
                    <a:pt x="1905" y="10"/>
                    <a:pt x="1910" y="21"/>
                    <a:pt x="1916" y="32"/>
                  </a:cubicBezTo>
                  <a:cubicBezTo>
                    <a:pt x="1915" y="45"/>
                    <a:pt x="1915" y="58"/>
                    <a:pt x="1914" y="72"/>
                  </a:cubicBezTo>
                  <a:cubicBezTo>
                    <a:pt x="1905" y="58"/>
                    <a:pt x="1895" y="45"/>
                    <a:pt x="1887" y="32"/>
                  </a:cubicBezTo>
                  <a:cubicBezTo>
                    <a:pt x="1887" y="21"/>
                    <a:pt x="1888" y="10"/>
                    <a:pt x="1889" y="0"/>
                  </a:cubicBezTo>
                  <a:cubicBezTo>
                    <a:pt x="1878" y="0"/>
                    <a:pt x="1878" y="0"/>
                    <a:pt x="1878" y="0"/>
                  </a:cubicBezTo>
                  <a:cubicBezTo>
                    <a:pt x="1878" y="5"/>
                    <a:pt x="1877" y="11"/>
                    <a:pt x="1876" y="17"/>
                  </a:cubicBezTo>
                  <a:cubicBezTo>
                    <a:pt x="1873" y="11"/>
                    <a:pt x="1869" y="5"/>
                    <a:pt x="1865" y="0"/>
                  </a:cubicBezTo>
                  <a:cubicBezTo>
                    <a:pt x="1852" y="0"/>
                    <a:pt x="1852" y="0"/>
                    <a:pt x="1852" y="0"/>
                  </a:cubicBezTo>
                  <a:cubicBezTo>
                    <a:pt x="1859" y="11"/>
                    <a:pt x="1867" y="23"/>
                    <a:pt x="1875" y="36"/>
                  </a:cubicBezTo>
                  <a:cubicBezTo>
                    <a:pt x="1875" y="41"/>
                    <a:pt x="1875" y="47"/>
                    <a:pt x="1875" y="53"/>
                  </a:cubicBezTo>
                  <a:cubicBezTo>
                    <a:pt x="1875" y="63"/>
                    <a:pt x="1875" y="73"/>
                    <a:pt x="1876" y="83"/>
                  </a:cubicBezTo>
                  <a:cubicBezTo>
                    <a:pt x="1865" y="71"/>
                    <a:pt x="1855" y="57"/>
                    <a:pt x="1844" y="43"/>
                  </a:cubicBezTo>
                  <a:cubicBezTo>
                    <a:pt x="1844" y="39"/>
                    <a:pt x="1844" y="35"/>
                    <a:pt x="1844" y="32"/>
                  </a:cubicBezTo>
                  <a:cubicBezTo>
                    <a:pt x="1844" y="21"/>
                    <a:pt x="1845" y="10"/>
                    <a:pt x="1845" y="0"/>
                  </a:cubicBezTo>
                  <a:cubicBezTo>
                    <a:pt x="1834" y="0"/>
                    <a:pt x="1834" y="0"/>
                    <a:pt x="1834" y="0"/>
                  </a:cubicBezTo>
                  <a:cubicBezTo>
                    <a:pt x="1833" y="9"/>
                    <a:pt x="1833" y="19"/>
                    <a:pt x="1833" y="28"/>
                  </a:cubicBezTo>
                  <a:cubicBezTo>
                    <a:pt x="1826" y="19"/>
                    <a:pt x="1819" y="9"/>
                    <a:pt x="1812" y="0"/>
                  </a:cubicBezTo>
                  <a:cubicBezTo>
                    <a:pt x="1789" y="0"/>
                    <a:pt x="1789" y="0"/>
                    <a:pt x="1789" y="0"/>
                  </a:cubicBezTo>
                  <a:cubicBezTo>
                    <a:pt x="1789" y="3"/>
                    <a:pt x="1789" y="6"/>
                    <a:pt x="1789" y="9"/>
                  </a:cubicBezTo>
                  <a:cubicBezTo>
                    <a:pt x="1789" y="11"/>
                    <a:pt x="1789" y="12"/>
                    <a:pt x="1789" y="14"/>
                  </a:cubicBezTo>
                  <a:cubicBezTo>
                    <a:pt x="1783" y="9"/>
                    <a:pt x="1777" y="4"/>
                    <a:pt x="1770" y="0"/>
                  </a:cubicBezTo>
                  <a:cubicBezTo>
                    <a:pt x="1750" y="0"/>
                    <a:pt x="1750" y="0"/>
                    <a:pt x="1750" y="0"/>
                  </a:cubicBezTo>
                  <a:cubicBezTo>
                    <a:pt x="1777" y="18"/>
                    <a:pt x="1802" y="39"/>
                    <a:pt x="1822" y="63"/>
                  </a:cubicBezTo>
                  <a:cubicBezTo>
                    <a:pt x="1822" y="73"/>
                    <a:pt x="1823" y="94"/>
                    <a:pt x="1823" y="124"/>
                  </a:cubicBezTo>
                  <a:cubicBezTo>
                    <a:pt x="1781" y="90"/>
                    <a:pt x="1730" y="63"/>
                    <a:pt x="1670" y="46"/>
                  </a:cubicBezTo>
                  <a:cubicBezTo>
                    <a:pt x="1670" y="28"/>
                    <a:pt x="1669" y="13"/>
                    <a:pt x="1668" y="0"/>
                  </a:cubicBezTo>
                  <a:cubicBezTo>
                    <a:pt x="1657" y="0"/>
                    <a:pt x="1657" y="0"/>
                    <a:pt x="1657" y="0"/>
                  </a:cubicBezTo>
                  <a:cubicBezTo>
                    <a:pt x="1658" y="12"/>
                    <a:pt x="1658" y="26"/>
                    <a:pt x="1659" y="42"/>
                  </a:cubicBezTo>
                  <a:cubicBezTo>
                    <a:pt x="1611" y="29"/>
                    <a:pt x="1558" y="21"/>
                    <a:pt x="1501" y="19"/>
                  </a:cubicBezTo>
                  <a:cubicBezTo>
                    <a:pt x="1500" y="12"/>
                    <a:pt x="1500" y="6"/>
                    <a:pt x="1499" y="0"/>
                  </a:cubicBezTo>
                  <a:cubicBezTo>
                    <a:pt x="1488" y="0"/>
                    <a:pt x="1488" y="0"/>
                    <a:pt x="1488" y="0"/>
                  </a:cubicBezTo>
                  <a:cubicBezTo>
                    <a:pt x="1488" y="6"/>
                    <a:pt x="1489" y="12"/>
                    <a:pt x="1489" y="18"/>
                  </a:cubicBezTo>
                  <a:cubicBezTo>
                    <a:pt x="1479" y="18"/>
                    <a:pt x="1468" y="18"/>
                    <a:pt x="1457" y="18"/>
                  </a:cubicBezTo>
                  <a:cubicBezTo>
                    <a:pt x="1451" y="18"/>
                    <a:pt x="1445" y="18"/>
                    <a:pt x="1439" y="18"/>
                  </a:cubicBezTo>
                  <a:cubicBezTo>
                    <a:pt x="1399" y="19"/>
                    <a:pt x="1357" y="22"/>
                    <a:pt x="1313" y="28"/>
                  </a:cubicBezTo>
                  <a:cubicBezTo>
                    <a:pt x="1312" y="18"/>
                    <a:pt x="1311" y="9"/>
                    <a:pt x="1309" y="0"/>
                  </a:cubicBezTo>
                  <a:cubicBezTo>
                    <a:pt x="1298" y="0"/>
                    <a:pt x="1298" y="0"/>
                    <a:pt x="1298" y="0"/>
                  </a:cubicBezTo>
                  <a:cubicBezTo>
                    <a:pt x="1299" y="9"/>
                    <a:pt x="1301" y="19"/>
                    <a:pt x="1302" y="29"/>
                  </a:cubicBezTo>
                  <a:cubicBezTo>
                    <a:pt x="1254" y="36"/>
                    <a:pt x="1204" y="46"/>
                    <a:pt x="1153" y="58"/>
                  </a:cubicBezTo>
                  <a:cubicBezTo>
                    <a:pt x="1149" y="35"/>
                    <a:pt x="1146" y="15"/>
                    <a:pt x="1144" y="0"/>
                  </a:cubicBezTo>
                  <a:cubicBezTo>
                    <a:pt x="1132" y="0"/>
                    <a:pt x="1132" y="0"/>
                    <a:pt x="1132" y="0"/>
                  </a:cubicBezTo>
                  <a:cubicBezTo>
                    <a:pt x="1135" y="16"/>
                    <a:pt x="1138" y="36"/>
                    <a:pt x="1142" y="60"/>
                  </a:cubicBezTo>
                  <a:cubicBezTo>
                    <a:pt x="1097" y="71"/>
                    <a:pt x="1052" y="84"/>
                    <a:pt x="1007" y="99"/>
                  </a:cubicBezTo>
                  <a:cubicBezTo>
                    <a:pt x="998" y="46"/>
                    <a:pt x="992" y="10"/>
                    <a:pt x="991" y="0"/>
                  </a:cubicBezTo>
                  <a:cubicBezTo>
                    <a:pt x="946" y="0"/>
                    <a:pt x="946" y="0"/>
                    <a:pt x="946" y="0"/>
                  </a:cubicBezTo>
                  <a:cubicBezTo>
                    <a:pt x="946" y="0"/>
                    <a:pt x="945" y="0"/>
                    <a:pt x="945" y="0"/>
                  </a:cubicBezTo>
                  <a:cubicBezTo>
                    <a:pt x="945" y="0"/>
                    <a:pt x="945" y="0"/>
                    <a:pt x="945" y="0"/>
                  </a:cubicBezTo>
                  <a:cubicBezTo>
                    <a:pt x="934" y="0"/>
                    <a:pt x="934" y="0"/>
                    <a:pt x="934" y="0"/>
                  </a:cubicBezTo>
                  <a:cubicBezTo>
                    <a:pt x="934" y="1"/>
                    <a:pt x="934" y="2"/>
                    <a:pt x="934" y="3"/>
                  </a:cubicBezTo>
                  <a:cubicBezTo>
                    <a:pt x="934" y="3"/>
                    <a:pt x="934" y="4"/>
                    <a:pt x="934" y="4"/>
                  </a:cubicBezTo>
                  <a:cubicBezTo>
                    <a:pt x="915" y="11"/>
                    <a:pt x="897" y="17"/>
                    <a:pt x="879" y="24"/>
                  </a:cubicBezTo>
                  <a:cubicBezTo>
                    <a:pt x="878" y="18"/>
                    <a:pt x="875" y="9"/>
                    <a:pt x="872" y="0"/>
                  </a:cubicBezTo>
                  <a:cubicBezTo>
                    <a:pt x="861" y="0"/>
                    <a:pt x="861" y="0"/>
                    <a:pt x="861" y="0"/>
                  </a:cubicBezTo>
                  <a:cubicBezTo>
                    <a:pt x="865" y="12"/>
                    <a:pt x="868" y="22"/>
                    <a:pt x="869" y="28"/>
                  </a:cubicBezTo>
                  <a:cubicBezTo>
                    <a:pt x="849" y="36"/>
                    <a:pt x="829" y="44"/>
                    <a:pt x="810" y="52"/>
                  </a:cubicBezTo>
                  <a:cubicBezTo>
                    <a:pt x="807" y="43"/>
                    <a:pt x="802" y="30"/>
                    <a:pt x="795" y="14"/>
                  </a:cubicBezTo>
                  <a:cubicBezTo>
                    <a:pt x="812" y="9"/>
                    <a:pt x="831" y="4"/>
                    <a:pt x="851" y="0"/>
                  </a:cubicBezTo>
                  <a:cubicBezTo>
                    <a:pt x="801" y="0"/>
                    <a:pt x="801" y="0"/>
                    <a:pt x="801" y="0"/>
                  </a:cubicBezTo>
                  <a:cubicBezTo>
                    <a:pt x="798" y="1"/>
                    <a:pt x="794" y="2"/>
                    <a:pt x="790" y="3"/>
                  </a:cubicBezTo>
                  <a:cubicBezTo>
                    <a:pt x="790" y="2"/>
                    <a:pt x="790" y="1"/>
                    <a:pt x="789" y="0"/>
                  </a:cubicBezTo>
                  <a:cubicBezTo>
                    <a:pt x="777" y="0"/>
                    <a:pt x="777" y="0"/>
                    <a:pt x="777" y="0"/>
                  </a:cubicBezTo>
                  <a:cubicBezTo>
                    <a:pt x="778" y="2"/>
                    <a:pt x="779" y="4"/>
                    <a:pt x="780" y="6"/>
                  </a:cubicBezTo>
                  <a:cubicBezTo>
                    <a:pt x="755" y="14"/>
                    <a:pt x="733" y="24"/>
                    <a:pt x="714" y="37"/>
                  </a:cubicBezTo>
                  <a:cubicBezTo>
                    <a:pt x="697" y="0"/>
                    <a:pt x="697" y="0"/>
                    <a:pt x="697" y="0"/>
                  </a:cubicBezTo>
                  <a:cubicBezTo>
                    <a:pt x="685" y="0"/>
                    <a:pt x="685" y="0"/>
                    <a:pt x="685" y="0"/>
                  </a:cubicBezTo>
                  <a:cubicBezTo>
                    <a:pt x="705" y="44"/>
                    <a:pt x="705" y="44"/>
                    <a:pt x="705" y="44"/>
                  </a:cubicBezTo>
                  <a:cubicBezTo>
                    <a:pt x="700" y="47"/>
                    <a:pt x="696" y="50"/>
                    <a:pt x="692" y="54"/>
                  </a:cubicBezTo>
                  <a:cubicBezTo>
                    <a:pt x="688" y="58"/>
                    <a:pt x="682" y="63"/>
                    <a:pt x="675" y="69"/>
                  </a:cubicBezTo>
                  <a:cubicBezTo>
                    <a:pt x="668" y="47"/>
                    <a:pt x="660" y="23"/>
                    <a:pt x="652" y="0"/>
                  </a:cubicBezTo>
                  <a:cubicBezTo>
                    <a:pt x="632" y="0"/>
                    <a:pt x="632" y="0"/>
                    <a:pt x="632" y="0"/>
                  </a:cubicBezTo>
                  <a:cubicBezTo>
                    <a:pt x="622" y="14"/>
                    <a:pt x="610" y="29"/>
                    <a:pt x="597" y="44"/>
                  </a:cubicBezTo>
                  <a:cubicBezTo>
                    <a:pt x="593" y="32"/>
                    <a:pt x="588" y="21"/>
                    <a:pt x="584" y="11"/>
                  </a:cubicBezTo>
                  <a:cubicBezTo>
                    <a:pt x="587" y="7"/>
                    <a:pt x="590" y="3"/>
                    <a:pt x="593" y="0"/>
                  </a:cubicBezTo>
                  <a:cubicBezTo>
                    <a:pt x="565" y="0"/>
                    <a:pt x="565" y="0"/>
                    <a:pt x="565" y="0"/>
                  </a:cubicBezTo>
                  <a:cubicBezTo>
                    <a:pt x="553" y="20"/>
                    <a:pt x="541" y="38"/>
                    <a:pt x="527" y="56"/>
                  </a:cubicBezTo>
                  <a:cubicBezTo>
                    <a:pt x="518" y="31"/>
                    <a:pt x="510" y="11"/>
                    <a:pt x="507" y="4"/>
                  </a:cubicBezTo>
                  <a:cubicBezTo>
                    <a:pt x="508" y="4"/>
                    <a:pt x="509" y="3"/>
                    <a:pt x="510" y="2"/>
                  </a:cubicBezTo>
                  <a:cubicBezTo>
                    <a:pt x="511" y="3"/>
                    <a:pt x="511" y="3"/>
                    <a:pt x="511" y="3"/>
                  </a:cubicBezTo>
                  <a:cubicBezTo>
                    <a:pt x="513" y="0"/>
                    <a:pt x="513" y="0"/>
                    <a:pt x="513" y="0"/>
                  </a:cubicBezTo>
                  <a:cubicBezTo>
                    <a:pt x="495" y="0"/>
                    <a:pt x="495" y="0"/>
                    <a:pt x="495" y="0"/>
                  </a:cubicBezTo>
                  <a:cubicBezTo>
                    <a:pt x="485" y="12"/>
                    <a:pt x="473" y="24"/>
                    <a:pt x="462" y="37"/>
                  </a:cubicBezTo>
                  <a:cubicBezTo>
                    <a:pt x="450" y="28"/>
                    <a:pt x="438" y="15"/>
                    <a:pt x="427" y="0"/>
                  </a:cubicBezTo>
                  <a:cubicBezTo>
                    <a:pt x="407" y="0"/>
                    <a:pt x="407" y="0"/>
                    <a:pt x="407" y="0"/>
                  </a:cubicBezTo>
                  <a:cubicBezTo>
                    <a:pt x="399" y="9"/>
                    <a:pt x="392" y="19"/>
                    <a:pt x="385" y="30"/>
                  </a:cubicBezTo>
                  <a:cubicBezTo>
                    <a:pt x="380" y="20"/>
                    <a:pt x="374" y="10"/>
                    <a:pt x="369" y="0"/>
                  </a:cubicBezTo>
                  <a:cubicBezTo>
                    <a:pt x="349" y="0"/>
                    <a:pt x="349" y="0"/>
                    <a:pt x="349" y="0"/>
                  </a:cubicBezTo>
                  <a:cubicBezTo>
                    <a:pt x="346" y="7"/>
                    <a:pt x="343" y="15"/>
                    <a:pt x="339" y="23"/>
                  </a:cubicBezTo>
                  <a:cubicBezTo>
                    <a:pt x="336" y="30"/>
                    <a:pt x="333" y="36"/>
                    <a:pt x="330" y="43"/>
                  </a:cubicBezTo>
                  <a:cubicBezTo>
                    <a:pt x="326" y="37"/>
                    <a:pt x="322" y="31"/>
                    <a:pt x="318" y="26"/>
                  </a:cubicBezTo>
                  <a:cubicBezTo>
                    <a:pt x="321" y="17"/>
                    <a:pt x="324" y="9"/>
                    <a:pt x="326" y="2"/>
                  </a:cubicBezTo>
                  <a:cubicBezTo>
                    <a:pt x="326" y="1"/>
                    <a:pt x="326" y="1"/>
                    <a:pt x="326" y="0"/>
                  </a:cubicBezTo>
                  <a:cubicBezTo>
                    <a:pt x="315" y="0"/>
                    <a:pt x="315" y="0"/>
                    <a:pt x="315" y="0"/>
                  </a:cubicBezTo>
                  <a:cubicBezTo>
                    <a:pt x="314" y="5"/>
                    <a:pt x="312" y="10"/>
                    <a:pt x="310" y="16"/>
                  </a:cubicBezTo>
                  <a:cubicBezTo>
                    <a:pt x="306" y="11"/>
                    <a:pt x="302" y="6"/>
                    <a:pt x="298" y="3"/>
                  </a:cubicBezTo>
                  <a:cubicBezTo>
                    <a:pt x="299" y="2"/>
                    <a:pt x="299" y="1"/>
                    <a:pt x="299" y="0"/>
                  </a:cubicBezTo>
                  <a:cubicBezTo>
                    <a:pt x="280" y="0"/>
                    <a:pt x="280" y="0"/>
                    <a:pt x="280" y="0"/>
                  </a:cubicBezTo>
                  <a:cubicBezTo>
                    <a:pt x="281" y="1"/>
                    <a:pt x="283" y="3"/>
                    <a:pt x="285" y="5"/>
                  </a:cubicBezTo>
                  <a:cubicBezTo>
                    <a:pt x="275" y="28"/>
                    <a:pt x="261" y="53"/>
                    <a:pt x="244" y="80"/>
                  </a:cubicBezTo>
                  <a:cubicBezTo>
                    <a:pt x="239" y="84"/>
                    <a:pt x="239" y="84"/>
                    <a:pt x="239" y="84"/>
                  </a:cubicBezTo>
                  <a:cubicBezTo>
                    <a:pt x="241" y="75"/>
                    <a:pt x="242" y="66"/>
                    <a:pt x="243" y="56"/>
                  </a:cubicBezTo>
                  <a:cubicBezTo>
                    <a:pt x="254" y="37"/>
                    <a:pt x="263" y="18"/>
                    <a:pt x="272" y="0"/>
                  </a:cubicBezTo>
                  <a:cubicBezTo>
                    <a:pt x="260" y="0"/>
                    <a:pt x="260" y="0"/>
                    <a:pt x="260" y="0"/>
                  </a:cubicBezTo>
                  <a:cubicBezTo>
                    <a:pt x="255" y="9"/>
                    <a:pt x="250" y="19"/>
                    <a:pt x="245" y="29"/>
                  </a:cubicBezTo>
                  <a:cubicBezTo>
                    <a:pt x="245" y="20"/>
                    <a:pt x="245" y="12"/>
                    <a:pt x="245" y="3"/>
                  </a:cubicBezTo>
                  <a:cubicBezTo>
                    <a:pt x="245" y="2"/>
                    <a:pt x="245" y="1"/>
                    <a:pt x="245" y="0"/>
                  </a:cubicBezTo>
                  <a:cubicBezTo>
                    <a:pt x="234" y="0"/>
                    <a:pt x="234" y="0"/>
                    <a:pt x="234" y="0"/>
                  </a:cubicBezTo>
                  <a:cubicBezTo>
                    <a:pt x="234" y="1"/>
                    <a:pt x="234" y="3"/>
                    <a:pt x="234" y="5"/>
                  </a:cubicBezTo>
                  <a:cubicBezTo>
                    <a:pt x="234" y="21"/>
                    <a:pt x="233" y="37"/>
                    <a:pt x="232" y="53"/>
                  </a:cubicBezTo>
                  <a:cubicBezTo>
                    <a:pt x="216" y="81"/>
                    <a:pt x="199" y="110"/>
                    <a:pt x="182" y="137"/>
                  </a:cubicBezTo>
                  <a:cubicBezTo>
                    <a:pt x="184" y="125"/>
                    <a:pt x="187" y="107"/>
                    <a:pt x="189" y="87"/>
                  </a:cubicBezTo>
                  <a:cubicBezTo>
                    <a:pt x="191" y="84"/>
                    <a:pt x="192" y="82"/>
                    <a:pt x="194" y="80"/>
                  </a:cubicBezTo>
                  <a:cubicBezTo>
                    <a:pt x="212" y="53"/>
                    <a:pt x="225" y="26"/>
                    <a:pt x="234" y="0"/>
                  </a:cubicBezTo>
                  <a:cubicBezTo>
                    <a:pt x="222" y="0"/>
                    <a:pt x="222" y="0"/>
                    <a:pt x="222" y="0"/>
                  </a:cubicBezTo>
                  <a:cubicBezTo>
                    <a:pt x="215" y="20"/>
                    <a:pt x="205" y="41"/>
                    <a:pt x="192" y="61"/>
                  </a:cubicBezTo>
                  <a:cubicBezTo>
                    <a:pt x="194" y="42"/>
                    <a:pt x="196" y="21"/>
                    <a:pt x="197" y="0"/>
                  </a:cubicBezTo>
                  <a:cubicBezTo>
                    <a:pt x="186" y="0"/>
                    <a:pt x="186" y="0"/>
                    <a:pt x="186" y="0"/>
                  </a:cubicBezTo>
                  <a:cubicBezTo>
                    <a:pt x="184" y="30"/>
                    <a:pt x="181" y="58"/>
                    <a:pt x="178" y="82"/>
                  </a:cubicBezTo>
                  <a:cubicBezTo>
                    <a:pt x="164" y="105"/>
                    <a:pt x="151" y="129"/>
                    <a:pt x="139" y="156"/>
                  </a:cubicBezTo>
                  <a:cubicBezTo>
                    <a:pt x="132" y="146"/>
                    <a:pt x="122" y="136"/>
                    <a:pt x="110" y="126"/>
                  </a:cubicBezTo>
                  <a:cubicBezTo>
                    <a:pt x="119" y="107"/>
                    <a:pt x="129" y="90"/>
                    <a:pt x="138" y="75"/>
                  </a:cubicBezTo>
                  <a:cubicBezTo>
                    <a:pt x="153" y="50"/>
                    <a:pt x="166" y="28"/>
                    <a:pt x="175" y="0"/>
                  </a:cubicBezTo>
                  <a:cubicBezTo>
                    <a:pt x="163" y="0"/>
                    <a:pt x="163" y="0"/>
                    <a:pt x="163" y="0"/>
                  </a:cubicBezTo>
                  <a:cubicBezTo>
                    <a:pt x="157" y="18"/>
                    <a:pt x="149" y="34"/>
                    <a:pt x="139" y="50"/>
                  </a:cubicBezTo>
                  <a:cubicBezTo>
                    <a:pt x="129" y="38"/>
                    <a:pt x="116" y="25"/>
                    <a:pt x="101" y="12"/>
                  </a:cubicBezTo>
                  <a:cubicBezTo>
                    <a:pt x="102" y="8"/>
                    <a:pt x="103" y="4"/>
                    <a:pt x="105" y="0"/>
                  </a:cubicBezTo>
                  <a:cubicBezTo>
                    <a:pt x="93" y="0"/>
                    <a:pt x="93" y="0"/>
                    <a:pt x="93" y="0"/>
                  </a:cubicBezTo>
                  <a:cubicBezTo>
                    <a:pt x="92" y="1"/>
                    <a:pt x="92" y="3"/>
                    <a:pt x="91" y="5"/>
                  </a:cubicBezTo>
                  <a:cubicBezTo>
                    <a:pt x="89" y="3"/>
                    <a:pt x="87" y="1"/>
                    <a:pt x="84" y="0"/>
                  </a:cubicBezTo>
                  <a:cubicBezTo>
                    <a:pt x="63" y="0"/>
                    <a:pt x="63" y="0"/>
                    <a:pt x="63" y="0"/>
                  </a:cubicBezTo>
                  <a:cubicBezTo>
                    <a:pt x="71" y="5"/>
                    <a:pt x="79" y="11"/>
                    <a:pt x="87" y="17"/>
                  </a:cubicBezTo>
                  <a:cubicBezTo>
                    <a:pt x="79" y="35"/>
                    <a:pt x="70" y="52"/>
                    <a:pt x="61" y="70"/>
                  </a:cubicBezTo>
                  <a:cubicBezTo>
                    <a:pt x="58" y="74"/>
                    <a:pt x="56" y="79"/>
                    <a:pt x="53" y="83"/>
                  </a:cubicBezTo>
                  <a:cubicBezTo>
                    <a:pt x="40" y="75"/>
                    <a:pt x="26" y="67"/>
                    <a:pt x="10" y="60"/>
                  </a:cubicBezTo>
                  <a:cubicBezTo>
                    <a:pt x="20" y="41"/>
                    <a:pt x="28" y="21"/>
                    <a:pt x="35" y="0"/>
                  </a:cubicBezTo>
                  <a:cubicBezTo>
                    <a:pt x="23" y="0"/>
                    <a:pt x="23" y="0"/>
                    <a:pt x="23" y="0"/>
                  </a:cubicBezTo>
                  <a:cubicBezTo>
                    <a:pt x="17" y="19"/>
                    <a:pt x="9" y="37"/>
                    <a:pt x="0" y="56"/>
                  </a:cubicBezTo>
                  <a:cubicBezTo>
                    <a:pt x="0" y="55"/>
                    <a:pt x="0" y="55"/>
                    <a:pt x="0" y="55"/>
                  </a:cubicBezTo>
                  <a:cubicBezTo>
                    <a:pt x="0" y="82"/>
                    <a:pt x="0" y="82"/>
                    <a:pt x="0" y="82"/>
                  </a:cubicBezTo>
                  <a:cubicBezTo>
                    <a:pt x="1" y="80"/>
                    <a:pt x="2" y="78"/>
                    <a:pt x="3" y="76"/>
                  </a:cubicBezTo>
                  <a:cubicBezTo>
                    <a:pt x="3" y="74"/>
                    <a:pt x="4" y="73"/>
                    <a:pt x="5" y="71"/>
                  </a:cubicBezTo>
                  <a:cubicBezTo>
                    <a:pt x="20" y="78"/>
                    <a:pt x="34" y="86"/>
                    <a:pt x="47" y="94"/>
                  </a:cubicBezTo>
                  <a:cubicBezTo>
                    <a:pt x="38" y="113"/>
                    <a:pt x="28" y="134"/>
                    <a:pt x="19" y="158"/>
                  </a:cubicBezTo>
                  <a:cubicBezTo>
                    <a:pt x="13" y="155"/>
                    <a:pt x="7" y="151"/>
                    <a:pt x="0" y="148"/>
                  </a:cubicBezTo>
                  <a:cubicBezTo>
                    <a:pt x="0" y="161"/>
                    <a:pt x="0" y="161"/>
                    <a:pt x="0" y="161"/>
                  </a:cubicBezTo>
                  <a:cubicBezTo>
                    <a:pt x="5" y="164"/>
                    <a:pt x="10" y="166"/>
                    <a:pt x="15" y="169"/>
                  </a:cubicBezTo>
                  <a:cubicBezTo>
                    <a:pt x="10" y="187"/>
                    <a:pt x="4" y="207"/>
                    <a:pt x="0" y="229"/>
                  </a:cubicBezTo>
                  <a:cubicBezTo>
                    <a:pt x="0" y="322"/>
                    <a:pt x="0" y="322"/>
                    <a:pt x="0" y="322"/>
                  </a:cubicBezTo>
                  <a:cubicBezTo>
                    <a:pt x="1" y="298"/>
                    <a:pt x="4" y="276"/>
                    <a:pt x="7" y="257"/>
                  </a:cubicBezTo>
                  <a:cubicBezTo>
                    <a:pt x="26" y="267"/>
                    <a:pt x="43" y="277"/>
                    <a:pt x="56" y="287"/>
                  </a:cubicBezTo>
                  <a:cubicBezTo>
                    <a:pt x="54" y="311"/>
                    <a:pt x="52" y="338"/>
                    <a:pt x="52" y="367"/>
                  </a:cubicBezTo>
                  <a:cubicBezTo>
                    <a:pt x="38" y="358"/>
                    <a:pt x="20" y="347"/>
                    <a:pt x="0" y="338"/>
                  </a:cubicBezTo>
                  <a:cubicBezTo>
                    <a:pt x="0" y="351"/>
                    <a:pt x="0" y="351"/>
                    <a:pt x="0" y="351"/>
                  </a:cubicBezTo>
                  <a:cubicBezTo>
                    <a:pt x="20" y="361"/>
                    <a:pt x="38" y="371"/>
                    <a:pt x="52" y="381"/>
                  </a:cubicBezTo>
                  <a:cubicBezTo>
                    <a:pt x="51" y="409"/>
                    <a:pt x="49" y="436"/>
                    <a:pt x="46" y="462"/>
                  </a:cubicBezTo>
                  <a:cubicBezTo>
                    <a:pt x="33" y="453"/>
                    <a:pt x="18" y="444"/>
                    <a:pt x="0" y="435"/>
                  </a:cubicBezTo>
                  <a:cubicBezTo>
                    <a:pt x="0" y="448"/>
                    <a:pt x="0" y="448"/>
                    <a:pt x="0" y="448"/>
                  </a:cubicBezTo>
                  <a:cubicBezTo>
                    <a:pt x="17" y="457"/>
                    <a:pt x="32" y="466"/>
                    <a:pt x="44" y="475"/>
                  </a:cubicBezTo>
                  <a:cubicBezTo>
                    <a:pt x="41" y="497"/>
                    <a:pt x="37" y="519"/>
                    <a:pt x="32" y="539"/>
                  </a:cubicBezTo>
                  <a:cubicBezTo>
                    <a:pt x="22" y="534"/>
                    <a:pt x="12" y="528"/>
                    <a:pt x="0" y="523"/>
                  </a:cubicBezTo>
                  <a:cubicBezTo>
                    <a:pt x="0" y="537"/>
                    <a:pt x="0" y="537"/>
                    <a:pt x="0" y="537"/>
                  </a:cubicBezTo>
                  <a:cubicBezTo>
                    <a:pt x="10" y="542"/>
                    <a:pt x="20" y="547"/>
                    <a:pt x="28" y="552"/>
                  </a:cubicBezTo>
                  <a:cubicBezTo>
                    <a:pt x="23" y="573"/>
                    <a:pt x="16" y="594"/>
                    <a:pt x="8" y="614"/>
                  </a:cubicBezTo>
                  <a:cubicBezTo>
                    <a:pt x="5" y="609"/>
                    <a:pt x="3" y="605"/>
                    <a:pt x="0" y="601"/>
                  </a:cubicBezTo>
                  <a:cubicBezTo>
                    <a:pt x="0" y="623"/>
                    <a:pt x="0" y="623"/>
                    <a:pt x="0" y="623"/>
                  </a:cubicBezTo>
                  <a:cubicBezTo>
                    <a:pt x="1" y="624"/>
                    <a:pt x="2" y="626"/>
                    <a:pt x="2" y="628"/>
                  </a:cubicBezTo>
                  <a:cubicBezTo>
                    <a:pt x="2" y="630"/>
                    <a:pt x="1" y="632"/>
                    <a:pt x="0" y="634"/>
                  </a:cubicBezTo>
                  <a:cubicBezTo>
                    <a:pt x="0" y="661"/>
                    <a:pt x="0" y="661"/>
                    <a:pt x="0" y="661"/>
                  </a:cubicBezTo>
                  <a:cubicBezTo>
                    <a:pt x="3" y="655"/>
                    <a:pt x="6" y="648"/>
                    <a:pt x="9" y="641"/>
                  </a:cubicBezTo>
                  <a:cubicBezTo>
                    <a:pt x="12" y="649"/>
                    <a:pt x="15" y="657"/>
                    <a:pt x="17" y="666"/>
                  </a:cubicBezTo>
                  <a:cubicBezTo>
                    <a:pt x="20" y="676"/>
                    <a:pt x="21" y="687"/>
                    <a:pt x="22" y="698"/>
                  </a:cubicBezTo>
                  <a:cubicBezTo>
                    <a:pt x="15" y="710"/>
                    <a:pt x="7" y="722"/>
                    <a:pt x="0" y="733"/>
                  </a:cubicBezTo>
                  <a:cubicBezTo>
                    <a:pt x="0" y="755"/>
                    <a:pt x="0" y="755"/>
                    <a:pt x="0" y="755"/>
                  </a:cubicBezTo>
                  <a:cubicBezTo>
                    <a:pt x="8" y="744"/>
                    <a:pt x="15" y="733"/>
                    <a:pt x="22" y="721"/>
                  </a:cubicBezTo>
                  <a:cubicBezTo>
                    <a:pt x="21" y="749"/>
                    <a:pt x="13" y="779"/>
                    <a:pt x="0" y="809"/>
                  </a:cubicBezTo>
                  <a:cubicBezTo>
                    <a:pt x="0" y="868"/>
                    <a:pt x="0" y="868"/>
                    <a:pt x="0" y="868"/>
                  </a:cubicBezTo>
                  <a:cubicBezTo>
                    <a:pt x="5" y="862"/>
                    <a:pt x="10" y="855"/>
                    <a:pt x="15" y="848"/>
                  </a:cubicBezTo>
                  <a:cubicBezTo>
                    <a:pt x="17" y="853"/>
                    <a:pt x="19" y="861"/>
                    <a:pt x="22" y="870"/>
                  </a:cubicBezTo>
                  <a:cubicBezTo>
                    <a:pt x="15" y="878"/>
                    <a:pt x="7" y="885"/>
                    <a:pt x="0" y="892"/>
                  </a:cubicBezTo>
                  <a:cubicBezTo>
                    <a:pt x="0" y="908"/>
                    <a:pt x="0" y="908"/>
                    <a:pt x="0" y="908"/>
                  </a:cubicBezTo>
                  <a:cubicBezTo>
                    <a:pt x="9" y="900"/>
                    <a:pt x="18" y="891"/>
                    <a:pt x="26" y="882"/>
                  </a:cubicBezTo>
                  <a:cubicBezTo>
                    <a:pt x="33" y="900"/>
                    <a:pt x="41" y="923"/>
                    <a:pt x="50" y="949"/>
                  </a:cubicBezTo>
                  <a:cubicBezTo>
                    <a:pt x="34" y="964"/>
                    <a:pt x="17" y="979"/>
                    <a:pt x="0" y="992"/>
                  </a:cubicBezTo>
                  <a:cubicBezTo>
                    <a:pt x="0" y="1007"/>
                    <a:pt x="0" y="1007"/>
                    <a:pt x="0" y="1007"/>
                  </a:cubicBezTo>
                  <a:cubicBezTo>
                    <a:pt x="18" y="992"/>
                    <a:pt x="37" y="977"/>
                    <a:pt x="55" y="960"/>
                  </a:cubicBezTo>
                  <a:cubicBezTo>
                    <a:pt x="62" y="979"/>
                    <a:pt x="70" y="1000"/>
                    <a:pt x="78" y="1020"/>
                  </a:cubicBezTo>
                  <a:cubicBezTo>
                    <a:pt x="52" y="1041"/>
                    <a:pt x="26" y="1060"/>
                    <a:pt x="0" y="1078"/>
                  </a:cubicBezTo>
                  <a:cubicBezTo>
                    <a:pt x="0" y="1092"/>
                    <a:pt x="0" y="1092"/>
                    <a:pt x="0" y="1092"/>
                  </a:cubicBezTo>
                  <a:cubicBezTo>
                    <a:pt x="27" y="1074"/>
                    <a:pt x="55" y="1053"/>
                    <a:pt x="82" y="1031"/>
                  </a:cubicBezTo>
                  <a:cubicBezTo>
                    <a:pt x="91" y="1052"/>
                    <a:pt x="100" y="1073"/>
                    <a:pt x="109" y="1094"/>
                  </a:cubicBezTo>
                  <a:cubicBezTo>
                    <a:pt x="73" y="1121"/>
                    <a:pt x="35" y="1144"/>
                    <a:pt x="0" y="1165"/>
                  </a:cubicBezTo>
                  <a:cubicBezTo>
                    <a:pt x="0" y="1178"/>
                    <a:pt x="0" y="1178"/>
                    <a:pt x="0" y="1178"/>
                  </a:cubicBezTo>
                  <a:cubicBezTo>
                    <a:pt x="37" y="1157"/>
                    <a:pt x="76" y="1132"/>
                    <a:pt x="114" y="1104"/>
                  </a:cubicBezTo>
                  <a:cubicBezTo>
                    <a:pt x="124" y="1124"/>
                    <a:pt x="134" y="1143"/>
                    <a:pt x="143" y="1160"/>
                  </a:cubicBezTo>
                  <a:cubicBezTo>
                    <a:pt x="106" y="1185"/>
                    <a:pt x="68" y="1206"/>
                    <a:pt x="32" y="1225"/>
                  </a:cubicBezTo>
                  <a:cubicBezTo>
                    <a:pt x="21" y="1212"/>
                    <a:pt x="10" y="1198"/>
                    <a:pt x="0" y="1183"/>
                  </a:cubicBezTo>
                  <a:cubicBezTo>
                    <a:pt x="0" y="1202"/>
                    <a:pt x="0" y="1202"/>
                    <a:pt x="0" y="1202"/>
                  </a:cubicBezTo>
                  <a:cubicBezTo>
                    <a:pt x="7" y="1212"/>
                    <a:pt x="14" y="1222"/>
                    <a:pt x="22" y="1230"/>
                  </a:cubicBezTo>
                  <a:cubicBezTo>
                    <a:pt x="14" y="1234"/>
                    <a:pt x="7" y="1238"/>
                    <a:pt x="0" y="1241"/>
                  </a:cubicBezTo>
                  <a:cubicBezTo>
                    <a:pt x="0" y="1254"/>
                    <a:pt x="0" y="1254"/>
                    <a:pt x="0" y="1254"/>
                  </a:cubicBezTo>
                  <a:cubicBezTo>
                    <a:pt x="9" y="1250"/>
                    <a:pt x="19" y="1245"/>
                    <a:pt x="30" y="1239"/>
                  </a:cubicBezTo>
                  <a:cubicBezTo>
                    <a:pt x="32" y="1242"/>
                    <a:pt x="34" y="1244"/>
                    <a:pt x="36" y="1246"/>
                  </a:cubicBezTo>
                  <a:cubicBezTo>
                    <a:pt x="47" y="1257"/>
                    <a:pt x="58" y="1270"/>
                    <a:pt x="70" y="1284"/>
                  </a:cubicBezTo>
                  <a:cubicBezTo>
                    <a:pt x="45" y="1296"/>
                    <a:pt x="21" y="1306"/>
                    <a:pt x="0" y="1315"/>
                  </a:cubicBezTo>
                  <a:cubicBezTo>
                    <a:pt x="0" y="1327"/>
                    <a:pt x="0" y="1327"/>
                    <a:pt x="0" y="1327"/>
                  </a:cubicBezTo>
                  <a:cubicBezTo>
                    <a:pt x="24" y="1318"/>
                    <a:pt x="50" y="1306"/>
                    <a:pt x="78" y="1293"/>
                  </a:cubicBezTo>
                  <a:cubicBezTo>
                    <a:pt x="89" y="1306"/>
                    <a:pt x="100" y="1320"/>
                    <a:pt x="110" y="1334"/>
                  </a:cubicBezTo>
                  <a:cubicBezTo>
                    <a:pt x="81" y="1345"/>
                    <a:pt x="53" y="1355"/>
                    <a:pt x="27" y="1364"/>
                  </a:cubicBezTo>
                  <a:cubicBezTo>
                    <a:pt x="18" y="1353"/>
                    <a:pt x="9" y="1341"/>
                    <a:pt x="0" y="1329"/>
                  </a:cubicBezTo>
                  <a:cubicBezTo>
                    <a:pt x="0" y="1348"/>
                    <a:pt x="0" y="1348"/>
                    <a:pt x="0" y="1348"/>
                  </a:cubicBezTo>
                  <a:cubicBezTo>
                    <a:pt x="5" y="1354"/>
                    <a:pt x="10" y="1361"/>
                    <a:pt x="16" y="1368"/>
                  </a:cubicBezTo>
                  <a:cubicBezTo>
                    <a:pt x="10" y="1369"/>
                    <a:pt x="5" y="1371"/>
                    <a:pt x="0" y="1373"/>
                  </a:cubicBezTo>
                  <a:cubicBezTo>
                    <a:pt x="0" y="1399"/>
                    <a:pt x="0" y="1399"/>
                    <a:pt x="0" y="1399"/>
                  </a:cubicBezTo>
                  <a:cubicBezTo>
                    <a:pt x="7" y="1408"/>
                    <a:pt x="14" y="1417"/>
                    <a:pt x="21" y="1426"/>
                  </a:cubicBezTo>
                  <a:cubicBezTo>
                    <a:pt x="14" y="1428"/>
                    <a:pt x="7" y="1430"/>
                    <a:pt x="1" y="1431"/>
                  </a:cubicBezTo>
                  <a:cubicBezTo>
                    <a:pt x="0" y="1431"/>
                    <a:pt x="0" y="1431"/>
                    <a:pt x="0" y="1430"/>
                  </a:cubicBezTo>
                  <a:cubicBezTo>
                    <a:pt x="0" y="1448"/>
                    <a:pt x="0" y="1448"/>
                    <a:pt x="0" y="1448"/>
                  </a:cubicBezTo>
                  <a:cubicBezTo>
                    <a:pt x="8" y="1457"/>
                    <a:pt x="17" y="1468"/>
                    <a:pt x="27" y="1479"/>
                  </a:cubicBezTo>
                  <a:cubicBezTo>
                    <a:pt x="28" y="1481"/>
                    <a:pt x="29" y="1482"/>
                    <a:pt x="31" y="1484"/>
                  </a:cubicBezTo>
                  <a:cubicBezTo>
                    <a:pt x="20" y="1486"/>
                    <a:pt x="11" y="1487"/>
                    <a:pt x="3" y="1489"/>
                  </a:cubicBezTo>
                  <a:cubicBezTo>
                    <a:pt x="66" y="1489"/>
                    <a:pt x="66" y="1489"/>
                    <a:pt x="66" y="1489"/>
                  </a:cubicBezTo>
                  <a:cubicBezTo>
                    <a:pt x="67" y="1489"/>
                    <a:pt x="69" y="1488"/>
                    <a:pt x="71" y="1488"/>
                  </a:cubicBezTo>
                  <a:cubicBezTo>
                    <a:pt x="72" y="1488"/>
                    <a:pt x="72" y="1489"/>
                    <a:pt x="72" y="1489"/>
                  </a:cubicBezTo>
                  <a:cubicBezTo>
                    <a:pt x="87" y="1489"/>
                    <a:pt x="87" y="1489"/>
                    <a:pt x="87" y="1489"/>
                  </a:cubicBezTo>
                  <a:cubicBezTo>
                    <a:pt x="86" y="1488"/>
                    <a:pt x="85" y="1486"/>
                    <a:pt x="84" y="1485"/>
                  </a:cubicBezTo>
                  <a:cubicBezTo>
                    <a:pt x="93" y="1483"/>
                    <a:pt x="103" y="1481"/>
                    <a:pt x="113" y="1478"/>
                  </a:cubicBezTo>
                  <a:cubicBezTo>
                    <a:pt x="116" y="1482"/>
                    <a:pt x="120" y="1485"/>
                    <a:pt x="123" y="1489"/>
                  </a:cubicBezTo>
                  <a:cubicBezTo>
                    <a:pt x="139" y="1489"/>
                    <a:pt x="139" y="1489"/>
                    <a:pt x="139" y="1489"/>
                  </a:cubicBezTo>
                  <a:cubicBezTo>
                    <a:pt x="135" y="1484"/>
                    <a:pt x="130" y="1480"/>
                    <a:pt x="126" y="1475"/>
                  </a:cubicBezTo>
                  <a:cubicBezTo>
                    <a:pt x="150" y="1469"/>
                    <a:pt x="176" y="1462"/>
                    <a:pt x="203" y="1454"/>
                  </a:cubicBezTo>
                  <a:cubicBezTo>
                    <a:pt x="212" y="1466"/>
                    <a:pt x="221" y="1478"/>
                    <a:pt x="230" y="1489"/>
                  </a:cubicBezTo>
                  <a:cubicBezTo>
                    <a:pt x="245" y="1489"/>
                    <a:pt x="245" y="1489"/>
                    <a:pt x="245" y="1489"/>
                  </a:cubicBezTo>
                  <a:cubicBezTo>
                    <a:pt x="235" y="1477"/>
                    <a:pt x="225" y="1464"/>
                    <a:pt x="214" y="1451"/>
                  </a:cubicBezTo>
                  <a:cubicBezTo>
                    <a:pt x="215" y="1451"/>
                    <a:pt x="215" y="1450"/>
                    <a:pt x="216" y="1450"/>
                  </a:cubicBezTo>
                  <a:cubicBezTo>
                    <a:pt x="250" y="1440"/>
                    <a:pt x="288" y="1427"/>
                    <a:pt x="326" y="1411"/>
                  </a:cubicBezTo>
                  <a:cubicBezTo>
                    <a:pt x="338" y="1428"/>
                    <a:pt x="350" y="1444"/>
                    <a:pt x="362" y="1459"/>
                  </a:cubicBezTo>
                  <a:cubicBezTo>
                    <a:pt x="324" y="1471"/>
                    <a:pt x="286" y="1481"/>
                    <a:pt x="250" y="1489"/>
                  </a:cubicBezTo>
                  <a:cubicBezTo>
                    <a:pt x="302" y="1489"/>
                    <a:pt x="302" y="1489"/>
                    <a:pt x="302" y="1489"/>
                  </a:cubicBezTo>
                  <a:cubicBezTo>
                    <a:pt x="324" y="1483"/>
                    <a:pt x="347" y="1477"/>
                    <a:pt x="370" y="1469"/>
                  </a:cubicBezTo>
                  <a:cubicBezTo>
                    <a:pt x="375" y="1476"/>
                    <a:pt x="380" y="1483"/>
                    <a:pt x="386" y="1489"/>
                  </a:cubicBezTo>
                  <a:cubicBezTo>
                    <a:pt x="401" y="1489"/>
                    <a:pt x="401" y="1489"/>
                    <a:pt x="401" y="1489"/>
                  </a:cubicBezTo>
                  <a:cubicBezTo>
                    <a:pt x="394" y="1482"/>
                    <a:pt x="388" y="1474"/>
                    <a:pt x="382" y="1466"/>
                  </a:cubicBezTo>
                  <a:cubicBezTo>
                    <a:pt x="418" y="1454"/>
                    <a:pt x="454" y="1440"/>
                    <a:pt x="488" y="1423"/>
                  </a:cubicBezTo>
                  <a:cubicBezTo>
                    <a:pt x="504" y="1445"/>
                    <a:pt x="519" y="1465"/>
                    <a:pt x="533" y="1483"/>
                  </a:cubicBezTo>
                  <a:cubicBezTo>
                    <a:pt x="528" y="1485"/>
                    <a:pt x="522" y="1487"/>
                    <a:pt x="517" y="1489"/>
                  </a:cubicBezTo>
                  <a:cubicBezTo>
                    <a:pt x="553" y="1489"/>
                    <a:pt x="553" y="1489"/>
                    <a:pt x="553" y="1489"/>
                  </a:cubicBezTo>
                  <a:cubicBezTo>
                    <a:pt x="553" y="1488"/>
                    <a:pt x="552" y="1488"/>
                    <a:pt x="552" y="1487"/>
                  </a:cubicBezTo>
                  <a:cubicBezTo>
                    <a:pt x="586" y="1472"/>
                    <a:pt x="618" y="1455"/>
                    <a:pt x="646" y="1435"/>
                  </a:cubicBezTo>
                  <a:cubicBezTo>
                    <a:pt x="650" y="1440"/>
                    <a:pt x="654" y="1446"/>
                    <a:pt x="658" y="1451"/>
                  </a:cubicBezTo>
                  <a:cubicBezTo>
                    <a:pt x="666" y="1462"/>
                    <a:pt x="676" y="1475"/>
                    <a:pt x="687" y="1489"/>
                  </a:cubicBezTo>
                  <a:cubicBezTo>
                    <a:pt x="702" y="1489"/>
                    <a:pt x="702" y="1489"/>
                    <a:pt x="702" y="1489"/>
                  </a:cubicBezTo>
                  <a:cubicBezTo>
                    <a:pt x="688" y="1472"/>
                    <a:pt x="676" y="1457"/>
                    <a:pt x="667" y="1444"/>
                  </a:cubicBezTo>
                  <a:cubicBezTo>
                    <a:pt x="663" y="1439"/>
                    <a:pt x="659" y="1433"/>
                    <a:pt x="655" y="1428"/>
                  </a:cubicBezTo>
                  <a:cubicBezTo>
                    <a:pt x="663" y="1422"/>
                    <a:pt x="671" y="1416"/>
                    <a:pt x="678" y="1409"/>
                  </a:cubicBezTo>
                  <a:cubicBezTo>
                    <a:pt x="700" y="1389"/>
                    <a:pt x="722" y="1372"/>
                    <a:pt x="744" y="1357"/>
                  </a:cubicBezTo>
                  <a:cubicBezTo>
                    <a:pt x="757" y="1379"/>
                    <a:pt x="769" y="1399"/>
                    <a:pt x="781" y="1417"/>
                  </a:cubicBezTo>
                  <a:cubicBezTo>
                    <a:pt x="784" y="1422"/>
                    <a:pt x="788" y="1428"/>
                    <a:pt x="792" y="1433"/>
                  </a:cubicBezTo>
                  <a:cubicBezTo>
                    <a:pt x="763" y="1451"/>
                    <a:pt x="739" y="1469"/>
                    <a:pt x="718" y="1485"/>
                  </a:cubicBezTo>
                  <a:cubicBezTo>
                    <a:pt x="716" y="1486"/>
                    <a:pt x="714" y="1488"/>
                    <a:pt x="712" y="1489"/>
                  </a:cubicBezTo>
                  <a:cubicBezTo>
                    <a:pt x="732" y="1489"/>
                    <a:pt x="732" y="1489"/>
                    <a:pt x="732" y="1489"/>
                  </a:cubicBezTo>
                  <a:cubicBezTo>
                    <a:pt x="751" y="1475"/>
                    <a:pt x="773" y="1459"/>
                    <a:pt x="799" y="1443"/>
                  </a:cubicBezTo>
                  <a:cubicBezTo>
                    <a:pt x="809" y="1457"/>
                    <a:pt x="820" y="1472"/>
                    <a:pt x="834" y="1489"/>
                  </a:cubicBezTo>
                  <a:cubicBezTo>
                    <a:pt x="848" y="1489"/>
                    <a:pt x="848" y="1489"/>
                    <a:pt x="848" y="1489"/>
                  </a:cubicBezTo>
                  <a:cubicBezTo>
                    <a:pt x="833" y="1470"/>
                    <a:pt x="820" y="1452"/>
                    <a:pt x="808" y="1437"/>
                  </a:cubicBezTo>
                  <a:cubicBezTo>
                    <a:pt x="837" y="1419"/>
                    <a:pt x="868" y="1400"/>
                    <a:pt x="902" y="1380"/>
                  </a:cubicBezTo>
                  <a:cubicBezTo>
                    <a:pt x="903" y="1381"/>
                    <a:pt x="903" y="1382"/>
                    <a:pt x="904" y="1383"/>
                  </a:cubicBezTo>
                  <a:cubicBezTo>
                    <a:pt x="916" y="1404"/>
                    <a:pt x="933" y="1430"/>
                    <a:pt x="955" y="1460"/>
                  </a:cubicBezTo>
                  <a:cubicBezTo>
                    <a:pt x="937" y="1470"/>
                    <a:pt x="919" y="1479"/>
                    <a:pt x="902" y="1489"/>
                  </a:cubicBezTo>
                  <a:cubicBezTo>
                    <a:pt x="927" y="1489"/>
                    <a:pt x="927" y="1489"/>
                    <a:pt x="927" y="1489"/>
                  </a:cubicBezTo>
                  <a:cubicBezTo>
                    <a:pt x="938" y="1482"/>
                    <a:pt x="950" y="1476"/>
                    <a:pt x="962" y="1469"/>
                  </a:cubicBezTo>
                  <a:cubicBezTo>
                    <a:pt x="967" y="1476"/>
                    <a:pt x="972" y="1482"/>
                    <a:pt x="977" y="1489"/>
                  </a:cubicBezTo>
                  <a:cubicBezTo>
                    <a:pt x="992" y="1489"/>
                    <a:pt x="992" y="1489"/>
                    <a:pt x="992" y="1489"/>
                  </a:cubicBezTo>
                  <a:cubicBezTo>
                    <a:pt x="985" y="1480"/>
                    <a:pt x="978" y="1472"/>
                    <a:pt x="972" y="1464"/>
                  </a:cubicBezTo>
                  <a:cubicBezTo>
                    <a:pt x="1002" y="1448"/>
                    <a:pt x="1034" y="1431"/>
                    <a:pt x="1066" y="1415"/>
                  </a:cubicBezTo>
                  <a:cubicBezTo>
                    <a:pt x="1081" y="1438"/>
                    <a:pt x="1098" y="1462"/>
                    <a:pt x="1117" y="1488"/>
                  </a:cubicBezTo>
                  <a:cubicBezTo>
                    <a:pt x="1118" y="1488"/>
                    <a:pt x="1118" y="1489"/>
                    <a:pt x="1118" y="1489"/>
                  </a:cubicBezTo>
                  <a:cubicBezTo>
                    <a:pt x="1132" y="1489"/>
                    <a:pt x="1132" y="1489"/>
                    <a:pt x="1132" y="1489"/>
                  </a:cubicBezTo>
                  <a:cubicBezTo>
                    <a:pt x="1130" y="1486"/>
                    <a:pt x="1128" y="1483"/>
                    <a:pt x="1126" y="1480"/>
                  </a:cubicBezTo>
                  <a:cubicBezTo>
                    <a:pt x="1107" y="1456"/>
                    <a:pt x="1091" y="1432"/>
                    <a:pt x="1076" y="1410"/>
                  </a:cubicBezTo>
                  <a:cubicBezTo>
                    <a:pt x="1108" y="1394"/>
                    <a:pt x="1141" y="1379"/>
                    <a:pt x="1175" y="1365"/>
                  </a:cubicBezTo>
                  <a:cubicBezTo>
                    <a:pt x="1189" y="1390"/>
                    <a:pt x="1207" y="1419"/>
                    <a:pt x="1229" y="1449"/>
                  </a:cubicBezTo>
                  <a:cubicBezTo>
                    <a:pt x="1198" y="1461"/>
                    <a:pt x="1167" y="1475"/>
                    <a:pt x="1137" y="1489"/>
                  </a:cubicBezTo>
                  <a:cubicBezTo>
                    <a:pt x="1165" y="1489"/>
                    <a:pt x="1165" y="1489"/>
                    <a:pt x="1165" y="1489"/>
                  </a:cubicBezTo>
                  <a:cubicBezTo>
                    <a:pt x="1188" y="1479"/>
                    <a:pt x="1212" y="1468"/>
                    <a:pt x="1235" y="1459"/>
                  </a:cubicBezTo>
                  <a:cubicBezTo>
                    <a:pt x="1242" y="1469"/>
                    <a:pt x="1249" y="1479"/>
                    <a:pt x="1256" y="1489"/>
                  </a:cubicBezTo>
                  <a:cubicBezTo>
                    <a:pt x="1269" y="1489"/>
                    <a:pt x="1269" y="1489"/>
                    <a:pt x="1269" y="1489"/>
                  </a:cubicBezTo>
                  <a:cubicBezTo>
                    <a:pt x="1262" y="1477"/>
                    <a:pt x="1254" y="1466"/>
                    <a:pt x="1246" y="1455"/>
                  </a:cubicBezTo>
                  <a:cubicBezTo>
                    <a:pt x="1280" y="1442"/>
                    <a:pt x="1313" y="1430"/>
                    <a:pt x="1347" y="1420"/>
                  </a:cubicBezTo>
                  <a:cubicBezTo>
                    <a:pt x="1348" y="1422"/>
                    <a:pt x="1350" y="1424"/>
                    <a:pt x="1351" y="1427"/>
                  </a:cubicBezTo>
                  <a:cubicBezTo>
                    <a:pt x="1364" y="1446"/>
                    <a:pt x="1377" y="1467"/>
                    <a:pt x="1389" y="1489"/>
                  </a:cubicBezTo>
                  <a:cubicBezTo>
                    <a:pt x="1402" y="1489"/>
                    <a:pt x="1402" y="1489"/>
                    <a:pt x="1402" y="1489"/>
                  </a:cubicBezTo>
                  <a:cubicBezTo>
                    <a:pt x="1389" y="1465"/>
                    <a:pt x="1375" y="1442"/>
                    <a:pt x="1360" y="1420"/>
                  </a:cubicBezTo>
                  <a:cubicBezTo>
                    <a:pt x="1360" y="1419"/>
                    <a:pt x="1359" y="1418"/>
                    <a:pt x="1358" y="1417"/>
                  </a:cubicBezTo>
                  <a:cubicBezTo>
                    <a:pt x="1371" y="1413"/>
                    <a:pt x="1384" y="1410"/>
                    <a:pt x="1396" y="1407"/>
                  </a:cubicBezTo>
                  <a:cubicBezTo>
                    <a:pt x="1417" y="1402"/>
                    <a:pt x="1440" y="1397"/>
                    <a:pt x="1466" y="1393"/>
                  </a:cubicBezTo>
                  <a:cubicBezTo>
                    <a:pt x="1467" y="1394"/>
                    <a:pt x="1468" y="1395"/>
                    <a:pt x="1468" y="1396"/>
                  </a:cubicBezTo>
                  <a:cubicBezTo>
                    <a:pt x="1485" y="1424"/>
                    <a:pt x="1502" y="1454"/>
                    <a:pt x="1517" y="1486"/>
                  </a:cubicBezTo>
                  <a:cubicBezTo>
                    <a:pt x="1510" y="1487"/>
                    <a:pt x="1503" y="1488"/>
                    <a:pt x="1497" y="1489"/>
                  </a:cubicBezTo>
                  <a:cubicBezTo>
                    <a:pt x="1589" y="1489"/>
                    <a:pt x="1589" y="1489"/>
                    <a:pt x="1589" y="1489"/>
                  </a:cubicBezTo>
                  <a:cubicBezTo>
                    <a:pt x="1606" y="1487"/>
                    <a:pt x="1624" y="1485"/>
                    <a:pt x="1642" y="1483"/>
                  </a:cubicBezTo>
                  <a:cubicBezTo>
                    <a:pt x="1643" y="1485"/>
                    <a:pt x="1644" y="1487"/>
                    <a:pt x="1645" y="1489"/>
                  </a:cubicBezTo>
                  <a:cubicBezTo>
                    <a:pt x="1657" y="1489"/>
                    <a:pt x="1657" y="1489"/>
                    <a:pt x="1657" y="1489"/>
                  </a:cubicBezTo>
                  <a:cubicBezTo>
                    <a:pt x="1656" y="1487"/>
                    <a:pt x="1655" y="1485"/>
                    <a:pt x="1654" y="1482"/>
                  </a:cubicBezTo>
                  <a:cubicBezTo>
                    <a:pt x="1688" y="1479"/>
                    <a:pt x="1724" y="1477"/>
                    <a:pt x="1762" y="1475"/>
                  </a:cubicBezTo>
                  <a:cubicBezTo>
                    <a:pt x="1764" y="1480"/>
                    <a:pt x="1765" y="1484"/>
                    <a:pt x="1767" y="1489"/>
                  </a:cubicBezTo>
                  <a:cubicBezTo>
                    <a:pt x="1779" y="1489"/>
                    <a:pt x="1779" y="1489"/>
                    <a:pt x="1779" y="1489"/>
                  </a:cubicBezTo>
                  <a:cubicBezTo>
                    <a:pt x="1777" y="1484"/>
                    <a:pt x="1776" y="1479"/>
                    <a:pt x="1774" y="1474"/>
                  </a:cubicBezTo>
                  <a:cubicBezTo>
                    <a:pt x="1808" y="1473"/>
                    <a:pt x="1844" y="1471"/>
                    <a:pt x="1881" y="1471"/>
                  </a:cubicBezTo>
                  <a:cubicBezTo>
                    <a:pt x="1883" y="1477"/>
                    <a:pt x="1884" y="1483"/>
                    <a:pt x="1886" y="1489"/>
                  </a:cubicBezTo>
                  <a:cubicBezTo>
                    <a:pt x="1898" y="1489"/>
                    <a:pt x="1898" y="1489"/>
                    <a:pt x="1898" y="1489"/>
                  </a:cubicBezTo>
                  <a:cubicBezTo>
                    <a:pt x="1896" y="1483"/>
                    <a:pt x="1894" y="1477"/>
                    <a:pt x="1893" y="1470"/>
                  </a:cubicBezTo>
                  <a:cubicBezTo>
                    <a:pt x="1906" y="1470"/>
                    <a:pt x="1920" y="1470"/>
                    <a:pt x="1934" y="1470"/>
                  </a:cubicBezTo>
                  <a:cubicBezTo>
                    <a:pt x="1954" y="1470"/>
                    <a:pt x="1975" y="1470"/>
                    <a:pt x="1995" y="1471"/>
                  </a:cubicBezTo>
                  <a:cubicBezTo>
                    <a:pt x="1997" y="1477"/>
                    <a:pt x="1998" y="1483"/>
                    <a:pt x="1999" y="1489"/>
                  </a:cubicBezTo>
                  <a:cubicBezTo>
                    <a:pt x="2010" y="1489"/>
                    <a:pt x="2010" y="1489"/>
                    <a:pt x="2010" y="1489"/>
                  </a:cubicBezTo>
                  <a:cubicBezTo>
                    <a:pt x="2009" y="1483"/>
                    <a:pt x="2008" y="1477"/>
                    <a:pt x="2007" y="1471"/>
                  </a:cubicBezTo>
                  <a:cubicBezTo>
                    <a:pt x="2037" y="1472"/>
                    <a:pt x="2067" y="1473"/>
                    <a:pt x="2097" y="1475"/>
                  </a:cubicBezTo>
                  <a:cubicBezTo>
                    <a:pt x="2097" y="1463"/>
                    <a:pt x="2097" y="1463"/>
                    <a:pt x="2097" y="1463"/>
                  </a:cubicBezTo>
                  <a:cubicBezTo>
                    <a:pt x="2066" y="1461"/>
                    <a:pt x="2035" y="1460"/>
                    <a:pt x="2004" y="1459"/>
                  </a:cubicBezTo>
                  <a:cubicBezTo>
                    <a:pt x="1997" y="1425"/>
                    <a:pt x="1989" y="1392"/>
                    <a:pt x="1980" y="1361"/>
                  </a:cubicBezTo>
                  <a:cubicBezTo>
                    <a:pt x="2017" y="1363"/>
                    <a:pt x="2055" y="1365"/>
                    <a:pt x="2091" y="1370"/>
                  </a:cubicBezTo>
                  <a:cubicBezTo>
                    <a:pt x="2093" y="1379"/>
                    <a:pt x="2096" y="1389"/>
                    <a:pt x="2097" y="1399"/>
                  </a:cubicBezTo>
                  <a:cubicBezTo>
                    <a:pt x="2097" y="1346"/>
                    <a:pt x="2097" y="1346"/>
                    <a:pt x="2097" y="1346"/>
                  </a:cubicBezTo>
                  <a:cubicBezTo>
                    <a:pt x="2091" y="1318"/>
                    <a:pt x="2083" y="1290"/>
                    <a:pt x="2073" y="1265"/>
                  </a:cubicBezTo>
                  <a:cubicBezTo>
                    <a:pt x="2082" y="1266"/>
                    <a:pt x="2089" y="1268"/>
                    <a:pt x="2097" y="1269"/>
                  </a:cubicBezTo>
                  <a:cubicBezTo>
                    <a:pt x="2097" y="1257"/>
                    <a:pt x="2097" y="1257"/>
                    <a:pt x="2097" y="1257"/>
                  </a:cubicBezTo>
                  <a:cubicBezTo>
                    <a:pt x="2088" y="1255"/>
                    <a:pt x="2078" y="1253"/>
                    <a:pt x="2069" y="1252"/>
                  </a:cubicBezTo>
                  <a:cubicBezTo>
                    <a:pt x="2067" y="1247"/>
                    <a:pt x="2065" y="1242"/>
                    <a:pt x="2063" y="1238"/>
                  </a:cubicBezTo>
                  <a:cubicBezTo>
                    <a:pt x="2053" y="1212"/>
                    <a:pt x="2044" y="1186"/>
                    <a:pt x="2037" y="1158"/>
                  </a:cubicBezTo>
                  <a:cubicBezTo>
                    <a:pt x="2059" y="1163"/>
                    <a:pt x="2080" y="1167"/>
                    <a:pt x="2097" y="1172"/>
                  </a:cubicBezTo>
                  <a:cubicBezTo>
                    <a:pt x="2097" y="1159"/>
                    <a:pt x="2097" y="1159"/>
                    <a:pt x="2097" y="1159"/>
                  </a:cubicBezTo>
                  <a:cubicBezTo>
                    <a:pt x="2077" y="1154"/>
                    <a:pt x="2056" y="1149"/>
                    <a:pt x="2033" y="1144"/>
                  </a:cubicBezTo>
                  <a:cubicBezTo>
                    <a:pt x="2028" y="1121"/>
                    <a:pt x="2024" y="1097"/>
                    <a:pt x="2021" y="1074"/>
                  </a:cubicBezTo>
                  <a:cubicBezTo>
                    <a:pt x="2020" y="1068"/>
                    <a:pt x="2019" y="1061"/>
                    <a:pt x="2018" y="1053"/>
                  </a:cubicBezTo>
                  <a:cubicBezTo>
                    <a:pt x="2045" y="1061"/>
                    <a:pt x="2072" y="1069"/>
                    <a:pt x="2097" y="1079"/>
                  </a:cubicBezTo>
                  <a:cubicBezTo>
                    <a:pt x="2097" y="1066"/>
                    <a:pt x="2097" y="1066"/>
                    <a:pt x="2097" y="1066"/>
                  </a:cubicBezTo>
                  <a:cubicBezTo>
                    <a:pt x="2072" y="1056"/>
                    <a:pt x="2044" y="1048"/>
                    <a:pt x="2016" y="1041"/>
                  </a:cubicBezTo>
                  <a:cubicBezTo>
                    <a:pt x="2013" y="1015"/>
                    <a:pt x="2010" y="985"/>
                    <a:pt x="2007" y="953"/>
                  </a:cubicBezTo>
                  <a:cubicBezTo>
                    <a:pt x="2030" y="961"/>
                    <a:pt x="2053" y="970"/>
                    <a:pt x="2075" y="980"/>
                  </a:cubicBezTo>
                  <a:cubicBezTo>
                    <a:pt x="2083" y="984"/>
                    <a:pt x="2090" y="987"/>
                    <a:pt x="2097" y="990"/>
                  </a:cubicBezTo>
                  <a:cubicBezTo>
                    <a:pt x="2097" y="977"/>
                    <a:pt x="2097" y="977"/>
                    <a:pt x="2097" y="977"/>
                  </a:cubicBezTo>
                  <a:cubicBezTo>
                    <a:pt x="2092" y="975"/>
                    <a:pt x="2086" y="972"/>
                    <a:pt x="2080" y="969"/>
                  </a:cubicBezTo>
                  <a:cubicBezTo>
                    <a:pt x="2056" y="958"/>
                    <a:pt x="2031" y="948"/>
                    <a:pt x="2005" y="940"/>
                  </a:cubicBezTo>
                  <a:cubicBezTo>
                    <a:pt x="2003" y="913"/>
                    <a:pt x="2000" y="884"/>
                    <a:pt x="1997" y="855"/>
                  </a:cubicBezTo>
                  <a:cubicBezTo>
                    <a:pt x="2015" y="862"/>
                    <a:pt x="2032" y="870"/>
                    <a:pt x="2048" y="879"/>
                  </a:cubicBezTo>
                  <a:cubicBezTo>
                    <a:pt x="2065" y="889"/>
                    <a:pt x="2081" y="897"/>
                    <a:pt x="2097" y="905"/>
                  </a:cubicBezTo>
                  <a:cubicBezTo>
                    <a:pt x="2097" y="892"/>
                    <a:pt x="2097" y="892"/>
                    <a:pt x="2097" y="892"/>
                  </a:cubicBezTo>
                  <a:cubicBezTo>
                    <a:pt x="2083" y="885"/>
                    <a:pt x="2068" y="877"/>
                    <a:pt x="2053" y="869"/>
                  </a:cubicBezTo>
                  <a:cubicBezTo>
                    <a:pt x="2035" y="859"/>
                    <a:pt x="2016" y="850"/>
                    <a:pt x="1996" y="842"/>
                  </a:cubicBezTo>
                  <a:cubicBezTo>
                    <a:pt x="1994" y="815"/>
                    <a:pt x="1992" y="788"/>
                    <a:pt x="1991" y="761"/>
                  </a:cubicBezTo>
                  <a:cubicBezTo>
                    <a:pt x="2001" y="767"/>
                    <a:pt x="2011" y="772"/>
                    <a:pt x="2021" y="779"/>
                  </a:cubicBezTo>
                  <a:cubicBezTo>
                    <a:pt x="2047" y="795"/>
                    <a:pt x="2073" y="810"/>
                    <a:pt x="2097" y="824"/>
                  </a:cubicBezTo>
                  <a:cubicBezTo>
                    <a:pt x="2097" y="810"/>
                    <a:pt x="2097" y="810"/>
                    <a:pt x="2097" y="810"/>
                  </a:cubicBezTo>
                  <a:cubicBezTo>
                    <a:pt x="2074" y="798"/>
                    <a:pt x="2051" y="784"/>
                    <a:pt x="2027" y="768"/>
                  </a:cubicBezTo>
                  <a:cubicBezTo>
                    <a:pt x="2015" y="761"/>
                    <a:pt x="2003" y="754"/>
                    <a:pt x="1990" y="748"/>
                  </a:cubicBezTo>
                  <a:cubicBezTo>
                    <a:pt x="1989" y="727"/>
                    <a:pt x="1988" y="707"/>
                    <a:pt x="1988" y="688"/>
                  </a:cubicBezTo>
                  <a:cubicBezTo>
                    <a:pt x="1988" y="683"/>
                    <a:pt x="1988" y="679"/>
                    <a:pt x="1988" y="674"/>
                  </a:cubicBezTo>
                  <a:cubicBezTo>
                    <a:pt x="1990" y="675"/>
                    <a:pt x="1992" y="676"/>
                    <a:pt x="1994" y="678"/>
                  </a:cubicBezTo>
                  <a:cubicBezTo>
                    <a:pt x="2030" y="703"/>
                    <a:pt x="2064" y="726"/>
                    <a:pt x="2097" y="745"/>
                  </a:cubicBezTo>
                  <a:cubicBezTo>
                    <a:pt x="2097" y="732"/>
                    <a:pt x="2097" y="732"/>
                    <a:pt x="2097" y="732"/>
                  </a:cubicBezTo>
                  <a:cubicBezTo>
                    <a:pt x="2066" y="713"/>
                    <a:pt x="2034" y="692"/>
                    <a:pt x="2000" y="668"/>
                  </a:cubicBezTo>
                  <a:cubicBezTo>
                    <a:pt x="1996" y="665"/>
                    <a:pt x="1992" y="662"/>
                    <a:pt x="1988" y="660"/>
                  </a:cubicBezTo>
                  <a:cubicBezTo>
                    <a:pt x="1988" y="659"/>
                    <a:pt x="1988" y="658"/>
                    <a:pt x="1988" y="658"/>
                  </a:cubicBezTo>
                  <a:cubicBezTo>
                    <a:pt x="1988" y="639"/>
                    <a:pt x="1988" y="617"/>
                    <a:pt x="1989" y="594"/>
                  </a:cubicBezTo>
                  <a:cubicBezTo>
                    <a:pt x="2026" y="622"/>
                    <a:pt x="2062" y="648"/>
                    <a:pt x="2097" y="670"/>
                  </a:cubicBezTo>
                  <a:cubicBezTo>
                    <a:pt x="2097" y="656"/>
                    <a:pt x="2097" y="656"/>
                    <a:pt x="2097" y="656"/>
                  </a:cubicBezTo>
                  <a:cubicBezTo>
                    <a:pt x="2063" y="634"/>
                    <a:pt x="2027" y="609"/>
                    <a:pt x="1989" y="580"/>
                  </a:cubicBezTo>
                  <a:cubicBezTo>
                    <a:pt x="1989" y="560"/>
                    <a:pt x="1990" y="540"/>
                    <a:pt x="1991" y="520"/>
                  </a:cubicBezTo>
                  <a:cubicBezTo>
                    <a:pt x="2027" y="549"/>
                    <a:pt x="2062" y="576"/>
                    <a:pt x="2097" y="599"/>
                  </a:cubicBezTo>
                  <a:cubicBezTo>
                    <a:pt x="2097" y="585"/>
                    <a:pt x="2097" y="585"/>
                    <a:pt x="2097" y="585"/>
                  </a:cubicBezTo>
                  <a:cubicBezTo>
                    <a:pt x="2063" y="561"/>
                    <a:pt x="2027" y="535"/>
                    <a:pt x="1991" y="505"/>
                  </a:cubicBezTo>
                  <a:cubicBezTo>
                    <a:pt x="1992" y="486"/>
                    <a:pt x="1993" y="468"/>
                    <a:pt x="1993" y="449"/>
                  </a:cubicBezTo>
                  <a:cubicBezTo>
                    <a:pt x="2029" y="480"/>
                    <a:pt x="2063" y="506"/>
                    <a:pt x="2097" y="530"/>
                  </a:cubicBezTo>
                  <a:cubicBezTo>
                    <a:pt x="2097" y="516"/>
                    <a:pt x="2097" y="516"/>
                    <a:pt x="2097" y="516"/>
                  </a:cubicBezTo>
                  <a:cubicBezTo>
                    <a:pt x="2063" y="492"/>
                    <a:pt x="2029" y="465"/>
                    <a:pt x="1994" y="435"/>
                  </a:cubicBezTo>
                  <a:cubicBezTo>
                    <a:pt x="1995" y="417"/>
                    <a:pt x="1995" y="400"/>
                    <a:pt x="1996" y="383"/>
                  </a:cubicBezTo>
                  <a:cubicBezTo>
                    <a:pt x="2030" y="414"/>
                    <a:pt x="2064" y="440"/>
                    <a:pt x="2097" y="464"/>
                  </a:cubicBezTo>
                  <a:cubicBezTo>
                    <a:pt x="2097" y="450"/>
                    <a:pt x="2097" y="450"/>
                    <a:pt x="2097" y="450"/>
                  </a:cubicBezTo>
                  <a:cubicBezTo>
                    <a:pt x="2064" y="426"/>
                    <a:pt x="2031" y="399"/>
                    <a:pt x="1997" y="368"/>
                  </a:cubicBezTo>
                  <a:cubicBezTo>
                    <a:pt x="1998" y="351"/>
                    <a:pt x="1999" y="334"/>
                    <a:pt x="1999" y="319"/>
                  </a:cubicBezTo>
                  <a:cubicBezTo>
                    <a:pt x="2032" y="349"/>
                    <a:pt x="2065" y="375"/>
                    <a:pt x="2097" y="398"/>
                  </a:cubicBezTo>
                  <a:cubicBezTo>
                    <a:pt x="2097" y="384"/>
                    <a:pt x="2097" y="384"/>
                    <a:pt x="2097" y="384"/>
                  </a:cubicBezTo>
                  <a:cubicBezTo>
                    <a:pt x="2065" y="361"/>
                    <a:pt x="2033" y="334"/>
                    <a:pt x="2000" y="304"/>
                  </a:cubicBezTo>
                  <a:cubicBezTo>
                    <a:pt x="2001" y="286"/>
                    <a:pt x="2002" y="270"/>
                    <a:pt x="2003" y="258"/>
                  </a:cubicBezTo>
                  <a:cubicBezTo>
                    <a:pt x="2023" y="277"/>
                    <a:pt x="2043" y="294"/>
                    <a:pt x="2063" y="309"/>
                  </a:cubicBezTo>
                  <a:cubicBezTo>
                    <a:pt x="2063" y="309"/>
                    <a:pt x="2063" y="310"/>
                    <a:pt x="2063" y="310"/>
                  </a:cubicBezTo>
                  <a:cubicBezTo>
                    <a:pt x="2064" y="310"/>
                    <a:pt x="2064" y="310"/>
                    <a:pt x="2064" y="310"/>
                  </a:cubicBezTo>
                  <a:cubicBezTo>
                    <a:pt x="2075" y="319"/>
                    <a:pt x="2086" y="327"/>
                    <a:pt x="2097" y="335"/>
                  </a:cubicBezTo>
                  <a:cubicBezTo>
                    <a:pt x="2097" y="320"/>
                    <a:pt x="2097" y="320"/>
                    <a:pt x="2097" y="320"/>
                  </a:cubicBezTo>
                  <a:cubicBezTo>
                    <a:pt x="2089" y="314"/>
                    <a:pt x="2080" y="307"/>
                    <a:pt x="2071" y="300"/>
                  </a:cubicBezTo>
                  <a:cubicBezTo>
                    <a:pt x="2069" y="297"/>
                    <a:pt x="2067" y="293"/>
                    <a:pt x="2065" y="290"/>
                  </a:cubicBezTo>
                  <a:cubicBezTo>
                    <a:pt x="2075" y="298"/>
                    <a:pt x="2086" y="306"/>
                    <a:pt x="2097" y="313"/>
                  </a:cubicBezTo>
                  <a:cubicBezTo>
                    <a:pt x="2097" y="296"/>
                    <a:pt x="2097" y="296"/>
                    <a:pt x="2097" y="296"/>
                  </a:cubicBezTo>
                  <a:cubicBezTo>
                    <a:pt x="2082" y="285"/>
                    <a:pt x="2066" y="273"/>
                    <a:pt x="2050" y="260"/>
                  </a:cubicBezTo>
                  <a:cubicBezTo>
                    <a:pt x="2047" y="254"/>
                    <a:pt x="2045" y="248"/>
                    <a:pt x="2043" y="242"/>
                  </a:cubicBezTo>
                  <a:cubicBezTo>
                    <a:pt x="2060" y="259"/>
                    <a:pt x="2079" y="275"/>
                    <a:pt x="2097" y="290"/>
                  </a:cubicBezTo>
                  <a:cubicBezTo>
                    <a:pt x="2097" y="275"/>
                    <a:pt x="2097" y="275"/>
                    <a:pt x="2097" y="275"/>
                  </a:cubicBezTo>
                  <a:cubicBezTo>
                    <a:pt x="2076" y="258"/>
                    <a:pt x="2056" y="239"/>
                    <a:pt x="2036" y="219"/>
                  </a:cubicBezTo>
                  <a:cubicBezTo>
                    <a:pt x="2035" y="214"/>
                    <a:pt x="2034" y="210"/>
                    <a:pt x="2033" y="205"/>
                  </a:cubicBezTo>
                  <a:cubicBezTo>
                    <a:pt x="2052" y="228"/>
                    <a:pt x="2074" y="251"/>
                    <a:pt x="2097" y="271"/>
                  </a:cubicBezTo>
                  <a:cubicBezTo>
                    <a:pt x="2097" y="252"/>
                    <a:pt x="2097" y="252"/>
                    <a:pt x="2097" y="252"/>
                  </a:cubicBezTo>
                  <a:cubicBezTo>
                    <a:pt x="2071" y="223"/>
                    <a:pt x="2046" y="187"/>
                    <a:pt x="2025" y="148"/>
                  </a:cubicBezTo>
                  <a:cubicBezTo>
                    <a:pt x="2025" y="141"/>
                    <a:pt x="2024" y="135"/>
                    <a:pt x="2024" y="128"/>
                  </a:cubicBezTo>
                  <a:cubicBezTo>
                    <a:pt x="2024" y="124"/>
                    <a:pt x="2025" y="119"/>
                    <a:pt x="2025" y="115"/>
                  </a:cubicBezTo>
                  <a:cubicBezTo>
                    <a:pt x="2041" y="151"/>
                    <a:pt x="2058" y="185"/>
                    <a:pt x="2078" y="216"/>
                  </a:cubicBezTo>
                  <a:cubicBezTo>
                    <a:pt x="2078" y="217"/>
                    <a:pt x="2078" y="217"/>
                    <a:pt x="2078" y="217"/>
                  </a:cubicBezTo>
                  <a:cubicBezTo>
                    <a:pt x="2078" y="217"/>
                    <a:pt x="2078" y="217"/>
                    <a:pt x="2078" y="217"/>
                  </a:cubicBezTo>
                  <a:cubicBezTo>
                    <a:pt x="2085" y="227"/>
                    <a:pt x="2091" y="236"/>
                    <a:pt x="2097" y="245"/>
                  </a:cubicBezTo>
                  <a:cubicBezTo>
                    <a:pt x="2097" y="218"/>
                    <a:pt x="2097" y="218"/>
                    <a:pt x="2097" y="218"/>
                  </a:cubicBezTo>
                  <a:cubicBezTo>
                    <a:pt x="2095" y="215"/>
                    <a:pt x="2093" y="211"/>
                    <a:pt x="2090" y="208"/>
                  </a:cubicBezTo>
                  <a:cubicBezTo>
                    <a:pt x="2091" y="203"/>
                    <a:pt x="2092" y="196"/>
                    <a:pt x="2094" y="188"/>
                  </a:cubicBezTo>
                  <a:cubicBezTo>
                    <a:pt x="2095" y="189"/>
                    <a:pt x="2096" y="191"/>
                    <a:pt x="2097" y="192"/>
                  </a:cubicBezTo>
                  <a:cubicBezTo>
                    <a:pt x="2097" y="175"/>
                    <a:pt x="2097" y="175"/>
                    <a:pt x="2097" y="175"/>
                  </a:cubicBezTo>
                  <a:cubicBezTo>
                    <a:pt x="2097" y="175"/>
                    <a:pt x="2097" y="174"/>
                    <a:pt x="2096" y="174"/>
                  </a:cubicBezTo>
                  <a:cubicBezTo>
                    <a:pt x="2097" y="173"/>
                    <a:pt x="2097" y="171"/>
                    <a:pt x="2097" y="170"/>
                  </a:cubicBezTo>
                  <a:cubicBezTo>
                    <a:pt x="2097" y="118"/>
                    <a:pt x="2097" y="118"/>
                    <a:pt x="2097" y="118"/>
                  </a:cubicBezTo>
                  <a:cubicBezTo>
                    <a:pt x="2092" y="112"/>
                    <a:pt x="2087" y="106"/>
                    <a:pt x="2082" y="99"/>
                  </a:cubicBezTo>
                  <a:cubicBezTo>
                    <a:pt x="2082" y="97"/>
                    <a:pt x="2082" y="95"/>
                    <a:pt x="2082" y="93"/>
                  </a:cubicBezTo>
                  <a:cubicBezTo>
                    <a:pt x="2082" y="84"/>
                    <a:pt x="2083" y="72"/>
                    <a:pt x="2085" y="57"/>
                  </a:cubicBezTo>
                  <a:cubicBezTo>
                    <a:pt x="2089" y="63"/>
                    <a:pt x="2093" y="69"/>
                    <a:pt x="2097" y="74"/>
                  </a:cubicBezTo>
                  <a:cubicBezTo>
                    <a:pt x="2097" y="54"/>
                    <a:pt x="2097" y="54"/>
                    <a:pt x="2097" y="54"/>
                  </a:cubicBezTo>
                  <a:cubicBezTo>
                    <a:pt x="2094" y="49"/>
                    <a:pt x="2091" y="45"/>
                    <a:pt x="2088" y="41"/>
                  </a:cubicBezTo>
                  <a:cubicBezTo>
                    <a:pt x="2089" y="38"/>
                    <a:pt x="2089" y="35"/>
                    <a:pt x="2090" y="32"/>
                  </a:cubicBezTo>
                  <a:cubicBezTo>
                    <a:pt x="2092" y="36"/>
                    <a:pt x="2095" y="39"/>
                    <a:pt x="2097" y="43"/>
                  </a:cubicBezTo>
                  <a:cubicBezTo>
                    <a:pt x="2097" y="22"/>
                    <a:pt x="2097" y="22"/>
                    <a:pt x="2097" y="22"/>
                  </a:cubicBezTo>
                  <a:cubicBezTo>
                    <a:pt x="2096" y="21"/>
                    <a:pt x="2095" y="19"/>
                    <a:pt x="2094" y="17"/>
                  </a:cubicBezTo>
                  <a:cubicBezTo>
                    <a:pt x="2095" y="14"/>
                    <a:pt x="2096" y="10"/>
                    <a:pt x="2097" y="7"/>
                  </a:cubicBezTo>
                  <a:cubicBezTo>
                    <a:pt x="2097" y="0"/>
                    <a:pt x="2097" y="0"/>
                    <a:pt x="209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74" name="Freeform 680"/>
            <p:cNvSpPr>
              <a:spLocks noEditPoints="1"/>
            </p:cNvSpPr>
            <p:nvPr/>
          </p:nvSpPr>
          <p:spPr bwMode="auto">
            <a:xfrm>
              <a:off x="1700" y="3008"/>
              <a:ext cx="3234" cy="803"/>
            </a:xfrm>
            <a:custGeom>
              <a:avLst/>
              <a:gdLst>
                <a:gd name="T0" fmla="*/ 371 w 5244"/>
                <a:gd name="T1" fmla="*/ 20 h 1302"/>
                <a:gd name="T2" fmla="*/ 31 w 5244"/>
                <a:gd name="T3" fmla="*/ 4 h 1302"/>
                <a:gd name="T4" fmla="*/ 403 w 5244"/>
                <a:gd name="T5" fmla="*/ 9 h 1302"/>
                <a:gd name="T6" fmla="*/ 231 w 5244"/>
                <a:gd name="T7" fmla="*/ 29 h 1302"/>
                <a:gd name="T8" fmla="*/ 70 w 5244"/>
                <a:gd name="T9" fmla="*/ 50 h 1302"/>
                <a:gd name="T10" fmla="*/ 2004 w 5244"/>
                <a:gd name="T11" fmla="*/ 2 h 1302"/>
                <a:gd name="T12" fmla="*/ 2016 w 5244"/>
                <a:gd name="T13" fmla="*/ 18 h 1302"/>
                <a:gd name="T14" fmla="*/ 4281 w 5244"/>
                <a:gd name="T15" fmla="*/ 1040 h 1302"/>
                <a:gd name="T16" fmla="*/ 4256 w 5244"/>
                <a:gd name="T17" fmla="*/ 998 h 1302"/>
                <a:gd name="T18" fmla="*/ 4199 w 5244"/>
                <a:gd name="T19" fmla="*/ 897 h 1302"/>
                <a:gd name="T20" fmla="*/ 4379 w 5244"/>
                <a:gd name="T21" fmla="*/ 785 h 1302"/>
                <a:gd name="T22" fmla="*/ 4242 w 5244"/>
                <a:gd name="T23" fmla="*/ 712 h 1302"/>
                <a:gd name="T24" fmla="*/ 4349 w 5244"/>
                <a:gd name="T25" fmla="*/ 722 h 1302"/>
                <a:gd name="T26" fmla="*/ 4247 w 5244"/>
                <a:gd name="T27" fmla="*/ 698 h 1302"/>
                <a:gd name="T28" fmla="*/ 4445 w 5244"/>
                <a:gd name="T29" fmla="*/ 630 h 1302"/>
                <a:gd name="T30" fmla="*/ 4300 w 5244"/>
                <a:gd name="T31" fmla="*/ 617 h 1302"/>
                <a:gd name="T32" fmla="*/ 4225 w 5244"/>
                <a:gd name="T33" fmla="*/ 514 h 1302"/>
                <a:gd name="T34" fmla="*/ 4498 w 5244"/>
                <a:gd name="T35" fmla="*/ 450 h 1302"/>
                <a:gd name="T36" fmla="*/ 4352 w 5244"/>
                <a:gd name="T37" fmla="*/ 479 h 1302"/>
                <a:gd name="T38" fmla="*/ 4145 w 5244"/>
                <a:gd name="T39" fmla="*/ 443 h 1302"/>
                <a:gd name="T40" fmla="*/ 4281 w 5244"/>
                <a:gd name="T41" fmla="*/ 427 h 1302"/>
                <a:gd name="T42" fmla="*/ 4388 w 5244"/>
                <a:gd name="T43" fmla="*/ 378 h 1302"/>
                <a:gd name="T44" fmla="*/ 4522 w 5244"/>
                <a:gd name="T45" fmla="*/ 382 h 1302"/>
                <a:gd name="T46" fmla="*/ 4402 w 5244"/>
                <a:gd name="T47" fmla="*/ 375 h 1302"/>
                <a:gd name="T48" fmla="*/ 4541 w 5244"/>
                <a:gd name="T49" fmla="*/ 333 h 1302"/>
                <a:gd name="T50" fmla="*/ 4155 w 5244"/>
                <a:gd name="T51" fmla="*/ 313 h 1302"/>
                <a:gd name="T52" fmla="*/ 4419 w 5244"/>
                <a:gd name="T53" fmla="*/ 280 h 1302"/>
                <a:gd name="T54" fmla="*/ 4484 w 5244"/>
                <a:gd name="T55" fmla="*/ 333 h 1302"/>
                <a:gd name="T56" fmla="*/ 4614 w 5244"/>
                <a:gd name="T57" fmla="*/ 286 h 1302"/>
                <a:gd name="T58" fmla="*/ 4232 w 5244"/>
                <a:gd name="T59" fmla="*/ 293 h 1302"/>
                <a:gd name="T60" fmla="*/ 4422 w 5244"/>
                <a:gd name="T61" fmla="*/ 268 h 1302"/>
                <a:gd name="T62" fmla="*/ 4511 w 5244"/>
                <a:gd name="T63" fmla="*/ 251 h 1302"/>
                <a:gd name="T64" fmla="*/ 4939 w 5244"/>
                <a:gd name="T65" fmla="*/ 144 h 1302"/>
                <a:gd name="T66" fmla="*/ 4950 w 5244"/>
                <a:gd name="T67" fmla="*/ 101 h 1302"/>
                <a:gd name="T68" fmla="*/ 4154 w 5244"/>
                <a:gd name="T69" fmla="*/ 190 h 1302"/>
                <a:gd name="T70" fmla="*/ 4734 w 5244"/>
                <a:gd name="T71" fmla="*/ 96 h 1302"/>
                <a:gd name="T72" fmla="*/ 4808 w 5244"/>
                <a:gd name="T73" fmla="*/ 92 h 1302"/>
                <a:gd name="T74" fmla="*/ 4848 w 5244"/>
                <a:gd name="T75" fmla="*/ 82 h 1302"/>
                <a:gd name="T76" fmla="*/ 4537 w 5244"/>
                <a:gd name="T77" fmla="*/ 130 h 1302"/>
                <a:gd name="T78" fmla="*/ 5150 w 5244"/>
                <a:gd name="T79" fmla="*/ 44 h 1302"/>
                <a:gd name="T80" fmla="*/ 5067 w 5244"/>
                <a:gd name="T81" fmla="*/ 29 h 1302"/>
                <a:gd name="T82" fmla="*/ 4950 w 5244"/>
                <a:gd name="T83" fmla="*/ 82 h 1302"/>
                <a:gd name="T84" fmla="*/ 4789 w 5244"/>
                <a:gd name="T85" fmla="*/ 21 h 1302"/>
                <a:gd name="T86" fmla="*/ 4907 w 5244"/>
                <a:gd name="T87" fmla="*/ 14 h 1302"/>
                <a:gd name="T88" fmla="*/ 4819 w 5244"/>
                <a:gd name="T89" fmla="*/ 13 h 1302"/>
                <a:gd name="T90" fmla="*/ 5161 w 5244"/>
                <a:gd name="T91" fmla="*/ 12 h 1302"/>
                <a:gd name="T92" fmla="*/ 4964 w 5244"/>
                <a:gd name="T93" fmla="*/ 0 h 1302"/>
                <a:gd name="T94" fmla="*/ 4746 w 5244"/>
                <a:gd name="T95" fmla="*/ 0 h 1302"/>
                <a:gd name="T96" fmla="*/ 4460 w 5244"/>
                <a:gd name="T97" fmla="*/ 61 h 1302"/>
                <a:gd name="T98" fmla="*/ 4255 w 5244"/>
                <a:gd name="T99" fmla="*/ 83 h 1302"/>
                <a:gd name="T100" fmla="*/ 4138 w 5244"/>
                <a:gd name="T101" fmla="*/ 93 h 1302"/>
                <a:gd name="T102" fmla="*/ 4113 w 5244"/>
                <a:gd name="T103" fmla="*/ 400 h 1302"/>
                <a:gd name="T104" fmla="*/ 4192 w 5244"/>
                <a:gd name="T105" fmla="*/ 573 h 1302"/>
                <a:gd name="T106" fmla="*/ 4113 w 5244"/>
                <a:gd name="T107" fmla="*/ 736 h 1302"/>
                <a:gd name="T108" fmla="*/ 4186 w 5244"/>
                <a:gd name="T109" fmla="*/ 901 h 1302"/>
                <a:gd name="T110" fmla="*/ 4115 w 5244"/>
                <a:gd name="T111" fmla="*/ 1062 h 1302"/>
                <a:gd name="T112" fmla="*/ 4113 w 5244"/>
                <a:gd name="T113" fmla="*/ 1184 h 1302"/>
                <a:gd name="T114" fmla="*/ 4113 w 5244"/>
                <a:gd name="T115" fmla="*/ 1284 h 1302"/>
                <a:gd name="T116" fmla="*/ 4368 w 5244"/>
                <a:gd name="T117" fmla="*/ 848 h 1302"/>
                <a:gd name="T118" fmla="*/ 4581 w 5244"/>
                <a:gd name="T119" fmla="*/ 405 h 1302"/>
                <a:gd name="T120" fmla="*/ 4990 w 5244"/>
                <a:gd name="T121" fmla="*/ 144 h 1302"/>
                <a:gd name="T122" fmla="*/ 5216 w 5244"/>
                <a:gd name="T123" fmla="*/ 18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44" h="1302">
                  <a:moveTo>
                    <a:pt x="245" y="71"/>
                  </a:moveTo>
                  <a:cubicBezTo>
                    <a:pt x="225" y="71"/>
                    <a:pt x="207" y="70"/>
                    <a:pt x="189" y="68"/>
                  </a:cubicBezTo>
                  <a:cubicBezTo>
                    <a:pt x="181" y="58"/>
                    <a:pt x="173" y="47"/>
                    <a:pt x="166" y="37"/>
                  </a:cubicBezTo>
                  <a:cubicBezTo>
                    <a:pt x="186" y="39"/>
                    <a:pt x="208" y="41"/>
                    <a:pt x="231" y="41"/>
                  </a:cubicBezTo>
                  <a:cubicBezTo>
                    <a:pt x="240" y="41"/>
                    <a:pt x="249" y="41"/>
                    <a:pt x="258" y="40"/>
                  </a:cubicBezTo>
                  <a:cubicBezTo>
                    <a:pt x="265" y="50"/>
                    <a:pt x="272" y="60"/>
                    <a:pt x="279" y="70"/>
                  </a:cubicBezTo>
                  <a:cubicBezTo>
                    <a:pt x="268" y="70"/>
                    <a:pt x="256" y="71"/>
                    <a:pt x="245" y="71"/>
                  </a:cubicBezTo>
                  <a:moveTo>
                    <a:pt x="294" y="69"/>
                  </a:moveTo>
                  <a:cubicBezTo>
                    <a:pt x="285" y="59"/>
                    <a:pt x="278" y="49"/>
                    <a:pt x="271" y="39"/>
                  </a:cubicBezTo>
                  <a:cubicBezTo>
                    <a:pt x="283" y="38"/>
                    <a:pt x="294" y="37"/>
                    <a:pt x="306" y="35"/>
                  </a:cubicBezTo>
                  <a:cubicBezTo>
                    <a:pt x="328" y="32"/>
                    <a:pt x="349" y="27"/>
                    <a:pt x="371" y="20"/>
                  </a:cubicBezTo>
                  <a:cubicBezTo>
                    <a:pt x="379" y="32"/>
                    <a:pt x="387" y="43"/>
                    <a:pt x="396" y="54"/>
                  </a:cubicBezTo>
                  <a:cubicBezTo>
                    <a:pt x="366" y="61"/>
                    <a:pt x="333" y="66"/>
                    <a:pt x="298" y="69"/>
                  </a:cubicBezTo>
                  <a:cubicBezTo>
                    <a:pt x="296" y="69"/>
                    <a:pt x="295" y="69"/>
                    <a:pt x="294" y="69"/>
                  </a:cubicBezTo>
                  <a:moveTo>
                    <a:pt x="173" y="66"/>
                  </a:moveTo>
                  <a:cubicBezTo>
                    <a:pt x="134" y="60"/>
                    <a:pt x="102" y="51"/>
                    <a:pt x="75" y="38"/>
                  </a:cubicBezTo>
                  <a:cubicBezTo>
                    <a:pt x="68" y="29"/>
                    <a:pt x="61" y="21"/>
                    <a:pt x="55" y="12"/>
                  </a:cubicBezTo>
                  <a:cubicBezTo>
                    <a:pt x="81" y="21"/>
                    <a:pt x="114" y="29"/>
                    <a:pt x="151" y="35"/>
                  </a:cubicBezTo>
                  <a:cubicBezTo>
                    <a:pt x="158" y="45"/>
                    <a:pt x="165" y="56"/>
                    <a:pt x="173" y="66"/>
                  </a:cubicBezTo>
                  <a:moveTo>
                    <a:pt x="49" y="24"/>
                  </a:moveTo>
                  <a:cubicBezTo>
                    <a:pt x="47" y="23"/>
                    <a:pt x="45" y="21"/>
                    <a:pt x="43" y="20"/>
                  </a:cubicBezTo>
                  <a:cubicBezTo>
                    <a:pt x="39" y="15"/>
                    <a:pt x="35" y="9"/>
                    <a:pt x="31" y="4"/>
                  </a:cubicBezTo>
                  <a:cubicBezTo>
                    <a:pt x="33" y="5"/>
                    <a:pt x="35" y="5"/>
                    <a:pt x="37" y="6"/>
                  </a:cubicBezTo>
                  <a:cubicBezTo>
                    <a:pt x="41" y="12"/>
                    <a:pt x="45" y="18"/>
                    <a:pt x="49" y="24"/>
                  </a:cubicBezTo>
                  <a:moveTo>
                    <a:pt x="562" y="0"/>
                  </a:moveTo>
                  <a:cubicBezTo>
                    <a:pt x="538" y="0"/>
                    <a:pt x="538" y="0"/>
                    <a:pt x="538" y="0"/>
                  </a:cubicBezTo>
                  <a:cubicBezTo>
                    <a:pt x="525" y="7"/>
                    <a:pt x="510" y="14"/>
                    <a:pt x="496" y="21"/>
                  </a:cubicBezTo>
                  <a:cubicBezTo>
                    <a:pt x="490" y="14"/>
                    <a:pt x="484" y="7"/>
                    <a:pt x="479" y="0"/>
                  </a:cubicBezTo>
                  <a:cubicBezTo>
                    <a:pt x="465" y="0"/>
                    <a:pt x="465" y="0"/>
                    <a:pt x="465" y="0"/>
                  </a:cubicBezTo>
                  <a:cubicBezTo>
                    <a:pt x="471" y="9"/>
                    <a:pt x="478" y="17"/>
                    <a:pt x="484" y="25"/>
                  </a:cubicBezTo>
                  <a:cubicBezTo>
                    <a:pt x="461" y="35"/>
                    <a:pt x="436" y="44"/>
                    <a:pt x="409" y="51"/>
                  </a:cubicBezTo>
                  <a:cubicBezTo>
                    <a:pt x="399" y="40"/>
                    <a:pt x="391" y="28"/>
                    <a:pt x="383" y="16"/>
                  </a:cubicBezTo>
                  <a:cubicBezTo>
                    <a:pt x="390" y="14"/>
                    <a:pt x="397" y="12"/>
                    <a:pt x="403" y="9"/>
                  </a:cubicBezTo>
                  <a:cubicBezTo>
                    <a:pt x="411" y="6"/>
                    <a:pt x="418" y="3"/>
                    <a:pt x="425" y="0"/>
                  </a:cubicBezTo>
                  <a:cubicBezTo>
                    <a:pt x="393" y="0"/>
                    <a:pt x="393" y="0"/>
                    <a:pt x="393" y="0"/>
                  </a:cubicBezTo>
                  <a:cubicBezTo>
                    <a:pt x="388" y="2"/>
                    <a:pt x="382" y="4"/>
                    <a:pt x="376" y="6"/>
                  </a:cubicBezTo>
                  <a:cubicBezTo>
                    <a:pt x="375" y="4"/>
                    <a:pt x="373" y="2"/>
                    <a:pt x="372" y="0"/>
                  </a:cubicBezTo>
                  <a:cubicBezTo>
                    <a:pt x="359" y="0"/>
                    <a:pt x="359" y="0"/>
                    <a:pt x="359" y="0"/>
                  </a:cubicBezTo>
                  <a:cubicBezTo>
                    <a:pt x="361" y="3"/>
                    <a:pt x="363" y="6"/>
                    <a:pt x="365" y="10"/>
                  </a:cubicBezTo>
                  <a:cubicBezTo>
                    <a:pt x="330" y="20"/>
                    <a:pt x="296" y="26"/>
                    <a:pt x="264" y="28"/>
                  </a:cubicBezTo>
                  <a:cubicBezTo>
                    <a:pt x="258" y="19"/>
                    <a:pt x="253" y="9"/>
                    <a:pt x="248" y="0"/>
                  </a:cubicBezTo>
                  <a:cubicBezTo>
                    <a:pt x="235" y="0"/>
                    <a:pt x="235" y="0"/>
                    <a:pt x="235" y="0"/>
                  </a:cubicBezTo>
                  <a:cubicBezTo>
                    <a:pt x="240" y="10"/>
                    <a:pt x="245" y="19"/>
                    <a:pt x="251" y="28"/>
                  </a:cubicBezTo>
                  <a:cubicBezTo>
                    <a:pt x="244" y="29"/>
                    <a:pt x="237" y="29"/>
                    <a:pt x="231" y="29"/>
                  </a:cubicBezTo>
                  <a:cubicBezTo>
                    <a:pt x="205" y="29"/>
                    <a:pt x="180" y="27"/>
                    <a:pt x="157" y="24"/>
                  </a:cubicBezTo>
                  <a:cubicBezTo>
                    <a:pt x="153" y="16"/>
                    <a:pt x="148" y="8"/>
                    <a:pt x="144" y="0"/>
                  </a:cubicBezTo>
                  <a:cubicBezTo>
                    <a:pt x="131" y="0"/>
                    <a:pt x="131" y="0"/>
                    <a:pt x="131" y="0"/>
                  </a:cubicBezTo>
                  <a:cubicBezTo>
                    <a:pt x="135" y="7"/>
                    <a:pt x="139" y="14"/>
                    <a:pt x="143" y="21"/>
                  </a:cubicBezTo>
                  <a:cubicBezTo>
                    <a:pt x="109" y="16"/>
                    <a:pt x="80" y="8"/>
                    <a:pt x="56" y="0"/>
                  </a:cubicBezTo>
                  <a:cubicBezTo>
                    <a:pt x="0" y="0"/>
                    <a:pt x="0" y="0"/>
                    <a:pt x="0" y="0"/>
                  </a:cubicBezTo>
                  <a:cubicBezTo>
                    <a:pt x="11" y="11"/>
                    <a:pt x="23" y="21"/>
                    <a:pt x="37" y="30"/>
                  </a:cubicBezTo>
                  <a:cubicBezTo>
                    <a:pt x="37" y="30"/>
                    <a:pt x="37" y="30"/>
                    <a:pt x="37" y="30"/>
                  </a:cubicBezTo>
                  <a:cubicBezTo>
                    <a:pt x="37" y="30"/>
                    <a:pt x="37" y="30"/>
                    <a:pt x="37" y="30"/>
                  </a:cubicBezTo>
                  <a:cubicBezTo>
                    <a:pt x="46" y="37"/>
                    <a:pt x="57" y="43"/>
                    <a:pt x="69" y="48"/>
                  </a:cubicBezTo>
                  <a:cubicBezTo>
                    <a:pt x="69" y="49"/>
                    <a:pt x="69" y="49"/>
                    <a:pt x="70" y="50"/>
                  </a:cubicBezTo>
                  <a:cubicBezTo>
                    <a:pt x="70" y="49"/>
                    <a:pt x="70" y="49"/>
                    <a:pt x="70" y="49"/>
                  </a:cubicBezTo>
                  <a:cubicBezTo>
                    <a:pt x="100" y="64"/>
                    <a:pt x="138" y="74"/>
                    <a:pt x="184" y="79"/>
                  </a:cubicBezTo>
                  <a:cubicBezTo>
                    <a:pt x="185" y="80"/>
                    <a:pt x="185" y="80"/>
                    <a:pt x="185" y="80"/>
                  </a:cubicBezTo>
                  <a:cubicBezTo>
                    <a:pt x="185" y="80"/>
                    <a:pt x="185" y="80"/>
                    <a:pt x="185" y="80"/>
                  </a:cubicBezTo>
                  <a:cubicBezTo>
                    <a:pt x="204" y="82"/>
                    <a:pt x="224" y="83"/>
                    <a:pt x="246" y="83"/>
                  </a:cubicBezTo>
                  <a:cubicBezTo>
                    <a:pt x="262" y="83"/>
                    <a:pt x="280" y="82"/>
                    <a:pt x="298" y="81"/>
                  </a:cubicBezTo>
                  <a:cubicBezTo>
                    <a:pt x="317" y="79"/>
                    <a:pt x="335" y="77"/>
                    <a:pt x="353" y="74"/>
                  </a:cubicBezTo>
                  <a:cubicBezTo>
                    <a:pt x="438" y="61"/>
                    <a:pt x="507" y="33"/>
                    <a:pt x="562" y="0"/>
                  </a:cubicBezTo>
                  <a:moveTo>
                    <a:pt x="2016" y="0"/>
                  </a:moveTo>
                  <a:cubicBezTo>
                    <a:pt x="2003" y="0"/>
                    <a:pt x="2003" y="0"/>
                    <a:pt x="2003" y="0"/>
                  </a:cubicBezTo>
                  <a:cubicBezTo>
                    <a:pt x="2003" y="1"/>
                    <a:pt x="2004" y="2"/>
                    <a:pt x="2004" y="2"/>
                  </a:cubicBezTo>
                  <a:cubicBezTo>
                    <a:pt x="1999" y="3"/>
                    <a:pt x="1994" y="4"/>
                    <a:pt x="1991" y="5"/>
                  </a:cubicBezTo>
                  <a:cubicBezTo>
                    <a:pt x="1989" y="3"/>
                    <a:pt x="1988" y="1"/>
                    <a:pt x="1987" y="0"/>
                  </a:cubicBezTo>
                  <a:cubicBezTo>
                    <a:pt x="1973" y="0"/>
                    <a:pt x="1973" y="0"/>
                    <a:pt x="1973" y="0"/>
                  </a:cubicBezTo>
                  <a:cubicBezTo>
                    <a:pt x="1977" y="6"/>
                    <a:pt x="1981" y="11"/>
                    <a:pt x="1985" y="17"/>
                  </a:cubicBezTo>
                  <a:cubicBezTo>
                    <a:pt x="1986" y="17"/>
                    <a:pt x="1986" y="17"/>
                    <a:pt x="1986" y="17"/>
                  </a:cubicBezTo>
                  <a:cubicBezTo>
                    <a:pt x="1986" y="17"/>
                    <a:pt x="1986" y="17"/>
                    <a:pt x="1986" y="17"/>
                  </a:cubicBezTo>
                  <a:cubicBezTo>
                    <a:pt x="1995" y="28"/>
                    <a:pt x="2005" y="39"/>
                    <a:pt x="2016" y="49"/>
                  </a:cubicBezTo>
                  <a:cubicBezTo>
                    <a:pt x="2016" y="34"/>
                    <a:pt x="2016" y="34"/>
                    <a:pt x="2016" y="34"/>
                  </a:cubicBezTo>
                  <a:cubicBezTo>
                    <a:pt x="2010" y="28"/>
                    <a:pt x="2005" y="22"/>
                    <a:pt x="1999" y="15"/>
                  </a:cubicBezTo>
                  <a:cubicBezTo>
                    <a:pt x="2003" y="15"/>
                    <a:pt x="2007" y="14"/>
                    <a:pt x="2012" y="13"/>
                  </a:cubicBezTo>
                  <a:cubicBezTo>
                    <a:pt x="2013" y="15"/>
                    <a:pt x="2015" y="16"/>
                    <a:pt x="2016" y="18"/>
                  </a:cubicBezTo>
                  <a:cubicBezTo>
                    <a:pt x="2016" y="0"/>
                    <a:pt x="2016" y="0"/>
                    <a:pt x="2016" y="0"/>
                  </a:cubicBezTo>
                  <a:moveTo>
                    <a:pt x="4164" y="1151"/>
                  </a:moveTo>
                  <a:cubicBezTo>
                    <a:pt x="4178" y="1132"/>
                    <a:pt x="4191" y="1112"/>
                    <a:pt x="4204" y="1091"/>
                  </a:cubicBezTo>
                  <a:cubicBezTo>
                    <a:pt x="4228" y="1081"/>
                    <a:pt x="4250" y="1070"/>
                    <a:pt x="4273" y="1058"/>
                  </a:cubicBezTo>
                  <a:cubicBezTo>
                    <a:pt x="4265" y="1075"/>
                    <a:pt x="4256" y="1092"/>
                    <a:pt x="4247" y="1109"/>
                  </a:cubicBezTo>
                  <a:cubicBezTo>
                    <a:pt x="4220" y="1124"/>
                    <a:pt x="4193" y="1138"/>
                    <a:pt x="4164" y="1151"/>
                  </a:cubicBezTo>
                  <a:moveTo>
                    <a:pt x="4215" y="1073"/>
                  </a:moveTo>
                  <a:cubicBezTo>
                    <a:pt x="4226" y="1054"/>
                    <a:pt x="4237" y="1035"/>
                    <a:pt x="4247" y="1015"/>
                  </a:cubicBezTo>
                  <a:cubicBezTo>
                    <a:pt x="4266" y="1006"/>
                    <a:pt x="4285" y="997"/>
                    <a:pt x="4304" y="988"/>
                  </a:cubicBezTo>
                  <a:cubicBezTo>
                    <a:pt x="4296" y="1006"/>
                    <a:pt x="4289" y="1023"/>
                    <a:pt x="4281" y="1041"/>
                  </a:cubicBezTo>
                  <a:cubicBezTo>
                    <a:pt x="4281" y="1040"/>
                    <a:pt x="4281" y="1040"/>
                    <a:pt x="4281" y="1040"/>
                  </a:cubicBezTo>
                  <a:cubicBezTo>
                    <a:pt x="4259" y="1052"/>
                    <a:pt x="4237" y="1063"/>
                    <a:pt x="4215" y="1073"/>
                  </a:cubicBezTo>
                  <a:moveTo>
                    <a:pt x="4137" y="1043"/>
                  </a:moveTo>
                  <a:cubicBezTo>
                    <a:pt x="4148" y="1022"/>
                    <a:pt x="4157" y="1002"/>
                    <a:pt x="4166" y="983"/>
                  </a:cubicBezTo>
                  <a:cubicBezTo>
                    <a:pt x="4200" y="972"/>
                    <a:pt x="4234" y="960"/>
                    <a:pt x="4268" y="946"/>
                  </a:cubicBezTo>
                  <a:cubicBezTo>
                    <a:pt x="4259" y="967"/>
                    <a:pt x="4249" y="986"/>
                    <a:pt x="4240" y="1005"/>
                  </a:cubicBezTo>
                  <a:cubicBezTo>
                    <a:pt x="4206" y="1020"/>
                    <a:pt x="4172" y="1032"/>
                    <a:pt x="4137" y="1043"/>
                  </a:cubicBezTo>
                  <a:moveTo>
                    <a:pt x="4256" y="998"/>
                  </a:moveTo>
                  <a:cubicBezTo>
                    <a:pt x="4265" y="979"/>
                    <a:pt x="4274" y="960"/>
                    <a:pt x="4283" y="940"/>
                  </a:cubicBezTo>
                  <a:cubicBezTo>
                    <a:pt x="4299" y="933"/>
                    <a:pt x="4315" y="925"/>
                    <a:pt x="4331" y="917"/>
                  </a:cubicBezTo>
                  <a:cubicBezTo>
                    <a:pt x="4324" y="935"/>
                    <a:pt x="4318" y="953"/>
                    <a:pt x="4310" y="971"/>
                  </a:cubicBezTo>
                  <a:cubicBezTo>
                    <a:pt x="4292" y="981"/>
                    <a:pt x="4274" y="990"/>
                    <a:pt x="4256" y="998"/>
                  </a:cubicBezTo>
                  <a:moveTo>
                    <a:pt x="4172" y="968"/>
                  </a:moveTo>
                  <a:cubicBezTo>
                    <a:pt x="4180" y="948"/>
                    <a:pt x="4188" y="928"/>
                    <a:pt x="4194" y="911"/>
                  </a:cubicBezTo>
                  <a:cubicBezTo>
                    <a:pt x="4229" y="901"/>
                    <a:pt x="4263" y="889"/>
                    <a:pt x="4297" y="876"/>
                  </a:cubicBezTo>
                  <a:cubicBezTo>
                    <a:pt x="4290" y="895"/>
                    <a:pt x="4282" y="913"/>
                    <a:pt x="4275" y="931"/>
                  </a:cubicBezTo>
                  <a:cubicBezTo>
                    <a:pt x="4241" y="945"/>
                    <a:pt x="4206" y="958"/>
                    <a:pt x="4172" y="968"/>
                  </a:cubicBezTo>
                  <a:moveTo>
                    <a:pt x="4289" y="924"/>
                  </a:moveTo>
                  <a:cubicBezTo>
                    <a:pt x="4297" y="907"/>
                    <a:pt x="4304" y="888"/>
                    <a:pt x="4311" y="870"/>
                  </a:cubicBezTo>
                  <a:cubicBezTo>
                    <a:pt x="4326" y="863"/>
                    <a:pt x="4341" y="857"/>
                    <a:pt x="4356" y="849"/>
                  </a:cubicBezTo>
                  <a:cubicBezTo>
                    <a:pt x="4350" y="867"/>
                    <a:pt x="4343" y="884"/>
                    <a:pt x="4337" y="902"/>
                  </a:cubicBezTo>
                  <a:cubicBezTo>
                    <a:pt x="4321" y="910"/>
                    <a:pt x="4305" y="917"/>
                    <a:pt x="4289" y="924"/>
                  </a:cubicBezTo>
                  <a:moveTo>
                    <a:pt x="4199" y="897"/>
                  </a:moveTo>
                  <a:cubicBezTo>
                    <a:pt x="4202" y="889"/>
                    <a:pt x="4205" y="882"/>
                    <a:pt x="4207" y="875"/>
                  </a:cubicBezTo>
                  <a:cubicBezTo>
                    <a:pt x="4208" y="872"/>
                    <a:pt x="4208" y="872"/>
                    <a:pt x="4208" y="872"/>
                  </a:cubicBezTo>
                  <a:cubicBezTo>
                    <a:pt x="4207" y="871"/>
                    <a:pt x="4207" y="871"/>
                    <a:pt x="4207" y="871"/>
                  </a:cubicBezTo>
                  <a:cubicBezTo>
                    <a:pt x="4207" y="867"/>
                    <a:pt x="4209" y="858"/>
                    <a:pt x="4212" y="846"/>
                  </a:cubicBezTo>
                  <a:cubicBezTo>
                    <a:pt x="4248" y="836"/>
                    <a:pt x="4283" y="825"/>
                    <a:pt x="4318" y="812"/>
                  </a:cubicBezTo>
                  <a:cubicBezTo>
                    <a:pt x="4310" y="836"/>
                    <a:pt x="4305" y="853"/>
                    <a:pt x="4304" y="855"/>
                  </a:cubicBezTo>
                  <a:cubicBezTo>
                    <a:pt x="4304" y="857"/>
                    <a:pt x="4303" y="859"/>
                    <a:pt x="4302" y="861"/>
                  </a:cubicBezTo>
                  <a:cubicBezTo>
                    <a:pt x="4268" y="875"/>
                    <a:pt x="4234" y="887"/>
                    <a:pt x="4199" y="897"/>
                  </a:cubicBezTo>
                  <a:moveTo>
                    <a:pt x="4316" y="855"/>
                  </a:moveTo>
                  <a:cubicBezTo>
                    <a:pt x="4318" y="847"/>
                    <a:pt x="4324" y="829"/>
                    <a:pt x="4331" y="806"/>
                  </a:cubicBezTo>
                  <a:cubicBezTo>
                    <a:pt x="4347" y="800"/>
                    <a:pt x="4363" y="793"/>
                    <a:pt x="4379" y="785"/>
                  </a:cubicBezTo>
                  <a:cubicBezTo>
                    <a:pt x="4373" y="801"/>
                    <a:pt x="4367" y="817"/>
                    <a:pt x="4361" y="834"/>
                  </a:cubicBezTo>
                  <a:cubicBezTo>
                    <a:pt x="4346" y="841"/>
                    <a:pt x="4331" y="848"/>
                    <a:pt x="4316" y="855"/>
                  </a:cubicBezTo>
                  <a:moveTo>
                    <a:pt x="4216" y="833"/>
                  </a:moveTo>
                  <a:cubicBezTo>
                    <a:pt x="4220" y="816"/>
                    <a:pt x="4226" y="794"/>
                    <a:pt x="4234" y="772"/>
                  </a:cubicBezTo>
                  <a:cubicBezTo>
                    <a:pt x="4271" y="762"/>
                    <a:pt x="4307" y="750"/>
                    <a:pt x="4343" y="737"/>
                  </a:cubicBezTo>
                  <a:cubicBezTo>
                    <a:pt x="4335" y="758"/>
                    <a:pt x="4328" y="779"/>
                    <a:pt x="4322" y="797"/>
                  </a:cubicBezTo>
                  <a:cubicBezTo>
                    <a:pt x="4287" y="811"/>
                    <a:pt x="4252" y="823"/>
                    <a:pt x="4216" y="833"/>
                  </a:cubicBezTo>
                  <a:moveTo>
                    <a:pt x="4120" y="785"/>
                  </a:moveTo>
                  <a:cubicBezTo>
                    <a:pt x="4125" y="768"/>
                    <a:pt x="4129" y="746"/>
                    <a:pt x="4136" y="733"/>
                  </a:cubicBezTo>
                  <a:cubicBezTo>
                    <a:pt x="4136" y="733"/>
                    <a:pt x="4136" y="733"/>
                    <a:pt x="4136" y="733"/>
                  </a:cubicBezTo>
                  <a:cubicBezTo>
                    <a:pt x="4172" y="728"/>
                    <a:pt x="4207" y="720"/>
                    <a:pt x="4242" y="712"/>
                  </a:cubicBezTo>
                  <a:cubicBezTo>
                    <a:pt x="4236" y="729"/>
                    <a:pt x="4230" y="746"/>
                    <a:pt x="4225" y="762"/>
                  </a:cubicBezTo>
                  <a:cubicBezTo>
                    <a:pt x="4190" y="771"/>
                    <a:pt x="4155" y="779"/>
                    <a:pt x="4120" y="785"/>
                  </a:cubicBezTo>
                  <a:moveTo>
                    <a:pt x="4336" y="791"/>
                  </a:moveTo>
                  <a:cubicBezTo>
                    <a:pt x="4342" y="773"/>
                    <a:pt x="4350" y="752"/>
                    <a:pt x="4358" y="731"/>
                  </a:cubicBezTo>
                  <a:cubicBezTo>
                    <a:pt x="4375" y="724"/>
                    <a:pt x="4392" y="717"/>
                    <a:pt x="4408" y="709"/>
                  </a:cubicBezTo>
                  <a:cubicBezTo>
                    <a:pt x="4400" y="729"/>
                    <a:pt x="4392" y="749"/>
                    <a:pt x="4385" y="769"/>
                  </a:cubicBezTo>
                  <a:cubicBezTo>
                    <a:pt x="4369" y="777"/>
                    <a:pt x="4353" y="785"/>
                    <a:pt x="4336" y="791"/>
                  </a:cubicBezTo>
                  <a:moveTo>
                    <a:pt x="4238" y="758"/>
                  </a:moveTo>
                  <a:cubicBezTo>
                    <a:pt x="4243" y="742"/>
                    <a:pt x="4249" y="725"/>
                    <a:pt x="4255" y="709"/>
                  </a:cubicBezTo>
                  <a:cubicBezTo>
                    <a:pt x="4293" y="699"/>
                    <a:pt x="4331" y="688"/>
                    <a:pt x="4368" y="675"/>
                  </a:cubicBezTo>
                  <a:cubicBezTo>
                    <a:pt x="4361" y="690"/>
                    <a:pt x="4355" y="706"/>
                    <a:pt x="4349" y="722"/>
                  </a:cubicBezTo>
                  <a:cubicBezTo>
                    <a:pt x="4313" y="736"/>
                    <a:pt x="4276" y="748"/>
                    <a:pt x="4238" y="758"/>
                  </a:cubicBezTo>
                  <a:moveTo>
                    <a:pt x="4363" y="716"/>
                  </a:moveTo>
                  <a:cubicBezTo>
                    <a:pt x="4370" y="700"/>
                    <a:pt x="4376" y="684"/>
                    <a:pt x="4383" y="669"/>
                  </a:cubicBezTo>
                  <a:cubicBezTo>
                    <a:pt x="4401" y="662"/>
                    <a:pt x="4419" y="655"/>
                    <a:pt x="4437" y="647"/>
                  </a:cubicBezTo>
                  <a:cubicBezTo>
                    <a:pt x="4429" y="662"/>
                    <a:pt x="4422" y="677"/>
                    <a:pt x="4415" y="693"/>
                  </a:cubicBezTo>
                  <a:cubicBezTo>
                    <a:pt x="4398" y="701"/>
                    <a:pt x="4381" y="709"/>
                    <a:pt x="4363" y="716"/>
                  </a:cubicBezTo>
                  <a:moveTo>
                    <a:pt x="4140" y="720"/>
                  </a:moveTo>
                  <a:cubicBezTo>
                    <a:pt x="4147" y="696"/>
                    <a:pt x="4156" y="674"/>
                    <a:pt x="4164" y="657"/>
                  </a:cubicBezTo>
                  <a:cubicBezTo>
                    <a:pt x="4167" y="656"/>
                    <a:pt x="4171" y="656"/>
                    <a:pt x="4175" y="655"/>
                  </a:cubicBezTo>
                  <a:cubicBezTo>
                    <a:pt x="4208" y="650"/>
                    <a:pt x="4241" y="644"/>
                    <a:pt x="4275" y="636"/>
                  </a:cubicBezTo>
                  <a:cubicBezTo>
                    <a:pt x="4266" y="653"/>
                    <a:pt x="4256" y="675"/>
                    <a:pt x="4247" y="698"/>
                  </a:cubicBezTo>
                  <a:cubicBezTo>
                    <a:pt x="4212" y="707"/>
                    <a:pt x="4176" y="714"/>
                    <a:pt x="4140" y="720"/>
                  </a:cubicBezTo>
                  <a:moveTo>
                    <a:pt x="4261" y="695"/>
                  </a:moveTo>
                  <a:cubicBezTo>
                    <a:pt x="4270" y="671"/>
                    <a:pt x="4280" y="649"/>
                    <a:pt x="4289" y="633"/>
                  </a:cubicBezTo>
                  <a:cubicBezTo>
                    <a:pt x="4330" y="623"/>
                    <a:pt x="4371" y="612"/>
                    <a:pt x="4411" y="598"/>
                  </a:cubicBezTo>
                  <a:cubicBezTo>
                    <a:pt x="4399" y="612"/>
                    <a:pt x="4387" y="634"/>
                    <a:pt x="4375" y="660"/>
                  </a:cubicBezTo>
                  <a:cubicBezTo>
                    <a:pt x="4338" y="673"/>
                    <a:pt x="4299" y="685"/>
                    <a:pt x="4261" y="695"/>
                  </a:cubicBezTo>
                  <a:moveTo>
                    <a:pt x="4390" y="654"/>
                  </a:moveTo>
                  <a:cubicBezTo>
                    <a:pt x="4402" y="630"/>
                    <a:pt x="4413" y="611"/>
                    <a:pt x="4424" y="600"/>
                  </a:cubicBezTo>
                  <a:cubicBezTo>
                    <a:pt x="4427" y="597"/>
                    <a:pt x="4430" y="594"/>
                    <a:pt x="4433" y="590"/>
                  </a:cubicBezTo>
                  <a:cubicBezTo>
                    <a:pt x="4450" y="583"/>
                    <a:pt x="4466" y="577"/>
                    <a:pt x="4483" y="569"/>
                  </a:cubicBezTo>
                  <a:cubicBezTo>
                    <a:pt x="4469" y="588"/>
                    <a:pt x="4457" y="608"/>
                    <a:pt x="4445" y="630"/>
                  </a:cubicBezTo>
                  <a:cubicBezTo>
                    <a:pt x="4427" y="639"/>
                    <a:pt x="4409" y="646"/>
                    <a:pt x="4390" y="654"/>
                  </a:cubicBezTo>
                  <a:moveTo>
                    <a:pt x="4170" y="644"/>
                  </a:moveTo>
                  <a:cubicBezTo>
                    <a:pt x="4172" y="640"/>
                    <a:pt x="4174" y="636"/>
                    <a:pt x="4176" y="633"/>
                  </a:cubicBezTo>
                  <a:cubicBezTo>
                    <a:pt x="4184" y="621"/>
                    <a:pt x="4192" y="603"/>
                    <a:pt x="4200" y="584"/>
                  </a:cubicBezTo>
                  <a:cubicBezTo>
                    <a:pt x="4206" y="583"/>
                    <a:pt x="4212" y="583"/>
                    <a:pt x="4218" y="582"/>
                  </a:cubicBezTo>
                  <a:cubicBezTo>
                    <a:pt x="4252" y="576"/>
                    <a:pt x="4285" y="570"/>
                    <a:pt x="4319" y="563"/>
                  </a:cubicBezTo>
                  <a:cubicBezTo>
                    <a:pt x="4310" y="581"/>
                    <a:pt x="4301" y="598"/>
                    <a:pt x="4291" y="609"/>
                  </a:cubicBezTo>
                  <a:cubicBezTo>
                    <a:pt x="4289" y="613"/>
                    <a:pt x="4286" y="617"/>
                    <a:pt x="4282" y="622"/>
                  </a:cubicBezTo>
                  <a:cubicBezTo>
                    <a:pt x="4245" y="631"/>
                    <a:pt x="4207" y="638"/>
                    <a:pt x="4170" y="644"/>
                  </a:cubicBezTo>
                  <a:moveTo>
                    <a:pt x="4299" y="618"/>
                  </a:moveTo>
                  <a:cubicBezTo>
                    <a:pt x="4299" y="618"/>
                    <a:pt x="4300" y="617"/>
                    <a:pt x="4300" y="617"/>
                  </a:cubicBezTo>
                  <a:cubicBezTo>
                    <a:pt x="4311" y="603"/>
                    <a:pt x="4322" y="583"/>
                    <a:pt x="4333" y="559"/>
                  </a:cubicBezTo>
                  <a:cubicBezTo>
                    <a:pt x="4375" y="550"/>
                    <a:pt x="4417" y="538"/>
                    <a:pt x="4457" y="524"/>
                  </a:cubicBezTo>
                  <a:cubicBezTo>
                    <a:pt x="4447" y="546"/>
                    <a:pt x="4437" y="565"/>
                    <a:pt x="4426" y="580"/>
                  </a:cubicBezTo>
                  <a:cubicBezTo>
                    <a:pt x="4385" y="595"/>
                    <a:pt x="4342" y="608"/>
                    <a:pt x="4299" y="618"/>
                  </a:cubicBezTo>
                  <a:moveTo>
                    <a:pt x="4445" y="573"/>
                  </a:moveTo>
                  <a:cubicBezTo>
                    <a:pt x="4454" y="557"/>
                    <a:pt x="4463" y="539"/>
                    <a:pt x="4472" y="518"/>
                  </a:cubicBezTo>
                  <a:cubicBezTo>
                    <a:pt x="4491" y="511"/>
                    <a:pt x="4510" y="503"/>
                    <a:pt x="4529" y="495"/>
                  </a:cubicBezTo>
                  <a:cubicBezTo>
                    <a:pt x="4519" y="513"/>
                    <a:pt x="4509" y="532"/>
                    <a:pt x="4496" y="551"/>
                  </a:cubicBezTo>
                  <a:cubicBezTo>
                    <a:pt x="4479" y="558"/>
                    <a:pt x="4462" y="566"/>
                    <a:pt x="4445" y="573"/>
                  </a:cubicBezTo>
                  <a:moveTo>
                    <a:pt x="4205" y="571"/>
                  </a:moveTo>
                  <a:cubicBezTo>
                    <a:pt x="4212" y="553"/>
                    <a:pt x="4218" y="533"/>
                    <a:pt x="4225" y="514"/>
                  </a:cubicBezTo>
                  <a:cubicBezTo>
                    <a:pt x="4234" y="513"/>
                    <a:pt x="4244" y="511"/>
                    <a:pt x="4254" y="510"/>
                  </a:cubicBezTo>
                  <a:cubicBezTo>
                    <a:pt x="4285" y="505"/>
                    <a:pt x="4316" y="499"/>
                    <a:pt x="4347" y="492"/>
                  </a:cubicBezTo>
                  <a:cubicBezTo>
                    <a:pt x="4340" y="512"/>
                    <a:pt x="4333" y="531"/>
                    <a:pt x="4325" y="549"/>
                  </a:cubicBezTo>
                  <a:cubicBezTo>
                    <a:pt x="4285" y="558"/>
                    <a:pt x="4245" y="565"/>
                    <a:pt x="4205" y="571"/>
                  </a:cubicBezTo>
                  <a:moveTo>
                    <a:pt x="4338" y="546"/>
                  </a:moveTo>
                  <a:cubicBezTo>
                    <a:pt x="4346" y="528"/>
                    <a:pt x="4353" y="508"/>
                    <a:pt x="4360" y="489"/>
                  </a:cubicBezTo>
                  <a:cubicBezTo>
                    <a:pt x="4403" y="480"/>
                    <a:pt x="4444" y="468"/>
                    <a:pt x="4485" y="455"/>
                  </a:cubicBezTo>
                  <a:cubicBezTo>
                    <a:pt x="4478" y="473"/>
                    <a:pt x="4471" y="491"/>
                    <a:pt x="4463" y="509"/>
                  </a:cubicBezTo>
                  <a:cubicBezTo>
                    <a:pt x="4423" y="523"/>
                    <a:pt x="4381" y="536"/>
                    <a:pt x="4338" y="546"/>
                  </a:cubicBezTo>
                  <a:moveTo>
                    <a:pt x="4478" y="503"/>
                  </a:moveTo>
                  <a:cubicBezTo>
                    <a:pt x="4485" y="486"/>
                    <a:pt x="4492" y="468"/>
                    <a:pt x="4498" y="450"/>
                  </a:cubicBezTo>
                  <a:cubicBezTo>
                    <a:pt x="4520" y="442"/>
                    <a:pt x="4541" y="434"/>
                    <a:pt x="4561" y="425"/>
                  </a:cubicBezTo>
                  <a:cubicBezTo>
                    <a:pt x="4554" y="443"/>
                    <a:pt x="4545" y="462"/>
                    <a:pt x="4535" y="482"/>
                  </a:cubicBezTo>
                  <a:cubicBezTo>
                    <a:pt x="4534" y="480"/>
                    <a:pt x="4534" y="480"/>
                    <a:pt x="4534" y="480"/>
                  </a:cubicBezTo>
                  <a:cubicBezTo>
                    <a:pt x="4516" y="488"/>
                    <a:pt x="4497" y="496"/>
                    <a:pt x="4478" y="503"/>
                  </a:cubicBezTo>
                  <a:moveTo>
                    <a:pt x="4229" y="501"/>
                  </a:moveTo>
                  <a:cubicBezTo>
                    <a:pt x="4233" y="488"/>
                    <a:pt x="4237" y="475"/>
                    <a:pt x="4240" y="463"/>
                  </a:cubicBezTo>
                  <a:cubicBezTo>
                    <a:pt x="4242" y="457"/>
                    <a:pt x="4244" y="450"/>
                    <a:pt x="4246" y="444"/>
                  </a:cubicBezTo>
                  <a:cubicBezTo>
                    <a:pt x="4260" y="443"/>
                    <a:pt x="4275" y="440"/>
                    <a:pt x="4289" y="438"/>
                  </a:cubicBezTo>
                  <a:cubicBezTo>
                    <a:pt x="4317" y="434"/>
                    <a:pt x="4344" y="429"/>
                    <a:pt x="4371" y="423"/>
                  </a:cubicBezTo>
                  <a:cubicBezTo>
                    <a:pt x="4370" y="427"/>
                    <a:pt x="4369" y="431"/>
                    <a:pt x="4367" y="435"/>
                  </a:cubicBezTo>
                  <a:cubicBezTo>
                    <a:pt x="4363" y="449"/>
                    <a:pt x="4358" y="464"/>
                    <a:pt x="4352" y="479"/>
                  </a:cubicBezTo>
                  <a:cubicBezTo>
                    <a:pt x="4311" y="488"/>
                    <a:pt x="4270" y="495"/>
                    <a:pt x="4229" y="501"/>
                  </a:cubicBezTo>
                  <a:moveTo>
                    <a:pt x="4115" y="445"/>
                  </a:moveTo>
                  <a:cubicBezTo>
                    <a:pt x="4119" y="430"/>
                    <a:pt x="4123" y="418"/>
                    <a:pt x="4126" y="413"/>
                  </a:cubicBezTo>
                  <a:cubicBezTo>
                    <a:pt x="4130" y="413"/>
                    <a:pt x="4134" y="413"/>
                    <a:pt x="4138" y="413"/>
                  </a:cubicBezTo>
                  <a:cubicBezTo>
                    <a:pt x="4136" y="426"/>
                    <a:pt x="4135" y="437"/>
                    <a:pt x="4133" y="444"/>
                  </a:cubicBezTo>
                  <a:cubicBezTo>
                    <a:pt x="4127" y="444"/>
                    <a:pt x="4121" y="445"/>
                    <a:pt x="4115" y="445"/>
                  </a:cubicBezTo>
                  <a:moveTo>
                    <a:pt x="4145" y="443"/>
                  </a:moveTo>
                  <a:cubicBezTo>
                    <a:pt x="4146" y="435"/>
                    <a:pt x="4148" y="425"/>
                    <a:pt x="4149" y="412"/>
                  </a:cubicBezTo>
                  <a:cubicBezTo>
                    <a:pt x="4171" y="412"/>
                    <a:pt x="4193" y="410"/>
                    <a:pt x="4216" y="408"/>
                  </a:cubicBezTo>
                  <a:cubicBezTo>
                    <a:pt x="4213" y="420"/>
                    <a:pt x="4210" y="430"/>
                    <a:pt x="4207" y="437"/>
                  </a:cubicBezTo>
                  <a:cubicBezTo>
                    <a:pt x="4186" y="439"/>
                    <a:pt x="4165" y="441"/>
                    <a:pt x="4145" y="443"/>
                  </a:cubicBezTo>
                  <a:moveTo>
                    <a:pt x="4220" y="436"/>
                  </a:moveTo>
                  <a:cubicBezTo>
                    <a:pt x="4222" y="428"/>
                    <a:pt x="4225" y="418"/>
                    <a:pt x="4227" y="407"/>
                  </a:cubicBezTo>
                  <a:cubicBezTo>
                    <a:pt x="4234" y="406"/>
                    <a:pt x="4241" y="405"/>
                    <a:pt x="4247" y="405"/>
                  </a:cubicBezTo>
                  <a:cubicBezTo>
                    <a:pt x="4244" y="412"/>
                    <a:pt x="4241" y="422"/>
                    <a:pt x="4238" y="433"/>
                  </a:cubicBezTo>
                  <a:cubicBezTo>
                    <a:pt x="4232" y="434"/>
                    <a:pt x="4226" y="435"/>
                    <a:pt x="4220" y="436"/>
                  </a:cubicBezTo>
                  <a:moveTo>
                    <a:pt x="4250" y="432"/>
                  </a:moveTo>
                  <a:cubicBezTo>
                    <a:pt x="4254" y="420"/>
                    <a:pt x="4257" y="410"/>
                    <a:pt x="4260" y="403"/>
                  </a:cubicBezTo>
                  <a:cubicBezTo>
                    <a:pt x="4268" y="402"/>
                    <a:pt x="4275" y="401"/>
                    <a:pt x="4283" y="400"/>
                  </a:cubicBezTo>
                  <a:cubicBezTo>
                    <a:pt x="4286" y="399"/>
                    <a:pt x="4290" y="399"/>
                    <a:pt x="4293" y="398"/>
                  </a:cubicBezTo>
                  <a:cubicBezTo>
                    <a:pt x="4288" y="410"/>
                    <a:pt x="4284" y="420"/>
                    <a:pt x="4280" y="426"/>
                  </a:cubicBezTo>
                  <a:cubicBezTo>
                    <a:pt x="4281" y="427"/>
                    <a:pt x="4281" y="427"/>
                    <a:pt x="4281" y="427"/>
                  </a:cubicBezTo>
                  <a:cubicBezTo>
                    <a:pt x="4271" y="429"/>
                    <a:pt x="4261" y="430"/>
                    <a:pt x="4250" y="432"/>
                  </a:cubicBezTo>
                  <a:moveTo>
                    <a:pt x="4365" y="476"/>
                  </a:moveTo>
                  <a:cubicBezTo>
                    <a:pt x="4370" y="463"/>
                    <a:pt x="4374" y="451"/>
                    <a:pt x="4378" y="439"/>
                  </a:cubicBezTo>
                  <a:cubicBezTo>
                    <a:pt x="4380" y="433"/>
                    <a:pt x="4382" y="426"/>
                    <a:pt x="4384" y="420"/>
                  </a:cubicBezTo>
                  <a:cubicBezTo>
                    <a:pt x="4427" y="411"/>
                    <a:pt x="4468" y="400"/>
                    <a:pt x="4508" y="387"/>
                  </a:cubicBezTo>
                  <a:cubicBezTo>
                    <a:pt x="4508" y="389"/>
                    <a:pt x="4507" y="392"/>
                    <a:pt x="4506" y="394"/>
                  </a:cubicBezTo>
                  <a:cubicBezTo>
                    <a:pt x="4501" y="408"/>
                    <a:pt x="4496" y="424"/>
                    <a:pt x="4490" y="440"/>
                  </a:cubicBezTo>
                  <a:cubicBezTo>
                    <a:pt x="4449" y="454"/>
                    <a:pt x="4408" y="466"/>
                    <a:pt x="4365" y="476"/>
                  </a:cubicBezTo>
                  <a:moveTo>
                    <a:pt x="4293" y="425"/>
                  </a:moveTo>
                  <a:cubicBezTo>
                    <a:pt x="4297" y="418"/>
                    <a:pt x="4301" y="408"/>
                    <a:pt x="4305" y="396"/>
                  </a:cubicBezTo>
                  <a:cubicBezTo>
                    <a:pt x="4333" y="391"/>
                    <a:pt x="4360" y="385"/>
                    <a:pt x="4388" y="378"/>
                  </a:cubicBezTo>
                  <a:cubicBezTo>
                    <a:pt x="4387" y="381"/>
                    <a:pt x="4386" y="383"/>
                    <a:pt x="4385" y="386"/>
                  </a:cubicBezTo>
                  <a:cubicBezTo>
                    <a:pt x="4381" y="395"/>
                    <a:pt x="4376" y="402"/>
                    <a:pt x="4372" y="407"/>
                  </a:cubicBezTo>
                  <a:cubicBezTo>
                    <a:pt x="4375" y="410"/>
                    <a:pt x="4375" y="410"/>
                    <a:pt x="4375" y="410"/>
                  </a:cubicBezTo>
                  <a:cubicBezTo>
                    <a:pt x="4348" y="416"/>
                    <a:pt x="4321" y="421"/>
                    <a:pt x="4293" y="425"/>
                  </a:cubicBezTo>
                  <a:moveTo>
                    <a:pt x="4309" y="383"/>
                  </a:moveTo>
                  <a:cubicBezTo>
                    <a:pt x="4309" y="383"/>
                    <a:pt x="4309" y="383"/>
                    <a:pt x="4309" y="383"/>
                  </a:cubicBezTo>
                  <a:cubicBezTo>
                    <a:pt x="4321" y="381"/>
                    <a:pt x="4332" y="379"/>
                    <a:pt x="4343" y="377"/>
                  </a:cubicBezTo>
                  <a:cubicBezTo>
                    <a:pt x="4332" y="379"/>
                    <a:pt x="4321" y="381"/>
                    <a:pt x="4309" y="383"/>
                  </a:cubicBezTo>
                  <a:moveTo>
                    <a:pt x="4503" y="435"/>
                  </a:moveTo>
                  <a:cubicBezTo>
                    <a:pt x="4508" y="423"/>
                    <a:pt x="4512" y="410"/>
                    <a:pt x="4516" y="398"/>
                  </a:cubicBezTo>
                  <a:cubicBezTo>
                    <a:pt x="4518" y="393"/>
                    <a:pt x="4520" y="388"/>
                    <a:pt x="4522" y="382"/>
                  </a:cubicBezTo>
                  <a:cubicBezTo>
                    <a:pt x="4545" y="374"/>
                    <a:pt x="4567" y="366"/>
                    <a:pt x="4589" y="356"/>
                  </a:cubicBezTo>
                  <a:cubicBezTo>
                    <a:pt x="4583" y="370"/>
                    <a:pt x="4577" y="385"/>
                    <a:pt x="4571" y="401"/>
                  </a:cubicBezTo>
                  <a:cubicBezTo>
                    <a:pt x="4569" y="405"/>
                    <a:pt x="4568" y="409"/>
                    <a:pt x="4566" y="413"/>
                  </a:cubicBezTo>
                  <a:cubicBezTo>
                    <a:pt x="4565" y="410"/>
                    <a:pt x="4565" y="410"/>
                    <a:pt x="4565" y="410"/>
                  </a:cubicBezTo>
                  <a:cubicBezTo>
                    <a:pt x="4545" y="419"/>
                    <a:pt x="4524" y="428"/>
                    <a:pt x="4503" y="435"/>
                  </a:cubicBezTo>
                  <a:moveTo>
                    <a:pt x="4389" y="407"/>
                  </a:moveTo>
                  <a:cubicBezTo>
                    <a:pt x="4392" y="400"/>
                    <a:pt x="4394" y="393"/>
                    <a:pt x="4396" y="388"/>
                  </a:cubicBezTo>
                  <a:cubicBezTo>
                    <a:pt x="4397" y="385"/>
                    <a:pt x="4399" y="383"/>
                    <a:pt x="4400" y="380"/>
                  </a:cubicBezTo>
                  <a:cubicBezTo>
                    <a:pt x="4400" y="379"/>
                    <a:pt x="4401" y="378"/>
                    <a:pt x="4401" y="377"/>
                  </a:cubicBezTo>
                  <a:cubicBezTo>
                    <a:pt x="4401" y="377"/>
                    <a:pt x="4401" y="377"/>
                    <a:pt x="4401" y="377"/>
                  </a:cubicBezTo>
                  <a:cubicBezTo>
                    <a:pt x="4401" y="376"/>
                    <a:pt x="4402" y="376"/>
                    <a:pt x="4402" y="375"/>
                  </a:cubicBezTo>
                  <a:cubicBezTo>
                    <a:pt x="4426" y="369"/>
                    <a:pt x="4450" y="361"/>
                    <a:pt x="4475" y="353"/>
                  </a:cubicBezTo>
                  <a:cubicBezTo>
                    <a:pt x="4466" y="370"/>
                    <a:pt x="4458" y="383"/>
                    <a:pt x="4450" y="392"/>
                  </a:cubicBezTo>
                  <a:cubicBezTo>
                    <a:pt x="4430" y="397"/>
                    <a:pt x="4410" y="403"/>
                    <a:pt x="4389" y="407"/>
                  </a:cubicBezTo>
                  <a:moveTo>
                    <a:pt x="4469" y="387"/>
                  </a:moveTo>
                  <a:cubicBezTo>
                    <a:pt x="4476" y="376"/>
                    <a:pt x="4483" y="363"/>
                    <a:pt x="4490" y="348"/>
                  </a:cubicBezTo>
                  <a:cubicBezTo>
                    <a:pt x="4501" y="344"/>
                    <a:pt x="4512" y="341"/>
                    <a:pt x="4524" y="336"/>
                  </a:cubicBezTo>
                  <a:cubicBezTo>
                    <a:pt x="4525" y="336"/>
                    <a:pt x="4526" y="335"/>
                    <a:pt x="4528" y="335"/>
                  </a:cubicBezTo>
                  <a:cubicBezTo>
                    <a:pt x="4524" y="344"/>
                    <a:pt x="4519" y="357"/>
                    <a:pt x="4513" y="373"/>
                  </a:cubicBezTo>
                  <a:cubicBezTo>
                    <a:pt x="4499" y="378"/>
                    <a:pt x="4484" y="382"/>
                    <a:pt x="4469" y="387"/>
                  </a:cubicBezTo>
                  <a:moveTo>
                    <a:pt x="4530" y="359"/>
                  </a:moveTo>
                  <a:cubicBezTo>
                    <a:pt x="4535" y="347"/>
                    <a:pt x="4538" y="338"/>
                    <a:pt x="4541" y="333"/>
                  </a:cubicBezTo>
                  <a:cubicBezTo>
                    <a:pt x="4538" y="331"/>
                    <a:pt x="4538" y="331"/>
                    <a:pt x="4538" y="331"/>
                  </a:cubicBezTo>
                  <a:cubicBezTo>
                    <a:pt x="4543" y="330"/>
                    <a:pt x="4548" y="329"/>
                    <a:pt x="4552" y="328"/>
                  </a:cubicBezTo>
                  <a:cubicBezTo>
                    <a:pt x="4545" y="340"/>
                    <a:pt x="4537" y="350"/>
                    <a:pt x="4530" y="359"/>
                  </a:cubicBezTo>
                  <a:moveTo>
                    <a:pt x="4542" y="363"/>
                  </a:moveTo>
                  <a:cubicBezTo>
                    <a:pt x="4550" y="352"/>
                    <a:pt x="4559" y="339"/>
                    <a:pt x="4567" y="324"/>
                  </a:cubicBezTo>
                  <a:cubicBezTo>
                    <a:pt x="4587" y="318"/>
                    <a:pt x="4604" y="313"/>
                    <a:pt x="4617" y="310"/>
                  </a:cubicBezTo>
                  <a:cubicBezTo>
                    <a:pt x="4609" y="319"/>
                    <a:pt x="4602" y="330"/>
                    <a:pt x="4596" y="343"/>
                  </a:cubicBezTo>
                  <a:cubicBezTo>
                    <a:pt x="4595" y="341"/>
                    <a:pt x="4595" y="341"/>
                    <a:pt x="4595" y="341"/>
                  </a:cubicBezTo>
                  <a:cubicBezTo>
                    <a:pt x="4578" y="349"/>
                    <a:pt x="4560" y="356"/>
                    <a:pt x="4542" y="363"/>
                  </a:cubicBezTo>
                  <a:moveTo>
                    <a:pt x="4150" y="396"/>
                  </a:moveTo>
                  <a:cubicBezTo>
                    <a:pt x="4152" y="373"/>
                    <a:pt x="4154" y="345"/>
                    <a:pt x="4155" y="313"/>
                  </a:cubicBezTo>
                  <a:cubicBezTo>
                    <a:pt x="4180" y="311"/>
                    <a:pt x="4205" y="308"/>
                    <a:pt x="4231" y="306"/>
                  </a:cubicBezTo>
                  <a:cubicBezTo>
                    <a:pt x="4228" y="336"/>
                    <a:pt x="4224" y="364"/>
                    <a:pt x="4220" y="386"/>
                  </a:cubicBezTo>
                  <a:cubicBezTo>
                    <a:pt x="4196" y="390"/>
                    <a:pt x="4173" y="393"/>
                    <a:pt x="4150" y="396"/>
                  </a:cubicBezTo>
                  <a:moveTo>
                    <a:pt x="4232" y="384"/>
                  </a:moveTo>
                  <a:cubicBezTo>
                    <a:pt x="4236" y="362"/>
                    <a:pt x="4239" y="335"/>
                    <a:pt x="4243" y="304"/>
                  </a:cubicBezTo>
                  <a:cubicBezTo>
                    <a:pt x="4267" y="302"/>
                    <a:pt x="4293" y="299"/>
                    <a:pt x="4318" y="295"/>
                  </a:cubicBezTo>
                  <a:cubicBezTo>
                    <a:pt x="4312" y="325"/>
                    <a:pt x="4307" y="351"/>
                    <a:pt x="4301" y="373"/>
                  </a:cubicBezTo>
                  <a:cubicBezTo>
                    <a:pt x="4278" y="377"/>
                    <a:pt x="4255" y="381"/>
                    <a:pt x="4232" y="384"/>
                  </a:cubicBezTo>
                  <a:moveTo>
                    <a:pt x="4313" y="370"/>
                  </a:moveTo>
                  <a:cubicBezTo>
                    <a:pt x="4319" y="348"/>
                    <a:pt x="4325" y="323"/>
                    <a:pt x="4330" y="294"/>
                  </a:cubicBezTo>
                  <a:cubicBezTo>
                    <a:pt x="4359" y="290"/>
                    <a:pt x="4389" y="285"/>
                    <a:pt x="4419" y="280"/>
                  </a:cubicBezTo>
                  <a:cubicBezTo>
                    <a:pt x="4413" y="308"/>
                    <a:pt x="4406" y="332"/>
                    <a:pt x="4399" y="353"/>
                  </a:cubicBezTo>
                  <a:cubicBezTo>
                    <a:pt x="4371" y="359"/>
                    <a:pt x="4343" y="365"/>
                    <a:pt x="4313" y="370"/>
                  </a:cubicBezTo>
                  <a:moveTo>
                    <a:pt x="4620" y="296"/>
                  </a:moveTo>
                  <a:cubicBezTo>
                    <a:pt x="4621" y="296"/>
                    <a:pt x="4621" y="296"/>
                    <a:pt x="4622" y="295"/>
                  </a:cubicBezTo>
                  <a:cubicBezTo>
                    <a:pt x="4632" y="290"/>
                    <a:pt x="4642" y="285"/>
                    <a:pt x="4652" y="280"/>
                  </a:cubicBezTo>
                  <a:cubicBezTo>
                    <a:pt x="4647" y="284"/>
                    <a:pt x="4642" y="288"/>
                    <a:pt x="4637" y="292"/>
                  </a:cubicBezTo>
                  <a:cubicBezTo>
                    <a:pt x="4635" y="292"/>
                    <a:pt x="4629" y="294"/>
                    <a:pt x="4620" y="296"/>
                  </a:cubicBezTo>
                  <a:moveTo>
                    <a:pt x="4411" y="350"/>
                  </a:moveTo>
                  <a:cubicBezTo>
                    <a:pt x="4418" y="329"/>
                    <a:pt x="4424" y="305"/>
                    <a:pt x="4430" y="279"/>
                  </a:cubicBezTo>
                  <a:cubicBezTo>
                    <a:pt x="4456" y="274"/>
                    <a:pt x="4482" y="269"/>
                    <a:pt x="4507" y="264"/>
                  </a:cubicBezTo>
                  <a:cubicBezTo>
                    <a:pt x="4500" y="290"/>
                    <a:pt x="4492" y="313"/>
                    <a:pt x="4484" y="333"/>
                  </a:cubicBezTo>
                  <a:cubicBezTo>
                    <a:pt x="4461" y="338"/>
                    <a:pt x="4437" y="344"/>
                    <a:pt x="4411" y="350"/>
                  </a:cubicBezTo>
                  <a:moveTo>
                    <a:pt x="4498" y="329"/>
                  </a:moveTo>
                  <a:cubicBezTo>
                    <a:pt x="4506" y="309"/>
                    <a:pt x="4514" y="286"/>
                    <a:pt x="4521" y="261"/>
                  </a:cubicBezTo>
                  <a:cubicBezTo>
                    <a:pt x="4544" y="256"/>
                    <a:pt x="4567" y="251"/>
                    <a:pt x="4590" y="245"/>
                  </a:cubicBezTo>
                  <a:cubicBezTo>
                    <a:pt x="4581" y="269"/>
                    <a:pt x="4572" y="290"/>
                    <a:pt x="4563" y="308"/>
                  </a:cubicBezTo>
                  <a:cubicBezTo>
                    <a:pt x="4552" y="313"/>
                    <a:pt x="4542" y="317"/>
                    <a:pt x="4531" y="321"/>
                  </a:cubicBezTo>
                  <a:cubicBezTo>
                    <a:pt x="4520" y="324"/>
                    <a:pt x="4509" y="326"/>
                    <a:pt x="4498" y="329"/>
                  </a:cubicBezTo>
                  <a:moveTo>
                    <a:pt x="4578" y="302"/>
                  </a:moveTo>
                  <a:cubicBezTo>
                    <a:pt x="4587" y="284"/>
                    <a:pt x="4595" y="264"/>
                    <a:pt x="4603" y="242"/>
                  </a:cubicBezTo>
                  <a:cubicBezTo>
                    <a:pt x="4623" y="237"/>
                    <a:pt x="4642" y="231"/>
                    <a:pt x="4661" y="226"/>
                  </a:cubicBezTo>
                  <a:cubicBezTo>
                    <a:pt x="4646" y="248"/>
                    <a:pt x="4631" y="268"/>
                    <a:pt x="4614" y="286"/>
                  </a:cubicBezTo>
                  <a:cubicBezTo>
                    <a:pt x="4602" y="291"/>
                    <a:pt x="4591" y="296"/>
                    <a:pt x="4578" y="302"/>
                  </a:cubicBezTo>
                  <a:moveTo>
                    <a:pt x="4642" y="272"/>
                  </a:moveTo>
                  <a:cubicBezTo>
                    <a:pt x="4655" y="256"/>
                    <a:pt x="4667" y="239"/>
                    <a:pt x="4678" y="220"/>
                  </a:cubicBezTo>
                  <a:cubicBezTo>
                    <a:pt x="4693" y="215"/>
                    <a:pt x="4709" y="210"/>
                    <a:pt x="4723" y="205"/>
                  </a:cubicBezTo>
                  <a:cubicBezTo>
                    <a:pt x="4712" y="220"/>
                    <a:pt x="4701" y="235"/>
                    <a:pt x="4687" y="248"/>
                  </a:cubicBezTo>
                  <a:cubicBezTo>
                    <a:pt x="4673" y="256"/>
                    <a:pt x="4658" y="264"/>
                    <a:pt x="4642" y="272"/>
                  </a:cubicBezTo>
                  <a:moveTo>
                    <a:pt x="4155" y="301"/>
                  </a:moveTo>
                  <a:cubicBezTo>
                    <a:pt x="4155" y="289"/>
                    <a:pt x="4155" y="277"/>
                    <a:pt x="4155" y="265"/>
                  </a:cubicBezTo>
                  <a:cubicBezTo>
                    <a:pt x="4155" y="245"/>
                    <a:pt x="4155" y="223"/>
                    <a:pt x="4154" y="202"/>
                  </a:cubicBezTo>
                  <a:cubicBezTo>
                    <a:pt x="4182" y="200"/>
                    <a:pt x="4210" y="199"/>
                    <a:pt x="4239" y="198"/>
                  </a:cubicBezTo>
                  <a:cubicBezTo>
                    <a:pt x="4237" y="232"/>
                    <a:pt x="4235" y="264"/>
                    <a:pt x="4232" y="293"/>
                  </a:cubicBezTo>
                  <a:cubicBezTo>
                    <a:pt x="4206" y="296"/>
                    <a:pt x="4180" y="298"/>
                    <a:pt x="4155" y="301"/>
                  </a:cubicBezTo>
                  <a:moveTo>
                    <a:pt x="4244" y="292"/>
                  </a:moveTo>
                  <a:cubicBezTo>
                    <a:pt x="4246" y="263"/>
                    <a:pt x="4249" y="231"/>
                    <a:pt x="4250" y="198"/>
                  </a:cubicBezTo>
                  <a:cubicBezTo>
                    <a:pt x="4261" y="197"/>
                    <a:pt x="4272" y="197"/>
                    <a:pt x="4283" y="196"/>
                  </a:cubicBezTo>
                  <a:cubicBezTo>
                    <a:pt x="4299" y="195"/>
                    <a:pt x="4316" y="193"/>
                    <a:pt x="4332" y="191"/>
                  </a:cubicBezTo>
                  <a:cubicBezTo>
                    <a:pt x="4329" y="224"/>
                    <a:pt x="4325" y="255"/>
                    <a:pt x="4320" y="283"/>
                  </a:cubicBezTo>
                  <a:cubicBezTo>
                    <a:pt x="4294" y="286"/>
                    <a:pt x="4269" y="289"/>
                    <a:pt x="4244" y="292"/>
                  </a:cubicBezTo>
                  <a:moveTo>
                    <a:pt x="4332" y="282"/>
                  </a:moveTo>
                  <a:cubicBezTo>
                    <a:pt x="4337" y="253"/>
                    <a:pt x="4341" y="222"/>
                    <a:pt x="4344" y="190"/>
                  </a:cubicBezTo>
                  <a:cubicBezTo>
                    <a:pt x="4376" y="185"/>
                    <a:pt x="4408" y="178"/>
                    <a:pt x="4439" y="170"/>
                  </a:cubicBezTo>
                  <a:cubicBezTo>
                    <a:pt x="4434" y="205"/>
                    <a:pt x="4428" y="238"/>
                    <a:pt x="4422" y="268"/>
                  </a:cubicBezTo>
                  <a:cubicBezTo>
                    <a:pt x="4392" y="273"/>
                    <a:pt x="4362" y="278"/>
                    <a:pt x="4332" y="282"/>
                  </a:cubicBezTo>
                  <a:moveTo>
                    <a:pt x="4718" y="231"/>
                  </a:moveTo>
                  <a:cubicBezTo>
                    <a:pt x="4727" y="221"/>
                    <a:pt x="4736" y="210"/>
                    <a:pt x="4743" y="198"/>
                  </a:cubicBezTo>
                  <a:cubicBezTo>
                    <a:pt x="4773" y="187"/>
                    <a:pt x="4801" y="175"/>
                    <a:pt x="4829" y="163"/>
                  </a:cubicBezTo>
                  <a:cubicBezTo>
                    <a:pt x="4829" y="162"/>
                    <a:pt x="4831" y="162"/>
                    <a:pt x="4833" y="161"/>
                  </a:cubicBezTo>
                  <a:cubicBezTo>
                    <a:pt x="4830" y="169"/>
                    <a:pt x="4827" y="176"/>
                    <a:pt x="4823" y="182"/>
                  </a:cubicBezTo>
                  <a:cubicBezTo>
                    <a:pt x="4783" y="198"/>
                    <a:pt x="4750" y="214"/>
                    <a:pt x="4718" y="231"/>
                  </a:cubicBezTo>
                  <a:moveTo>
                    <a:pt x="4433" y="266"/>
                  </a:moveTo>
                  <a:cubicBezTo>
                    <a:pt x="4439" y="236"/>
                    <a:pt x="4445" y="203"/>
                    <a:pt x="4450" y="167"/>
                  </a:cubicBezTo>
                  <a:cubicBezTo>
                    <a:pt x="4478" y="160"/>
                    <a:pt x="4507" y="152"/>
                    <a:pt x="4535" y="143"/>
                  </a:cubicBezTo>
                  <a:cubicBezTo>
                    <a:pt x="4528" y="182"/>
                    <a:pt x="4520" y="218"/>
                    <a:pt x="4511" y="251"/>
                  </a:cubicBezTo>
                  <a:cubicBezTo>
                    <a:pt x="4485" y="256"/>
                    <a:pt x="4459" y="261"/>
                    <a:pt x="4433" y="266"/>
                  </a:cubicBezTo>
                  <a:moveTo>
                    <a:pt x="4524" y="248"/>
                  </a:moveTo>
                  <a:cubicBezTo>
                    <a:pt x="4533" y="215"/>
                    <a:pt x="4542" y="178"/>
                    <a:pt x="4549" y="139"/>
                  </a:cubicBezTo>
                  <a:cubicBezTo>
                    <a:pt x="4576" y="131"/>
                    <a:pt x="4603" y="123"/>
                    <a:pt x="4629" y="117"/>
                  </a:cubicBezTo>
                  <a:cubicBezTo>
                    <a:pt x="4619" y="158"/>
                    <a:pt x="4607" y="197"/>
                    <a:pt x="4595" y="231"/>
                  </a:cubicBezTo>
                  <a:cubicBezTo>
                    <a:pt x="4572" y="237"/>
                    <a:pt x="4548" y="243"/>
                    <a:pt x="4524" y="248"/>
                  </a:cubicBezTo>
                  <a:moveTo>
                    <a:pt x="4839" y="176"/>
                  </a:moveTo>
                  <a:cubicBezTo>
                    <a:pt x="4842" y="169"/>
                    <a:pt x="4844" y="163"/>
                    <a:pt x="4846" y="156"/>
                  </a:cubicBezTo>
                  <a:cubicBezTo>
                    <a:pt x="4868" y="147"/>
                    <a:pt x="4909" y="131"/>
                    <a:pt x="4958" y="111"/>
                  </a:cubicBezTo>
                  <a:cubicBezTo>
                    <a:pt x="4964" y="118"/>
                    <a:pt x="4971" y="125"/>
                    <a:pt x="4977" y="132"/>
                  </a:cubicBezTo>
                  <a:cubicBezTo>
                    <a:pt x="4963" y="137"/>
                    <a:pt x="4951" y="141"/>
                    <a:pt x="4939" y="144"/>
                  </a:cubicBezTo>
                  <a:cubicBezTo>
                    <a:pt x="4900" y="154"/>
                    <a:pt x="4868" y="165"/>
                    <a:pt x="4839" y="176"/>
                  </a:cubicBezTo>
                  <a:moveTo>
                    <a:pt x="4608" y="228"/>
                  </a:moveTo>
                  <a:cubicBezTo>
                    <a:pt x="4620" y="193"/>
                    <a:pt x="4632" y="155"/>
                    <a:pt x="4642" y="113"/>
                  </a:cubicBezTo>
                  <a:cubicBezTo>
                    <a:pt x="4668" y="107"/>
                    <a:pt x="4695" y="101"/>
                    <a:pt x="4721" y="97"/>
                  </a:cubicBezTo>
                  <a:cubicBezTo>
                    <a:pt x="4707" y="139"/>
                    <a:pt x="4690" y="177"/>
                    <a:pt x="4670" y="210"/>
                  </a:cubicBezTo>
                  <a:cubicBezTo>
                    <a:pt x="4650" y="216"/>
                    <a:pt x="4629" y="222"/>
                    <a:pt x="4608" y="228"/>
                  </a:cubicBezTo>
                  <a:moveTo>
                    <a:pt x="4850" y="141"/>
                  </a:moveTo>
                  <a:cubicBezTo>
                    <a:pt x="4854" y="127"/>
                    <a:pt x="4856" y="111"/>
                    <a:pt x="4858" y="95"/>
                  </a:cubicBezTo>
                  <a:cubicBezTo>
                    <a:pt x="4871" y="95"/>
                    <a:pt x="4885" y="96"/>
                    <a:pt x="4901" y="96"/>
                  </a:cubicBezTo>
                  <a:cubicBezTo>
                    <a:pt x="4915" y="96"/>
                    <a:pt x="4929" y="95"/>
                    <a:pt x="4945" y="95"/>
                  </a:cubicBezTo>
                  <a:cubicBezTo>
                    <a:pt x="4947" y="97"/>
                    <a:pt x="4948" y="99"/>
                    <a:pt x="4950" y="101"/>
                  </a:cubicBezTo>
                  <a:cubicBezTo>
                    <a:pt x="4908" y="119"/>
                    <a:pt x="4873" y="133"/>
                    <a:pt x="4850" y="141"/>
                  </a:cubicBezTo>
                  <a:moveTo>
                    <a:pt x="4961" y="97"/>
                  </a:moveTo>
                  <a:cubicBezTo>
                    <a:pt x="4961" y="96"/>
                    <a:pt x="4960" y="95"/>
                    <a:pt x="4959" y="94"/>
                  </a:cubicBezTo>
                  <a:cubicBezTo>
                    <a:pt x="4963" y="94"/>
                    <a:pt x="4966" y="94"/>
                    <a:pt x="4970" y="93"/>
                  </a:cubicBezTo>
                  <a:cubicBezTo>
                    <a:pt x="4967" y="94"/>
                    <a:pt x="4964" y="96"/>
                    <a:pt x="4961" y="97"/>
                  </a:cubicBezTo>
                  <a:moveTo>
                    <a:pt x="4154" y="190"/>
                  </a:moveTo>
                  <a:cubicBezTo>
                    <a:pt x="4153" y="158"/>
                    <a:pt x="4151" y="126"/>
                    <a:pt x="4149" y="93"/>
                  </a:cubicBezTo>
                  <a:cubicBezTo>
                    <a:pt x="4179" y="94"/>
                    <a:pt x="4209" y="94"/>
                    <a:pt x="4240" y="95"/>
                  </a:cubicBezTo>
                  <a:cubicBezTo>
                    <a:pt x="4240" y="103"/>
                    <a:pt x="4240" y="111"/>
                    <a:pt x="4240" y="119"/>
                  </a:cubicBezTo>
                  <a:cubicBezTo>
                    <a:pt x="4240" y="142"/>
                    <a:pt x="4240" y="164"/>
                    <a:pt x="4239" y="186"/>
                  </a:cubicBezTo>
                  <a:cubicBezTo>
                    <a:pt x="4211" y="187"/>
                    <a:pt x="4182" y="188"/>
                    <a:pt x="4154" y="190"/>
                  </a:cubicBezTo>
                  <a:moveTo>
                    <a:pt x="4272" y="96"/>
                  </a:moveTo>
                  <a:cubicBezTo>
                    <a:pt x="4295" y="96"/>
                    <a:pt x="4318" y="94"/>
                    <a:pt x="4340" y="92"/>
                  </a:cubicBezTo>
                  <a:cubicBezTo>
                    <a:pt x="4339" y="122"/>
                    <a:pt x="4336" y="151"/>
                    <a:pt x="4334" y="179"/>
                  </a:cubicBezTo>
                  <a:cubicBezTo>
                    <a:pt x="4316" y="181"/>
                    <a:pt x="4299" y="183"/>
                    <a:pt x="4282" y="184"/>
                  </a:cubicBezTo>
                  <a:cubicBezTo>
                    <a:pt x="4272" y="185"/>
                    <a:pt x="4261" y="185"/>
                    <a:pt x="4251" y="186"/>
                  </a:cubicBezTo>
                  <a:cubicBezTo>
                    <a:pt x="4251" y="162"/>
                    <a:pt x="4252" y="138"/>
                    <a:pt x="4252" y="114"/>
                  </a:cubicBezTo>
                  <a:cubicBezTo>
                    <a:pt x="4252" y="108"/>
                    <a:pt x="4252" y="102"/>
                    <a:pt x="4252" y="95"/>
                  </a:cubicBezTo>
                  <a:cubicBezTo>
                    <a:pt x="4253" y="95"/>
                    <a:pt x="4254" y="95"/>
                    <a:pt x="4255" y="95"/>
                  </a:cubicBezTo>
                  <a:cubicBezTo>
                    <a:pt x="4261" y="96"/>
                    <a:pt x="4266" y="96"/>
                    <a:pt x="4272" y="96"/>
                  </a:cubicBezTo>
                  <a:moveTo>
                    <a:pt x="4687" y="205"/>
                  </a:moveTo>
                  <a:cubicBezTo>
                    <a:pt x="4705" y="172"/>
                    <a:pt x="4721" y="136"/>
                    <a:pt x="4734" y="96"/>
                  </a:cubicBezTo>
                  <a:cubicBezTo>
                    <a:pt x="4750" y="94"/>
                    <a:pt x="4767" y="92"/>
                    <a:pt x="4783" y="92"/>
                  </a:cubicBezTo>
                  <a:cubicBezTo>
                    <a:pt x="4771" y="126"/>
                    <a:pt x="4755" y="159"/>
                    <a:pt x="4735" y="188"/>
                  </a:cubicBezTo>
                  <a:cubicBezTo>
                    <a:pt x="4719" y="194"/>
                    <a:pt x="4703" y="200"/>
                    <a:pt x="4687" y="205"/>
                  </a:cubicBezTo>
                  <a:moveTo>
                    <a:pt x="4808" y="92"/>
                  </a:moveTo>
                  <a:cubicBezTo>
                    <a:pt x="4809" y="92"/>
                    <a:pt x="4811" y="92"/>
                    <a:pt x="4815" y="91"/>
                  </a:cubicBezTo>
                  <a:cubicBezTo>
                    <a:pt x="4824" y="92"/>
                    <a:pt x="4834" y="93"/>
                    <a:pt x="4847" y="94"/>
                  </a:cubicBezTo>
                  <a:cubicBezTo>
                    <a:pt x="4845" y="113"/>
                    <a:pt x="4842" y="131"/>
                    <a:pt x="4837" y="147"/>
                  </a:cubicBezTo>
                  <a:cubicBezTo>
                    <a:pt x="4830" y="150"/>
                    <a:pt x="4825" y="151"/>
                    <a:pt x="4824" y="152"/>
                  </a:cubicBezTo>
                  <a:cubicBezTo>
                    <a:pt x="4802" y="162"/>
                    <a:pt x="4778" y="172"/>
                    <a:pt x="4754" y="181"/>
                  </a:cubicBezTo>
                  <a:cubicBezTo>
                    <a:pt x="4771" y="154"/>
                    <a:pt x="4785" y="124"/>
                    <a:pt x="4796" y="92"/>
                  </a:cubicBezTo>
                  <a:cubicBezTo>
                    <a:pt x="4800" y="92"/>
                    <a:pt x="4804" y="92"/>
                    <a:pt x="4808" y="92"/>
                  </a:cubicBezTo>
                  <a:cubicBezTo>
                    <a:pt x="4808" y="92"/>
                    <a:pt x="4808" y="92"/>
                    <a:pt x="4808" y="92"/>
                  </a:cubicBezTo>
                  <a:moveTo>
                    <a:pt x="4989" y="127"/>
                  </a:moveTo>
                  <a:cubicBezTo>
                    <a:pt x="4982" y="120"/>
                    <a:pt x="4976" y="113"/>
                    <a:pt x="4970" y="106"/>
                  </a:cubicBezTo>
                  <a:cubicBezTo>
                    <a:pt x="4982" y="101"/>
                    <a:pt x="4996" y="96"/>
                    <a:pt x="5010" y="90"/>
                  </a:cubicBezTo>
                  <a:cubicBezTo>
                    <a:pt x="5028" y="88"/>
                    <a:pt x="5047" y="86"/>
                    <a:pt x="5067" y="83"/>
                  </a:cubicBezTo>
                  <a:cubicBezTo>
                    <a:pt x="5069" y="84"/>
                    <a:pt x="5071" y="85"/>
                    <a:pt x="5073" y="86"/>
                  </a:cubicBezTo>
                  <a:cubicBezTo>
                    <a:pt x="5043" y="102"/>
                    <a:pt x="5015" y="116"/>
                    <a:pt x="4989" y="127"/>
                  </a:cubicBezTo>
                  <a:moveTo>
                    <a:pt x="4848" y="82"/>
                  </a:moveTo>
                  <a:cubicBezTo>
                    <a:pt x="4845" y="81"/>
                    <a:pt x="4843" y="81"/>
                    <a:pt x="4841" y="81"/>
                  </a:cubicBezTo>
                  <a:cubicBezTo>
                    <a:pt x="4843" y="80"/>
                    <a:pt x="4846" y="79"/>
                    <a:pt x="4848" y="78"/>
                  </a:cubicBezTo>
                  <a:cubicBezTo>
                    <a:pt x="4848" y="80"/>
                    <a:pt x="4848" y="81"/>
                    <a:pt x="4848" y="82"/>
                  </a:cubicBezTo>
                  <a:moveTo>
                    <a:pt x="4346" y="177"/>
                  </a:moveTo>
                  <a:cubicBezTo>
                    <a:pt x="4348" y="150"/>
                    <a:pt x="4351" y="121"/>
                    <a:pt x="4352" y="91"/>
                  </a:cubicBezTo>
                  <a:cubicBezTo>
                    <a:pt x="4385" y="87"/>
                    <a:pt x="4417" y="82"/>
                    <a:pt x="4449" y="76"/>
                  </a:cubicBezTo>
                  <a:cubicBezTo>
                    <a:pt x="4447" y="104"/>
                    <a:pt x="4444" y="131"/>
                    <a:pt x="4440" y="158"/>
                  </a:cubicBezTo>
                  <a:cubicBezTo>
                    <a:pt x="4409" y="166"/>
                    <a:pt x="4377" y="173"/>
                    <a:pt x="4346" y="177"/>
                  </a:cubicBezTo>
                  <a:moveTo>
                    <a:pt x="4451" y="155"/>
                  </a:moveTo>
                  <a:cubicBezTo>
                    <a:pt x="4455" y="129"/>
                    <a:pt x="4457" y="101"/>
                    <a:pt x="4460" y="74"/>
                  </a:cubicBezTo>
                  <a:cubicBezTo>
                    <a:pt x="4486" y="68"/>
                    <a:pt x="4513" y="62"/>
                    <a:pt x="4539" y="57"/>
                  </a:cubicBezTo>
                  <a:cubicBezTo>
                    <a:pt x="4542" y="56"/>
                    <a:pt x="4546" y="55"/>
                    <a:pt x="4549" y="54"/>
                  </a:cubicBezTo>
                  <a:cubicBezTo>
                    <a:pt x="4546" y="80"/>
                    <a:pt x="4542" y="106"/>
                    <a:pt x="4538" y="130"/>
                  </a:cubicBezTo>
                  <a:cubicBezTo>
                    <a:pt x="4537" y="130"/>
                    <a:pt x="4537" y="130"/>
                    <a:pt x="4537" y="130"/>
                  </a:cubicBezTo>
                  <a:cubicBezTo>
                    <a:pt x="4509" y="139"/>
                    <a:pt x="4480" y="147"/>
                    <a:pt x="4451" y="155"/>
                  </a:cubicBezTo>
                  <a:moveTo>
                    <a:pt x="4902" y="84"/>
                  </a:moveTo>
                  <a:cubicBezTo>
                    <a:pt x="4886" y="84"/>
                    <a:pt x="4872" y="83"/>
                    <a:pt x="4859" y="82"/>
                  </a:cubicBezTo>
                  <a:cubicBezTo>
                    <a:pt x="4859" y="80"/>
                    <a:pt x="4859" y="77"/>
                    <a:pt x="4859" y="74"/>
                  </a:cubicBezTo>
                  <a:cubicBezTo>
                    <a:pt x="4875" y="68"/>
                    <a:pt x="4893" y="61"/>
                    <a:pt x="4915" y="52"/>
                  </a:cubicBezTo>
                  <a:cubicBezTo>
                    <a:pt x="4922" y="62"/>
                    <a:pt x="4929" y="73"/>
                    <a:pt x="4936" y="83"/>
                  </a:cubicBezTo>
                  <a:cubicBezTo>
                    <a:pt x="4924" y="83"/>
                    <a:pt x="4913" y="84"/>
                    <a:pt x="4902" y="84"/>
                  </a:cubicBezTo>
                  <a:moveTo>
                    <a:pt x="5069" y="70"/>
                  </a:moveTo>
                  <a:cubicBezTo>
                    <a:pt x="5067" y="69"/>
                    <a:pt x="5065" y="68"/>
                    <a:pt x="5064" y="67"/>
                  </a:cubicBezTo>
                  <a:cubicBezTo>
                    <a:pt x="5087" y="58"/>
                    <a:pt x="5110" y="48"/>
                    <a:pt x="5133" y="38"/>
                  </a:cubicBezTo>
                  <a:cubicBezTo>
                    <a:pt x="5139" y="40"/>
                    <a:pt x="5144" y="42"/>
                    <a:pt x="5150" y="44"/>
                  </a:cubicBezTo>
                  <a:cubicBezTo>
                    <a:pt x="5139" y="50"/>
                    <a:pt x="5128" y="56"/>
                    <a:pt x="5118" y="62"/>
                  </a:cubicBezTo>
                  <a:cubicBezTo>
                    <a:pt x="5101" y="65"/>
                    <a:pt x="5084" y="68"/>
                    <a:pt x="5069" y="70"/>
                  </a:cubicBezTo>
                  <a:moveTo>
                    <a:pt x="4551" y="126"/>
                  </a:moveTo>
                  <a:cubicBezTo>
                    <a:pt x="4555" y="102"/>
                    <a:pt x="4559" y="77"/>
                    <a:pt x="4562" y="52"/>
                  </a:cubicBezTo>
                  <a:cubicBezTo>
                    <a:pt x="4590" y="45"/>
                    <a:pt x="4619" y="39"/>
                    <a:pt x="4647" y="34"/>
                  </a:cubicBezTo>
                  <a:cubicBezTo>
                    <a:pt x="4645" y="41"/>
                    <a:pt x="4644" y="48"/>
                    <a:pt x="4643" y="55"/>
                  </a:cubicBezTo>
                  <a:cubicBezTo>
                    <a:pt x="4639" y="71"/>
                    <a:pt x="4636" y="88"/>
                    <a:pt x="4632" y="103"/>
                  </a:cubicBezTo>
                  <a:cubicBezTo>
                    <a:pt x="4605" y="110"/>
                    <a:pt x="4578" y="118"/>
                    <a:pt x="4551" y="126"/>
                  </a:cubicBezTo>
                  <a:moveTo>
                    <a:pt x="5051" y="59"/>
                  </a:moveTo>
                  <a:cubicBezTo>
                    <a:pt x="5036" y="49"/>
                    <a:pt x="5021" y="39"/>
                    <a:pt x="5008" y="27"/>
                  </a:cubicBezTo>
                  <a:cubicBezTo>
                    <a:pt x="5026" y="28"/>
                    <a:pt x="5046" y="29"/>
                    <a:pt x="5067" y="29"/>
                  </a:cubicBezTo>
                  <a:cubicBezTo>
                    <a:pt x="5081" y="29"/>
                    <a:pt x="5095" y="28"/>
                    <a:pt x="5109" y="28"/>
                  </a:cubicBezTo>
                  <a:cubicBezTo>
                    <a:pt x="5112" y="29"/>
                    <a:pt x="5115" y="30"/>
                    <a:pt x="5117" y="31"/>
                  </a:cubicBezTo>
                  <a:cubicBezTo>
                    <a:pt x="5095" y="41"/>
                    <a:pt x="5073" y="50"/>
                    <a:pt x="5051" y="59"/>
                  </a:cubicBezTo>
                  <a:moveTo>
                    <a:pt x="4950" y="82"/>
                  </a:moveTo>
                  <a:cubicBezTo>
                    <a:pt x="4941" y="71"/>
                    <a:pt x="4933" y="59"/>
                    <a:pt x="4926" y="47"/>
                  </a:cubicBezTo>
                  <a:cubicBezTo>
                    <a:pt x="4937" y="43"/>
                    <a:pt x="4949" y="38"/>
                    <a:pt x="4962" y="33"/>
                  </a:cubicBezTo>
                  <a:cubicBezTo>
                    <a:pt x="4968" y="30"/>
                    <a:pt x="4975" y="27"/>
                    <a:pt x="4982" y="25"/>
                  </a:cubicBezTo>
                  <a:cubicBezTo>
                    <a:pt x="4984" y="25"/>
                    <a:pt x="4987" y="25"/>
                    <a:pt x="4989" y="25"/>
                  </a:cubicBezTo>
                  <a:cubicBezTo>
                    <a:pt x="5004" y="40"/>
                    <a:pt x="5020" y="53"/>
                    <a:pt x="5038" y="65"/>
                  </a:cubicBezTo>
                  <a:cubicBezTo>
                    <a:pt x="5028" y="69"/>
                    <a:pt x="5017" y="74"/>
                    <a:pt x="5007" y="78"/>
                  </a:cubicBezTo>
                  <a:cubicBezTo>
                    <a:pt x="4987" y="80"/>
                    <a:pt x="4968" y="81"/>
                    <a:pt x="4950" y="82"/>
                  </a:cubicBezTo>
                  <a:moveTo>
                    <a:pt x="4645" y="100"/>
                  </a:moveTo>
                  <a:cubicBezTo>
                    <a:pt x="4650" y="78"/>
                    <a:pt x="4654" y="55"/>
                    <a:pt x="4659" y="32"/>
                  </a:cubicBezTo>
                  <a:cubicBezTo>
                    <a:pt x="4687" y="27"/>
                    <a:pt x="4714" y="24"/>
                    <a:pt x="4741" y="22"/>
                  </a:cubicBezTo>
                  <a:cubicBezTo>
                    <a:pt x="4736" y="44"/>
                    <a:pt x="4731" y="65"/>
                    <a:pt x="4725" y="85"/>
                  </a:cubicBezTo>
                  <a:cubicBezTo>
                    <a:pt x="4698" y="88"/>
                    <a:pt x="4672" y="94"/>
                    <a:pt x="4645" y="100"/>
                  </a:cubicBezTo>
                  <a:moveTo>
                    <a:pt x="5164" y="36"/>
                  </a:moveTo>
                  <a:cubicBezTo>
                    <a:pt x="5159" y="34"/>
                    <a:pt x="5154" y="32"/>
                    <a:pt x="5149" y="31"/>
                  </a:cubicBezTo>
                  <a:cubicBezTo>
                    <a:pt x="5154" y="28"/>
                    <a:pt x="5159" y="26"/>
                    <a:pt x="5164" y="24"/>
                  </a:cubicBezTo>
                  <a:cubicBezTo>
                    <a:pt x="5171" y="23"/>
                    <a:pt x="5179" y="23"/>
                    <a:pt x="5187" y="22"/>
                  </a:cubicBezTo>
                  <a:cubicBezTo>
                    <a:pt x="5179" y="26"/>
                    <a:pt x="5171" y="31"/>
                    <a:pt x="5164" y="36"/>
                  </a:cubicBezTo>
                  <a:moveTo>
                    <a:pt x="4789" y="21"/>
                  </a:moveTo>
                  <a:cubicBezTo>
                    <a:pt x="4792" y="21"/>
                    <a:pt x="4796" y="20"/>
                    <a:pt x="4805" y="17"/>
                  </a:cubicBezTo>
                  <a:cubicBezTo>
                    <a:pt x="4801" y="37"/>
                    <a:pt x="4796" y="55"/>
                    <a:pt x="4790" y="74"/>
                  </a:cubicBezTo>
                  <a:cubicBezTo>
                    <a:pt x="4789" y="73"/>
                    <a:pt x="4788" y="73"/>
                    <a:pt x="4788" y="73"/>
                  </a:cubicBezTo>
                  <a:cubicBezTo>
                    <a:pt x="4786" y="80"/>
                    <a:pt x="4786" y="80"/>
                    <a:pt x="4786" y="80"/>
                  </a:cubicBezTo>
                  <a:cubicBezTo>
                    <a:pt x="4770" y="80"/>
                    <a:pt x="4754" y="81"/>
                    <a:pt x="4738" y="83"/>
                  </a:cubicBezTo>
                  <a:cubicBezTo>
                    <a:pt x="4744" y="63"/>
                    <a:pt x="4749" y="43"/>
                    <a:pt x="4753" y="22"/>
                  </a:cubicBezTo>
                  <a:cubicBezTo>
                    <a:pt x="4761" y="21"/>
                    <a:pt x="4768" y="21"/>
                    <a:pt x="4775" y="21"/>
                  </a:cubicBezTo>
                  <a:cubicBezTo>
                    <a:pt x="4780" y="21"/>
                    <a:pt x="4784" y="21"/>
                    <a:pt x="4789" y="21"/>
                  </a:cubicBezTo>
                  <a:cubicBezTo>
                    <a:pt x="4789" y="21"/>
                    <a:pt x="4789" y="21"/>
                    <a:pt x="4789" y="21"/>
                  </a:cubicBezTo>
                  <a:moveTo>
                    <a:pt x="4920" y="37"/>
                  </a:moveTo>
                  <a:cubicBezTo>
                    <a:pt x="4915" y="29"/>
                    <a:pt x="4911" y="22"/>
                    <a:pt x="4907" y="14"/>
                  </a:cubicBezTo>
                  <a:cubicBezTo>
                    <a:pt x="4922" y="17"/>
                    <a:pt x="4938" y="20"/>
                    <a:pt x="4956" y="22"/>
                  </a:cubicBezTo>
                  <a:cubicBezTo>
                    <a:pt x="4943" y="27"/>
                    <a:pt x="4931" y="32"/>
                    <a:pt x="4920" y="37"/>
                  </a:cubicBezTo>
                  <a:moveTo>
                    <a:pt x="4860" y="61"/>
                  </a:moveTo>
                  <a:cubicBezTo>
                    <a:pt x="4860" y="52"/>
                    <a:pt x="4861" y="43"/>
                    <a:pt x="4861" y="34"/>
                  </a:cubicBezTo>
                  <a:cubicBezTo>
                    <a:pt x="4861" y="24"/>
                    <a:pt x="4860" y="14"/>
                    <a:pt x="4860" y="3"/>
                  </a:cubicBezTo>
                  <a:cubicBezTo>
                    <a:pt x="4869" y="6"/>
                    <a:pt x="4880" y="9"/>
                    <a:pt x="4893" y="11"/>
                  </a:cubicBezTo>
                  <a:cubicBezTo>
                    <a:pt x="4898" y="21"/>
                    <a:pt x="4903" y="31"/>
                    <a:pt x="4909" y="41"/>
                  </a:cubicBezTo>
                  <a:cubicBezTo>
                    <a:pt x="4890" y="49"/>
                    <a:pt x="4874" y="55"/>
                    <a:pt x="4860" y="61"/>
                  </a:cubicBezTo>
                  <a:moveTo>
                    <a:pt x="4815" y="78"/>
                  </a:moveTo>
                  <a:cubicBezTo>
                    <a:pt x="4810" y="77"/>
                    <a:pt x="4805" y="77"/>
                    <a:pt x="4802" y="76"/>
                  </a:cubicBezTo>
                  <a:cubicBezTo>
                    <a:pt x="4808" y="56"/>
                    <a:pt x="4814" y="35"/>
                    <a:pt x="4819" y="13"/>
                  </a:cubicBezTo>
                  <a:cubicBezTo>
                    <a:pt x="4827" y="10"/>
                    <a:pt x="4836" y="6"/>
                    <a:pt x="4849" y="1"/>
                  </a:cubicBezTo>
                  <a:cubicBezTo>
                    <a:pt x="4849" y="13"/>
                    <a:pt x="4849" y="24"/>
                    <a:pt x="4849" y="35"/>
                  </a:cubicBezTo>
                  <a:cubicBezTo>
                    <a:pt x="4849" y="45"/>
                    <a:pt x="4849" y="55"/>
                    <a:pt x="4849" y="65"/>
                  </a:cubicBezTo>
                  <a:cubicBezTo>
                    <a:pt x="4833" y="72"/>
                    <a:pt x="4821" y="76"/>
                    <a:pt x="4815" y="78"/>
                  </a:cubicBezTo>
                  <a:moveTo>
                    <a:pt x="5244" y="0"/>
                  </a:moveTo>
                  <a:cubicBezTo>
                    <a:pt x="5223" y="0"/>
                    <a:pt x="5223" y="0"/>
                    <a:pt x="5223" y="0"/>
                  </a:cubicBezTo>
                  <a:cubicBezTo>
                    <a:pt x="5219" y="2"/>
                    <a:pt x="5215" y="4"/>
                    <a:pt x="5212" y="7"/>
                  </a:cubicBezTo>
                  <a:cubicBezTo>
                    <a:pt x="5208" y="7"/>
                    <a:pt x="5203" y="8"/>
                    <a:pt x="5199" y="8"/>
                  </a:cubicBezTo>
                  <a:cubicBezTo>
                    <a:pt x="5205" y="5"/>
                    <a:pt x="5211" y="3"/>
                    <a:pt x="5217" y="0"/>
                  </a:cubicBezTo>
                  <a:cubicBezTo>
                    <a:pt x="5189" y="0"/>
                    <a:pt x="5189" y="0"/>
                    <a:pt x="5189" y="0"/>
                  </a:cubicBezTo>
                  <a:cubicBezTo>
                    <a:pt x="5180" y="4"/>
                    <a:pt x="5170" y="8"/>
                    <a:pt x="5161" y="12"/>
                  </a:cubicBezTo>
                  <a:cubicBezTo>
                    <a:pt x="5144" y="14"/>
                    <a:pt x="5127" y="15"/>
                    <a:pt x="5111" y="16"/>
                  </a:cubicBezTo>
                  <a:cubicBezTo>
                    <a:pt x="5100" y="11"/>
                    <a:pt x="5090" y="5"/>
                    <a:pt x="5079" y="0"/>
                  </a:cubicBezTo>
                  <a:cubicBezTo>
                    <a:pt x="5056" y="0"/>
                    <a:pt x="5056" y="0"/>
                    <a:pt x="5056" y="0"/>
                  </a:cubicBezTo>
                  <a:cubicBezTo>
                    <a:pt x="5065" y="6"/>
                    <a:pt x="5075" y="11"/>
                    <a:pt x="5085" y="16"/>
                  </a:cubicBezTo>
                  <a:cubicBezTo>
                    <a:pt x="5079" y="17"/>
                    <a:pt x="5073" y="17"/>
                    <a:pt x="5067" y="17"/>
                  </a:cubicBezTo>
                  <a:cubicBezTo>
                    <a:pt x="5046" y="17"/>
                    <a:pt x="5027" y="16"/>
                    <a:pt x="5009" y="15"/>
                  </a:cubicBezTo>
                  <a:cubicBezTo>
                    <a:pt x="5023" y="10"/>
                    <a:pt x="5037" y="5"/>
                    <a:pt x="5052" y="0"/>
                  </a:cubicBezTo>
                  <a:cubicBezTo>
                    <a:pt x="5015" y="0"/>
                    <a:pt x="5015" y="0"/>
                    <a:pt x="5015" y="0"/>
                  </a:cubicBezTo>
                  <a:cubicBezTo>
                    <a:pt x="5006" y="3"/>
                    <a:pt x="4997" y="6"/>
                    <a:pt x="4989" y="9"/>
                  </a:cubicBezTo>
                  <a:cubicBezTo>
                    <a:pt x="4986" y="6"/>
                    <a:pt x="4983" y="3"/>
                    <a:pt x="4980" y="0"/>
                  </a:cubicBezTo>
                  <a:cubicBezTo>
                    <a:pt x="4964" y="0"/>
                    <a:pt x="4964" y="0"/>
                    <a:pt x="4964" y="0"/>
                  </a:cubicBezTo>
                  <a:cubicBezTo>
                    <a:pt x="4968" y="4"/>
                    <a:pt x="4971" y="8"/>
                    <a:pt x="4975" y="12"/>
                  </a:cubicBezTo>
                  <a:cubicBezTo>
                    <a:pt x="4946" y="9"/>
                    <a:pt x="4921" y="5"/>
                    <a:pt x="4900" y="1"/>
                  </a:cubicBezTo>
                  <a:cubicBezTo>
                    <a:pt x="4900" y="0"/>
                    <a:pt x="4900" y="0"/>
                    <a:pt x="4900" y="0"/>
                  </a:cubicBezTo>
                  <a:cubicBezTo>
                    <a:pt x="4809" y="0"/>
                    <a:pt x="4809" y="0"/>
                    <a:pt x="4809" y="0"/>
                  </a:cubicBezTo>
                  <a:cubicBezTo>
                    <a:pt x="4809" y="1"/>
                    <a:pt x="4809" y="3"/>
                    <a:pt x="4808" y="4"/>
                  </a:cubicBezTo>
                  <a:cubicBezTo>
                    <a:pt x="4799" y="7"/>
                    <a:pt x="4792" y="9"/>
                    <a:pt x="4789" y="9"/>
                  </a:cubicBezTo>
                  <a:cubicBezTo>
                    <a:pt x="4789" y="9"/>
                    <a:pt x="4789" y="9"/>
                    <a:pt x="4789" y="9"/>
                  </a:cubicBezTo>
                  <a:cubicBezTo>
                    <a:pt x="4784" y="9"/>
                    <a:pt x="4779" y="9"/>
                    <a:pt x="4774" y="9"/>
                  </a:cubicBezTo>
                  <a:cubicBezTo>
                    <a:pt x="4768" y="9"/>
                    <a:pt x="4762" y="9"/>
                    <a:pt x="4756" y="9"/>
                  </a:cubicBezTo>
                  <a:cubicBezTo>
                    <a:pt x="4757" y="6"/>
                    <a:pt x="4757" y="3"/>
                    <a:pt x="4758" y="0"/>
                  </a:cubicBezTo>
                  <a:cubicBezTo>
                    <a:pt x="4746" y="0"/>
                    <a:pt x="4746" y="0"/>
                    <a:pt x="4746" y="0"/>
                  </a:cubicBezTo>
                  <a:cubicBezTo>
                    <a:pt x="4745" y="3"/>
                    <a:pt x="4745" y="7"/>
                    <a:pt x="4744" y="10"/>
                  </a:cubicBezTo>
                  <a:cubicBezTo>
                    <a:pt x="4717" y="12"/>
                    <a:pt x="4689" y="15"/>
                    <a:pt x="4661" y="19"/>
                  </a:cubicBezTo>
                  <a:cubicBezTo>
                    <a:pt x="4662" y="13"/>
                    <a:pt x="4663" y="6"/>
                    <a:pt x="4664" y="0"/>
                  </a:cubicBezTo>
                  <a:cubicBezTo>
                    <a:pt x="4653" y="0"/>
                    <a:pt x="4653" y="0"/>
                    <a:pt x="4653" y="0"/>
                  </a:cubicBezTo>
                  <a:cubicBezTo>
                    <a:pt x="4651" y="7"/>
                    <a:pt x="4650" y="14"/>
                    <a:pt x="4649" y="22"/>
                  </a:cubicBezTo>
                  <a:cubicBezTo>
                    <a:pt x="4621" y="27"/>
                    <a:pt x="4592" y="33"/>
                    <a:pt x="4563" y="39"/>
                  </a:cubicBezTo>
                  <a:cubicBezTo>
                    <a:pt x="4565" y="26"/>
                    <a:pt x="4566" y="13"/>
                    <a:pt x="4567" y="0"/>
                  </a:cubicBezTo>
                  <a:cubicBezTo>
                    <a:pt x="4555" y="0"/>
                    <a:pt x="4555" y="0"/>
                    <a:pt x="4555" y="0"/>
                  </a:cubicBezTo>
                  <a:cubicBezTo>
                    <a:pt x="4554" y="14"/>
                    <a:pt x="4552" y="28"/>
                    <a:pt x="4551" y="42"/>
                  </a:cubicBezTo>
                  <a:cubicBezTo>
                    <a:pt x="4546" y="43"/>
                    <a:pt x="4541" y="44"/>
                    <a:pt x="4537" y="45"/>
                  </a:cubicBezTo>
                  <a:cubicBezTo>
                    <a:pt x="4512" y="51"/>
                    <a:pt x="4486" y="56"/>
                    <a:pt x="4460" y="61"/>
                  </a:cubicBezTo>
                  <a:cubicBezTo>
                    <a:pt x="4462" y="41"/>
                    <a:pt x="4463" y="21"/>
                    <a:pt x="4464" y="0"/>
                  </a:cubicBezTo>
                  <a:cubicBezTo>
                    <a:pt x="4453" y="0"/>
                    <a:pt x="4453" y="0"/>
                    <a:pt x="4453" y="0"/>
                  </a:cubicBezTo>
                  <a:cubicBezTo>
                    <a:pt x="4452" y="21"/>
                    <a:pt x="4451" y="43"/>
                    <a:pt x="4450" y="64"/>
                  </a:cubicBezTo>
                  <a:cubicBezTo>
                    <a:pt x="4418" y="70"/>
                    <a:pt x="4385" y="75"/>
                    <a:pt x="4353" y="79"/>
                  </a:cubicBezTo>
                  <a:cubicBezTo>
                    <a:pt x="4354" y="54"/>
                    <a:pt x="4354" y="28"/>
                    <a:pt x="4354" y="2"/>
                  </a:cubicBezTo>
                  <a:cubicBezTo>
                    <a:pt x="4354" y="2"/>
                    <a:pt x="4354" y="1"/>
                    <a:pt x="4354" y="0"/>
                  </a:cubicBezTo>
                  <a:cubicBezTo>
                    <a:pt x="4342" y="0"/>
                    <a:pt x="4342" y="0"/>
                    <a:pt x="4342" y="0"/>
                  </a:cubicBezTo>
                  <a:cubicBezTo>
                    <a:pt x="4342" y="0"/>
                    <a:pt x="4342" y="0"/>
                    <a:pt x="4342" y="0"/>
                  </a:cubicBezTo>
                  <a:cubicBezTo>
                    <a:pt x="4342" y="27"/>
                    <a:pt x="4342" y="54"/>
                    <a:pt x="4341" y="80"/>
                  </a:cubicBezTo>
                  <a:cubicBezTo>
                    <a:pt x="4318" y="82"/>
                    <a:pt x="4295" y="84"/>
                    <a:pt x="4272" y="84"/>
                  </a:cubicBezTo>
                  <a:cubicBezTo>
                    <a:pt x="4266" y="84"/>
                    <a:pt x="4261" y="84"/>
                    <a:pt x="4255" y="83"/>
                  </a:cubicBezTo>
                  <a:cubicBezTo>
                    <a:pt x="4254" y="83"/>
                    <a:pt x="4253" y="83"/>
                    <a:pt x="4252" y="83"/>
                  </a:cubicBezTo>
                  <a:cubicBezTo>
                    <a:pt x="4251" y="56"/>
                    <a:pt x="4250" y="28"/>
                    <a:pt x="4248" y="0"/>
                  </a:cubicBezTo>
                  <a:cubicBezTo>
                    <a:pt x="4236" y="0"/>
                    <a:pt x="4236" y="0"/>
                    <a:pt x="4236" y="0"/>
                  </a:cubicBezTo>
                  <a:cubicBezTo>
                    <a:pt x="4238" y="28"/>
                    <a:pt x="4239" y="56"/>
                    <a:pt x="4240" y="83"/>
                  </a:cubicBezTo>
                  <a:cubicBezTo>
                    <a:pt x="4209" y="82"/>
                    <a:pt x="4178" y="82"/>
                    <a:pt x="4148" y="81"/>
                  </a:cubicBezTo>
                  <a:cubicBezTo>
                    <a:pt x="4145" y="54"/>
                    <a:pt x="4143" y="27"/>
                    <a:pt x="4139" y="0"/>
                  </a:cubicBezTo>
                  <a:cubicBezTo>
                    <a:pt x="4128" y="0"/>
                    <a:pt x="4128" y="0"/>
                    <a:pt x="4128" y="0"/>
                  </a:cubicBezTo>
                  <a:cubicBezTo>
                    <a:pt x="4131" y="27"/>
                    <a:pt x="4134" y="54"/>
                    <a:pt x="4137" y="81"/>
                  </a:cubicBezTo>
                  <a:cubicBezTo>
                    <a:pt x="4129" y="81"/>
                    <a:pt x="4121" y="81"/>
                    <a:pt x="4113" y="81"/>
                  </a:cubicBezTo>
                  <a:cubicBezTo>
                    <a:pt x="4113" y="93"/>
                    <a:pt x="4113" y="93"/>
                    <a:pt x="4113" y="93"/>
                  </a:cubicBezTo>
                  <a:cubicBezTo>
                    <a:pt x="4121" y="93"/>
                    <a:pt x="4130" y="93"/>
                    <a:pt x="4138" y="93"/>
                  </a:cubicBezTo>
                  <a:cubicBezTo>
                    <a:pt x="4140" y="126"/>
                    <a:pt x="4142" y="159"/>
                    <a:pt x="4143" y="190"/>
                  </a:cubicBezTo>
                  <a:cubicBezTo>
                    <a:pt x="4133" y="190"/>
                    <a:pt x="4123" y="191"/>
                    <a:pt x="4113" y="191"/>
                  </a:cubicBezTo>
                  <a:cubicBezTo>
                    <a:pt x="4113" y="203"/>
                    <a:pt x="4113" y="203"/>
                    <a:pt x="4113" y="203"/>
                  </a:cubicBezTo>
                  <a:cubicBezTo>
                    <a:pt x="4123" y="203"/>
                    <a:pt x="4133" y="202"/>
                    <a:pt x="4143" y="202"/>
                  </a:cubicBezTo>
                  <a:cubicBezTo>
                    <a:pt x="4144" y="223"/>
                    <a:pt x="4144" y="244"/>
                    <a:pt x="4144" y="264"/>
                  </a:cubicBezTo>
                  <a:cubicBezTo>
                    <a:pt x="4144" y="277"/>
                    <a:pt x="4144" y="289"/>
                    <a:pt x="4144" y="302"/>
                  </a:cubicBezTo>
                  <a:cubicBezTo>
                    <a:pt x="4134" y="302"/>
                    <a:pt x="4124" y="303"/>
                    <a:pt x="4113" y="304"/>
                  </a:cubicBezTo>
                  <a:cubicBezTo>
                    <a:pt x="4113" y="316"/>
                    <a:pt x="4113" y="316"/>
                    <a:pt x="4113" y="316"/>
                  </a:cubicBezTo>
                  <a:cubicBezTo>
                    <a:pt x="4123" y="315"/>
                    <a:pt x="4134" y="314"/>
                    <a:pt x="4144" y="314"/>
                  </a:cubicBezTo>
                  <a:cubicBezTo>
                    <a:pt x="4143" y="346"/>
                    <a:pt x="4141" y="374"/>
                    <a:pt x="4139" y="397"/>
                  </a:cubicBezTo>
                  <a:cubicBezTo>
                    <a:pt x="4131" y="398"/>
                    <a:pt x="4122" y="399"/>
                    <a:pt x="4113" y="400"/>
                  </a:cubicBezTo>
                  <a:cubicBezTo>
                    <a:pt x="4113" y="413"/>
                    <a:pt x="4113" y="413"/>
                    <a:pt x="4113" y="413"/>
                  </a:cubicBezTo>
                  <a:cubicBezTo>
                    <a:pt x="4113" y="413"/>
                    <a:pt x="4113" y="413"/>
                    <a:pt x="4113" y="413"/>
                  </a:cubicBezTo>
                  <a:cubicBezTo>
                    <a:pt x="4113" y="413"/>
                    <a:pt x="4113" y="413"/>
                    <a:pt x="4113" y="413"/>
                  </a:cubicBezTo>
                  <a:cubicBezTo>
                    <a:pt x="4113" y="457"/>
                    <a:pt x="4113" y="457"/>
                    <a:pt x="4113" y="457"/>
                  </a:cubicBezTo>
                  <a:cubicBezTo>
                    <a:pt x="4153" y="455"/>
                    <a:pt x="4194" y="451"/>
                    <a:pt x="4234" y="446"/>
                  </a:cubicBezTo>
                  <a:cubicBezTo>
                    <a:pt x="4233" y="450"/>
                    <a:pt x="4231" y="455"/>
                    <a:pt x="4230" y="460"/>
                  </a:cubicBezTo>
                  <a:cubicBezTo>
                    <a:pt x="4226" y="473"/>
                    <a:pt x="4221" y="488"/>
                    <a:pt x="4216" y="503"/>
                  </a:cubicBezTo>
                  <a:cubicBezTo>
                    <a:pt x="4182" y="508"/>
                    <a:pt x="4148" y="511"/>
                    <a:pt x="4113" y="514"/>
                  </a:cubicBezTo>
                  <a:cubicBezTo>
                    <a:pt x="4113" y="526"/>
                    <a:pt x="4113" y="526"/>
                    <a:pt x="4113" y="526"/>
                  </a:cubicBezTo>
                  <a:cubicBezTo>
                    <a:pt x="4146" y="524"/>
                    <a:pt x="4179" y="520"/>
                    <a:pt x="4212" y="516"/>
                  </a:cubicBezTo>
                  <a:cubicBezTo>
                    <a:pt x="4206" y="535"/>
                    <a:pt x="4199" y="555"/>
                    <a:pt x="4192" y="573"/>
                  </a:cubicBezTo>
                  <a:cubicBezTo>
                    <a:pt x="4166" y="577"/>
                    <a:pt x="4139" y="580"/>
                    <a:pt x="4113" y="583"/>
                  </a:cubicBezTo>
                  <a:cubicBezTo>
                    <a:pt x="4113" y="595"/>
                    <a:pt x="4113" y="595"/>
                    <a:pt x="4113" y="595"/>
                  </a:cubicBezTo>
                  <a:cubicBezTo>
                    <a:pt x="4138" y="592"/>
                    <a:pt x="4162" y="589"/>
                    <a:pt x="4187" y="586"/>
                  </a:cubicBezTo>
                  <a:cubicBezTo>
                    <a:pt x="4180" y="602"/>
                    <a:pt x="4173" y="616"/>
                    <a:pt x="4167" y="627"/>
                  </a:cubicBezTo>
                  <a:cubicBezTo>
                    <a:pt x="4164" y="631"/>
                    <a:pt x="4160" y="638"/>
                    <a:pt x="4157" y="646"/>
                  </a:cubicBezTo>
                  <a:cubicBezTo>
                    <a:pt x="4142" y="648"/>
                    <a:pt x="4128" y="650"/>
                    <a:pt x="4113" y="652"/>
                  </a:cubicBezTo>
                  <a:cubicBezTo>
                    <a:pt x="4113" y="664"/>
                    <a:pt x="4113" y="664"/>
                    <a:pt x="4113" y="664"/>
                  </a:cubicBezTo>
                  <a:cubicBezTo>
                    <a:pt x="4126" y="662"/>
                    <a:pt x="4138" y="661"/>
                    <a:pt x="4151" y="659"/>
                  </a:cubicBezTo>
                  <a:cubicBezTo>
                    <a:pt x="4144" y="676"/>
                    <a:pt x="4136" y="698"/>
                    <a:pt x="4128" y="721"/>
                  </a:cubicBezTo>
                  <a:cubicBezTo>
                    <a:pt x="4123" y="722"/>
                    <a:pt x="4118" y="723"/>
                    <a:pt x="4113" y="724"/>
                  </a:cubicBezTo>
                  <a:cubicBezTo>
                    <a:pt x="4113" y="736"/>
                    <a:pt x="4113" y="736"/>
                    <a:pt x="4113" y="736"/>
                  </a:cubicBezTo>
                  <a:cubicBezTo>
                    <a:pt x="4117" y="735"/>
                    <a:pt x="4120" y="735"/>
                    <a:pt x="4124" y="734"/>
                  </a:cubicBezTo>
                  <a:cubicBezTo>
                    <a:pt x="4120" y="745"/>
                    <a:pt x="4117" y="756"/>
                    <a:pt x="4113" y="766"/>
                  </a:cubicBezTo>
                  <a:cubicBezTo>
                    <a:pt x="4113" y="809"/>
                    <a:pt x="4113" y="809"/>
                    <a:pt x="4113" y="809"/>
                  </a:cubicBezTo>
                  <a:cubicBezTo>
                    <a:pt x="4114" y="805"/>
                    <a:pt x="4115" y="801"/>
                    <a:pt x="4116" y="797"/>
                  </a:cubicBezTo>
                  <a:cubicBezTo>
                    <a:pt x="4151" y="791"/>
                    <a:pt x="4186" y="784"/>
                    <a:pt x="4220" y="775"/>
                  </a:cubicBezTo>
                  <a:cubicBezTo>
                    <a:pt x="4213" y="798"/>
                    <a:pt x="4207" y="819"/>
                    <a:pt x="4203" y="837"/>
                  </a:cubicBezTo>
                  <a:cubicBezTo>
                    <a:pt x="4173" y="845"/>
                    <a:pt x="4143" y="851"/>
                    <a:pt x="4113" y="857"/>
                  </a:cubicBezTo>
                  <a:cubicBezTo>
                    <a:pt x="4113" y="869"/>
                    <a:pt x="4113" y="869"/>
                    <a:pt x="4113" y="869"/>
                  </a:cubicBezTo>
                  <a:cubicBezTo>
                    <a:pt x="4142" y="864"/>
                    <a:pt x="4171" y="857"/>
                    <a:pt x="4200" y="850"/>
                  </a:cubicBezTo>
                  <a:cubicBezTo>
                    <a:pt x="4198" y="859"/>
                    <a:pt x="4196" y="867"/>
                    <a:pt x="4196" y="871"/>
                  </a:cubicBezTo>
                  <a:cubicBezTo>
                    <a:pt x="4193" y="880"/>
                    <a:pt x="4190" y="890"/>
                    <a:pt x="4186" y="901"/>
                  </a:cubicBezTo>
                  <a:cubicBezTo>
                    <a:pt x="4162" y="908"/>
                    <a:pt x="4138" y="914"/>
                    <a:pt x="4113" y="919"/>
                  </a:cubicBezTo>
                  <a:cubicBezTo>
                    <a:pt x="4113" y="932"/>
                    <a:pt x="4113" y="932"/>
                    <a:pt x="4113" y="932"/>
                  </a:cubicBezTo>
                  <a:cubicBezTo>
                    <a:pt x="4136" y="927"/>
                    <a:pt x="4158" y="921"/>
                    <a:pt x="4181" y="915"/>
                  </a:cubicBezTo>
                  <a:cubicBezTo>
                    <a:pt x="4174" y="932"/>
                    <a:pt x="4167" y="952"/>
                    <a:pt x="4158" y="972"/>
                  </a:cubicBezTo>
                  <a:cubicBezTo>
                    <a:pt x="4143" y="977"/>
                    <a:pt x="4128" y="981"/>
                    <a:pt x="4113" y="985"/>
                  </a:cubicBezTo>
                  <a:cubicBezTo>
                    <a:pt x="4113" y="997"/>
                    <a:pt x="4113" y="997"/>
                    <a:pt x="4113" y="997"/>
                  </a:cubicBezTo>
                  <a:cubicBezTo>
                    <a:pt x="4126" y="994"/>
                    <a:pt x="4139" y="990"/>
                    <a:pt x="4152" y="986"/>
                  </a:cubicBezTo>
                  <a:cubicBezTo>
                    <a:pt x="4143" y="1006"/>
                    <a:pt x="4133" y="1026"/>
                    <a:pt x="4122" y="1047"/>
                  </a:cubicBezTo>
                  <a:cubicBezTo>
                    <a:pt x="4119" y="1048"/>
                    <a:pt x="4116" y="1049"/>
                    <a:pt x="4113" y="1050"/>
                  </a:cubicBezTo>
                  <a:cubicBezTo>
                    <a:pt x="4113" y="1062"/>
                    <a:pt x="4113" y="1062"/>
                    <a:pt x="4113" y="1062"/>
                  </a:cubicBezTo>
                  <a:cubicBezTo>
                    <a:pt x="4114" y="1062"/>
                    <a:pt x="4114" y="1062"/>
                    <a:pt x="4115" y="1062"/>
                  </a:cubicBezTo>
                  <a:cubicBezTo>
                    <a:pt x="4114" y="1063"/>
                    <a:pt x="4114" y="1063"/>
                    <a:pt x="4113" y="1064"/>
                  </a:cubicBezTo>
                  <a:cubicBezTo>
                    <a:pt x="4113" y="1088"/>
                    <a:pt x="4113" y="1088"/>
                    <a:pt x="4113" y="1088"/>
                  </a:cubicBezTo>
                  <a:cubicBezTo>
                    <a:pt x="4119" y="1078"/>
                    <a:pt x="4125" y="1068"/>
                    <a:pt x="4130" y="1058"/>
                  </a:cubicBezTo>
                  <a:cubicBezTo>
                    <a:pt x="4164" y="1047"/>
                    <a:pt x="4198" y="1035"/>
                    <a:pt x="4231" y="1022"/>
                  </a:cubicBezTo>
                  <a:cubicBezTo>
                    <a:pt x="4220" y="1042"/>
                    <a:pt x="4209" y="1062"/>
                    <a:pt x="4197" y="1081"/>
                  </a:cubicBezTo>
                  <a:cubicBezTo>
                    <a:pt x="4169" y="1093"/>
                    <a:pt x="4141" y="1103"/>
                    <a:pt x="4113" y="1113"/>
                  </a:cubicBezTo>
                  <a:cubicBezTo>
                    <a:pt x="4113" y="1125"/>
                    <a:pt x="4113" y="1125"/>
                    <a:pt x="4113" y="1125"/>
                  </a:cubicBezTo>
                  <a:cubicBezTo>
                    <a:pt x="4138" y="1117"/>
                    <a:pt x="4162" y="1108"/>
                    <a:pt x="4186" y="1098"/>
                  </a:cubicBezTo>
                  <a:cubicBezTo>
                    <a:pt x="4172" y="1120"/>
                    <a:pt x="4158" y="1141"/>
                    <a:pt x="4143" y="1160"/>
                  </a:cubicBezTo>
                  <a:cubicBezTo>
                    <a:pt x="4133" y="1164"/>
                    <a:pt x="4123" y="1168"/>
                    <a:pt x="4113" y="1172"/>
                  </a:cubicBezTo>
                  <a:cubicBezTo>
                    <a:pt x="4113" y="1184"/>
                    <a:pt x="4113" y="1184"/>
                    <a:pt x="4113" y="1184"/>
                  </a:cubicBezTo>
                  <a:cubicBezTo>
                    <a:pt x="4118" y="1182"/>
                    <a:pt x="4123" y="1180"/>
                    <a:pt x="4128" y="1178"/>
                  </a:cubicBezTo>
                  <a:cubicBezTo>
                    <a:pt x="4123" y="1185"/>
                    <a:pt x="4118" y="1191"/>
                    <a:pt x="4113" y="1197"/>
                  </a:cubicBezTo>
                  <a:cubicBezTo>
                    <a:pt x="4113" y="1215"/>
                    <a:pt x="4113" y="1215"/>
                    <a:pt x="4113" y="1215"/>
                  </a:cubicBezTo>
                  <a:cubicBezTo>
                    <a:pt x="4126" y="1200"/>
                    <a:pt x="4138" y="1185"/>
                    <a:pt x="4150" y="1169"/>
                  </a:cubicBezTo>
                  <a:cubicBezTo>
                    <a:pt x="4180" y="1157"/>
                    <a:pt x="4208" y="1143"/>
                    <a:pt x="4236" y="1128"/>
                  </a:cubicBezTo>
                  <a:cubicBezTo>
                    <a:pt x="4224" y="1149"/>
                    <a:pt x="4212" y="1169"/>
                    <a:pt x="4198" y="1189"/>
                  </a:cubicBezTo>
                  <a:cubicBezTo>
                    <a:pt x="4169" y="1205"/>
                    <a:pt x="4141" y="1220"/>
                    <a:pt x="4113" y="1233"/>
                  </a:cubicBezTo>
                  <a:cubicBezTo>
                    <a:pt x="4113" y="1246"/>
                    <a:pt x="4113" y="1246"/>
                    <a:pt x="4113" y="1246"/>
                  </a:cubicBezTo>
                  <a:cubicBezTo>
                    <a:pt x="4136" y="1236"/>
                    <a:pt x="4158" y="1225"/>
                    <a:pt x="4180" y="1212"/>
                  </a:cubicBezTo>
                  <a:cubicBezTo>
                    <a:pt x="4162" y="1237"/>
                    <a:pt x="4141" y="1260"/>
                    <a:pt x="4118" y="1281"/>
                  </a:cubicBezTo>
                  <a:cubicBezTo>
                    <a:pt x="4116" y="1282"/>
                    <a:pt x="4115" y="1283"/>
                    <a:pt x="4113" y="1284"/>
                  </a:cubicBezTo>
                  <a:cubicBezTo>
                    <a:pt x="4113" y="1302"/>
                    <a:pt x="4113" y="1302"/>
                    <a:pt x="4113" y="1302"/>
                  </a:cubicBezTo>
                  <a:cubicBezTo>
                    <a:pt x="4118" y="1298"/>
                    <a:pt x="4122" y="1294"/>
                    <a:pt x="4126" y="1291"/>
                  </a:cubicBezTo>
                  <a:cubicBezTo>
                    <a:pt x="4129" y="1288"/>
                    <a:pt x="4133" y="1286"/>
                    <a:pt x="4137" y="1284"/>
                  </a:cubicBezTo>
                  <a:cubicBezTo>
                    <a:pt x="4135" y="1281"/>
                    <a:pt x="4135" y="1281"/>
                    <a:pt x="4135" y="1281"/>
                  </a:cubicBezTo>
                  <a:cubicBezTo>
                    <a:pt x="4161" y="1255"/>
                    <a:pt x="4185" y="1227"/>
                    <a:pt x="4206" y="1198"/>
                  </a:cubicBezTo>
                  <a:cubicBezTo>
                    <a:pt x="4206" y="1198"/>
                    <a:pt x="4206" y="1198"/>
                    <a:pt x="4207" y="1197"/>
                  </a:cubicBezTo>
                  <a:cubicBezTo>
                    <a:pt x="4207" y="1197"/>
                    <a:pt x="4207" y="1197"/>
                    <a:pt x="4207" y="1197"/>
                  </a:cubicBezTo>
                  <a:cubicBezTo>
                    <a:pt x="4224" y="1172"/>
                    <a:pt x="4240" y="1145"/>
                    <a:pt x="4255" y="1118"/>
                  </a:cubicBezTo>
                  <a:cubicBezTo>
                    <a:pt x="4255" y="1118"/>
                    <a:pt x="4255" y="1118"/>
                    <a:pt x="4255" y="1118"/>
                  </a:cubicBezTo>
                  <a:cubicBezTo>
                    <a:pt x="4255" y="1118"/>
                    <a:pt x="4255" y="1118"/>
                    <a:pt x="4255" y="1118"/>
                  </a:cubicBezTo>
                  <a:cubicBezTo>
                    <a:pt x="4302" y="1032"/>
                    <a:pt x="4336" y="938"/>
                    <a:pt x="4368" y="848"/>
                  </a:cubicBezTo>
                  <a:cubicBezTo>
                    <a:pt x="4369" y="846"/>
                    <a:pt x="4369" y="844"/>
                    <a:pt x="4370" y="843"/>
                  </a:cubicBezTo>
                  <a:cubicBezTo>
                    <a:pt x="4371" y="842"/>
                    <a:pt x="4371" y="842"/>
                    <a:pt x="4372" y="842"/>
                  </a:cubicBezTo>
                  <a:cubicBezTo>
                    <a:pt x="4371" y="840"/>
                    <a:pt x="4371" y="840"/>
                    <a:pt x="4371" y="840"/>
                  </a:cubicBezTo>
                  <a:cubicBezTo>
                    <a:pt x="4379" y="819"/>
                    <a:pt x="4386" y="798"/>
                    <a:pt x="4393" y="778"/>
                  </a:cubicBezTo>
                  <a:cubicBezTo>
                    <a:pt x="4394" y="778"/>
                    <a:pt x="4395" y="778"/>
                    <a:pt x="4395" y="778"/>
                  </a:cubicBezTo>
                  <a:cubicBezTo>
                    <a:pt x="4394" y="776"/>
                    <a:pt x="4394" y="776"/>
                    <a:pt x="4394" y="776"/>
                  </a:cubicBezTo>
                  <a:cubicBezTo>
                    <a:pt x="4413" y="727"/>
                    <a:pt x="4432" y="681"/>
                    <a:pt x="4453" y="639"/>
                  </a:cubicBezTo>
                  <a:cubicBezTo>
                    <a:pt x="4454" y="639"/>
                    <a:pt x="4454" y="639"/>
                    <a:pt x="4454" y="639"/>
                  </a:cubicBezTo>
                  <a:cubicBezTo>
                    <a:pt x="4453" y="639"/>
                    <a:pt x="4453" y="639"/>
                    <a:pt x="4453" y="639"/>
                  </a:cubicBezTo>
                  <a:cubicBezTo>
                    <a:pt x="4465" y="617"/>
                    <a:pt x="4478" y="596"/>
                    <a:pt x="4492" y="577"/>
                  </a:cubicBezTo>
                  <a:cubicBezTo>
                    <a:pt x="4538" y="513"/>
                    <a:pt x="4562" y="453"/>
                    <a:pt x="4581" y="405"/>
                  </a:cubicBezTo>
                  <a:cubicBezTo>
                    <a:pt x="4600" y="358"/>
                    <a:pt x="4615" y="321"/>
                    <a:pt x="4642" y="302"/>
                  </a:cubicBezTo>
                  <a:cubicBezTo>
                    <a:pt x="4642" y="302"/>
                    <a:pt x="4642" y="302"/>
                    <a:pt x="4642" y="302"/>
                  </a:cubicBezTo>
                  <a:cubicBezTo>
                    <a:pt x="4642" y="302"/>
                    <a:pt x="4642" y="302"/>
                    <a:pt x="4642" y="302"/>
                  </a:cubicBezTo>
                  <a:cubicBezTo>
                    <a:pt x="4642" y="302"/>
                    <a:pt x="4642" y="302"/>
                    <a:pt x="4642" y="302"/>
                  </a:cubicBezTo>
                  <a:cubicBezTo>
                    <a:pt x="4674" y="280"/>
                    <a:pt x="4674" y="280"/>
                    <a:pt x="4674" y="280"/>
                  </a:cubicBezTo>
                  <a:cubicBezTo>
                    <a:pt x="4668" y="282"/>
                    <a:pt x="4668" y="282"/>
                    <a:pt x="4668" y="282"/>
                  </a:cubicBezTo>
                  <a:cubicBezTo>
                    <a:pt x="4677" y="274"/>
                    <a:pt x="4686" y="266"/>
                    <a:pt x="4695" y="257"/>
                  </a:cubicBezTo>
                  <a:cubicBezTo>
                    <a:pt x="4697" y="256"/>
                    <a:pt x="4700" y="255"/>
                    <a:pt x="4703" y="253"/>
                  </a:cubicBezTo>
                  <a:cubicBezTo>
                    <a:pt x="4767" y="218"/>
                    <a:pt x="4829" y="185"/>
                    <a:pt x="4942" y="156"/>
                  </a:cubicBezTo>
                  <a:cubicBezTo>
                    <a:pt x="4955" y="153"/>
                    <a:pt x="4970" y="147"/>
                    <a:pt x="4987" y="141"/>
                  </a:cubicBezTo>
                  <a:cubicBezTo>
                    <a:pt x="4988" y="142"/>
                    <a:pt x="4989" y="143"/>
                    <a:pt x="4990" y="144"/>
                  </a:cubicBezTo>
                  <a:cubicBezTo>
                    <a:pt x="4996" y="137"/>
                    <a:pt x="4996" y="137"/>
                    <a:pt x="4996" y="137"/>
                  </a:cubicBezTo>
                  <a:cubicBezTo>
                    <a:pt x="5024" y="125"/>
                    <a:pt x="5054" y="110"/>
                    <a:pt x="5086" y="93"/>
                  </a:cubicBezTo>
                  <a:cubicBezTo>
                    <a:pt x="5089" y="94"/>
                    <a:pt x="5092" y="96"/>
                    <a:pt x="5094" y="97"/>
                  </a:cubicBezTo>
                  <a:cubicBezTo>
                    <a:pt x="5098" y="86"/>
                    <a:pt x="5098" y="86"/>
                    <a:pt x="5098" y="86"/>
                  </a:cubicBezTo>
                  <a:cubicBezTo>
                    <a:pt x="5106" y="82"/>
                    <a:pt x="5114" y="78"/>
                    <a:pt x="5122" y="73"/>
                  </a:cubicBezTo>
                  <a:cubicBezTo>
                    <a:pt x="5125" y="73"/>
                    <a:pt x="5128" y="72"/>
                    <a:pt x="5132" y="72"/>
                  </a:cubicBezTo>
                  <a:cubicBezTo>
                    <a:pt x="5131" y="68"/>
                    <a:pt x="5131" y="68"/>
                    <a:pt x="5131" y="68"/>
                  </a:cubicBezTo>
                  <a:cubicBezTo>
                    <a:pt x="5142" y="62"/>
                    <a:pt x="5154" y="55"/>
                    <a:pt x="5165" y="49"/>
                  </a:cubicBezTo>
                  <a:cubicBezTo>
                    <a:pt x="5166" y="49"/>
                    <a:pt x="5167" y="49"/>
                    <a:pt x="5168" y="49"/>
                  </a:cubicBezTo>
                  <a:cubicBezTo>
                    <a:pt x="5168" y="47"/>
                    <a:pt x="5168" y="47"/>
                    <a:pt x="5168" y="47"/>
                  </a:cubicBezTo>
                  <a:cubicBezTo>
                    <a:pt x="5184" y="37"/>
                    <a:pt x="5200" y="28"/>
                    <a:pt x="5216" y="18"/>
                  </a:cubicBezTo>
                  <a:cubicBezTo>
                    <a:pt x="5217" y="18"/>
                    <a:pt x="5217" y="18"/>
                    <a:pt x="5218" y="18"/>
                  </a:cubicBezTo>
                  <a:cubicBezTo>
                    <a:pt x="5218" y="17"/>
                    <a:pt x="5218" y="17"/>
                    <a:pt x="5218" y="17"/>
                  </a:cubicBezTo>
                  <a:cubicBezTo>
                    <a:pt x="5227" y="11"/>
                    <a:pt x="5235" y="5"/>
                    <a:pt x="524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75" name="Freeform 681"/>
            <p:cNvSpPr>
              <a:spLocks noEditPoints="1"/>
            </p:cNvSpPr>
            <p:nvPr/>
          </p:nvSpPr>
          <p:spPr bwMode="auto">
            <a:xfrm>
              <a:off x="2943" y="1189"/>
              <a:ext cx="1293" cy="901"/>
            </a:xfrm>
            <a:custGeom>
              <a:avLst/>
              <a:gdLst>
                <a:gd name="T0" fmla="*/ 359 w 2097"/>
                <a:gd name="T1" fmla="*/ 1440 h 1460"/>
                <a:gd name="T2" fmla="*/ 387 w 2097"/>
                <a:gd name="T3" fmla="*/ 1388 h 1460"/>
                <a:gd name="T4" fmla="*/ 486 w 2097"/>
                <a:gd name="T5" fmla="*/ 1299 h 1460"/>
                <a:gd name="T6" fmla="*/ 121 w 2097"/>
                <a:gd name="T7" fmla="*/ 1304 h 1460"/>
                <a:gd name="T8" fmla="*/ 323 w 2097"/>
                <a:gd name="T9" fmla="*/ 1215 h 1460"/>
                <a:gd name="T10" fmla="*/ 554 w 2097"/>
                <a:gd name="T11" fmla="*/ 1196 h 1460"/>
                <a:gd name="T12" fmla="*/ 383 w 2097"/>
                <a:gd name="T13" fmla="*/ 1180 h 1460"/>
                <a:gd name="T14" fmla="*/ 638 w 2097"/>
                <a:gd name="T15" fmla="*/ 1148 h 1460"/>
                <a:gd name="T16" fmla="*/ 535 w 2097"/>
                <a:gd name="T17" fmla="*/ 1109 h 1460"/>
                <a:gd name="T18" fmla="*/ 597 w 2097"/>
                <a:gd name="T19" fmla="*/ 1090 h 1460"/>
                <a:gd name="T20" fmla="*/ 374 w 2097"/>
                <a:gd name="T21" fmla="*/ 1146 h 1460"/>
                <a:gd name="T22" fmla="*/ 320 w 2097"/>
                <a:gd name="T23" fmla="*/ 1134 h 1460"/>
                <a:gd name="T24" fmla="*/ 150 w 2097"/>
                <a:gd name="T25" fmla="*/ 1135 h 1460"/>
                <a:gd name="T26" fmla="*/ 214 w 2097"/>
                <a:gd name="T27" fmla="*/ 1080 h 1460"/>
                <a:gd name="T28" fmla="*/ 587 w 2097"/>
                <a:gd name="T29" fmla="*/ 1017 h 1460"/>
                <a:gd name="T30" fmla="*/ 422 w 2097"/>
                <a:gd name="T31" fmla="*/ 976 h 1460"/>
                <a:gd name="T32" fmla="*/ 156 w 2097"/>
                <a:gd name="T33" fmla="*/ 965 h 1460"/>
                <a:gd name="T34" fmla="*/ 58 w 2097"/>
                <a:gd name="T35" fmla="*/ 1277 h 1460"/>
                <a:gd name="T36" fmla="*/ 199 w 2097"/>
                <a:gd name="T37" fmla="*/ 1405 h 1460"/>
                <a:gd name="T38" fmla="*/ 365 w 2097"/>
                <a:gd name="T39" fmla="*/ 1453 h 1460"/>
                <a:gd name="T40" fmla="*/ 655 w 2097"/>
                <a:gd name="T41" fmla="*/ 1353 h 1460"/>
                <a:gd name="T42" fmla="*/ 585 w 2097"/>
                <a:gd name="T43" fmla="*/ 1233 h 1460"/>
                <a:gd name="T44" fmla="*/ 698 w 2097"/>
                <a:gd name="T45" fmla="*/ 1018 h 1460"/>
                <a:gd name="T46" fmla="*/ 1811 w 2097"/>
                <a:gd name="T47" fmla="*/ 1374 h 1460"/>
                <a:gd name="T48" fmla="*/ 2006 w 2097"/>
                <a:gd name="T49" fmla="*/ 1367 h 1460"/>
                <a:gd name="T50" fmla="*/ 1966 w 2097"/>
                <a:gd name="T51" fmla="*/ 1364 h 1460"/>
                <a:gd name="T52" fmla="*/ 2020 w 2097"/>
                <a:gd name="T53" fmla="*/ 1349 h 1460"/>
                <a:gd name="T54" fmla="*/ 1781 w 2097"/>
                <a:gd name="T55" fmla="*/ 1264 h 1460"/>
                <a:gd name="T56" fmla="*/ 1587 w 2097"/>
                <a:gd name="T57" fmla="*/ 1257 h 1460"/>
                <a:gd name="T58" fmla="*/ 1855 w 2097"/>
                <a:gd name="T59" fmla="*/ 1215 h 1460"/>
                <a:gd name="T60" fmla="*/ 1614 w 2097"/>
                <a:gd name="T61" fmla="*/ 1154 h 1460"/>
                <a:gd name="T62" fmla="*/ 1939 w 2097"/>
                <a:gd name="T63" fmla="*/ 1187 h 1460"/>
                <a:gd name="T64" fmla="*/ 1535 w 2097"/>
                <a:gd name="T65" fmla="*/ 1108 h 1460"/>
                <a:gd name="T66" fmla="*/ 1643 w 2097"/>
                <a:gd name="T67" fmla="*/ 1060 h 1460"/>
                <a:gd name="T68" fmla="*/ 1639 w 2097"/>
                <a:gd name="T69" fmla="*/ 1048 h 1460"/>
                <a:gd name="T70" fmla="*/ 1548 w 2097"/>
                <a:gd name="T71" fmla="*/ 1045 h 1460"/>
                <a:gd name="T72" fmla="*/ 1573 w 2097"/>
                <a:gd name="T73" fmla="*/ 973 h 1460"/>
                <a:gd name="T74" fmla="*/ 1776 w 2097"/>
                <a:gd name="T75" fmla="*/ 1019 h 1460"/>
                <a:gd name="T76" fmla="*/ 1417 w 2097"/>
                <a:gd name="T77" fmla="*/ 1008 h 1460"/>
                <a:gd name="T78" fmla="*/ 1668 w 2097"/>
                <a:gd name="T79" fmla="*/ 1460 h 1460"/>
                <a:gd name="T80" fmla="*/ 1909 w 2097"/>
                <a:gd name="T81" fmla="*/ 1369 h 1460"/>
                <a:gd name="T82" fmla="*/ 2097 w 2097"/>
                <a:gd name="T83" fmla="*/ 1328 h 1460"/>
                <a:gd name="T84" fmla="*/ 839 w 2097"/>
                <a:gd name="T85" fmla="*/ 879 h 1460"/>
                <a:gd name="T86" fmla="*/ 759 w 2097"/>
                <a:gd name="T87" fmla="*/ 860 h 1460"/>
                <a:gd name="T88" fmla="*/ 783 w 2097"/>
                <a:gd name="T89" fmla="*/ 780 h 1460"/>
                <a:gd name="T90" fmla="*/ 799 w 2097"/>
                <a:gd name="T91" fmla="*/ 773 h 1460"/>
                <a:gd name="T92" fmla="*/ 1305 w 2097"/>
                <a:gd name="T93" fmla="*/ 720 h 1460"/>
                <a:gd name="T94" fmla="*/ 1374 w 2097"/>
                <a:gd name="T95" fmla="*/ 726 h 1460"/>
                <a:gd name="T96" fmla="*/ 1149 w 2097"/>
                <a:gd name="T97" fmla="*/ 620 h 1460"/>
                <a:gd name="T98" fmla="*/ 765 w 2097"/>
                <a:gd name="T99" fmla="*/ 614 h 1460"/>
                <a:gd name="T100" fmla="*/ 1002 w 2097"/>
                <a:gd name="T101" fmla="*/ 580 h 1460"/>
                <a:gd name="T102" fmla="*/ 1143 w 2097"/>
                <a:gd name="T103" fmla="*/ 502 h 1460"/>
                <a:gd name="T104" fmla="*/ 1007 w 2097"/>
                <a:gd name="T105" fmla="*/ 569 h 1460"/>
                <a:gd name="T106" fmla="*/ 698 w 2097"/>
                <a:gd name="T107" fmla="*/ 849 h 1460"/>
                <a:gd name="T108" fmla="*/ 974 w 2097"/>
                <a:gd name="T109" fmla="*/ 952 h 1460"/>
                <a:gd name="T110" fmla="*/ 1279 w 2097"/>
                <a:gd name="T111" fmla="*/ 843 h 1460"/>
                <a:gd name="T112" fmla="*/ 1398 w 2097"/>
                <a:gd name="T113" fmla="*/ 768 h 1460"/>
                <a:gd name="T114" fmla="*/ 436 w 2097"/>
                <a:gd name="T115" fmla="*/ 427 h 1460"/>
                <a:gd name="T116" fmla="*/ 446 w 2097"/>
                <a:gd name="T117" fmla="*/ 365 h 1460"/>
                <a:gd name="T118" fmla="*/ 610 w 2097"/>
                <a:gd name="T119" fmla="*/ 169 h 1460"/>
                <a:gd name="T120" fmla="*/ 618 w 2097"/>
                <a:gd name="T121" fmla="*/ 42 h 1460"/>
                <a:gd name="T122" fmla="*/ 449 w 2097"/>
                <a:gd name="T123" fmla="*/ 469 h 1460"/>
                <a:gd name="T124" fmla="*/ 698 w 2097"/>
                <a:gd name="T125" fmla="*/ 213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7" h="1460">
                  <a:moveTo>
                    <a:pt x="580" y="1459"/>
                  </a:moveTo>
                  <a:cubicBezTo>
                    <a:pt x="579" y="1458"/>
                    <a:pt x="579" y="1458"/>
                    <a:pt x="579" y="1458"/>
                  </a:cubicBezTo>
                  <a:cubicBezTo>
                    <a:pt x="593" y="1435"/>
                    <a:pt x="604" y="1411"/>
                    <a:pt x="613" y="1389"/>
                  </a:cubicBezTo>
                  <a:cubicBezTo>
                    <a:pt x="615" y="1394"/>
                    <a:pt x="617" y="1400"/>
                    <a:pt x="620" y="1407"/>
                  </a:cubicBezTo>
                  <a:cubicBezTo>
                    <a:pt x="609" y="1423"/>
                    <a:pt x="595" y="1440"/>
                    <a:pt x="580" y="1459"/>
                  </a:cubicBezTo>
                  <a:moveTo>
                    <a:pt x="509" y="1445"/>
                  </a:moveTo>
                  <a:cubicBezTo>
                    <a:pt x="501" y="1436"/>
                    <a:pt x="491" y="1424"/>
                    <a:pt x="482" y="1411"/>
                  </a:cubicBezTo>
                  <a:cubicBezTo>
                    <a:pt x="494" y="1402"/>
                    <a:pt x="506" y="1392"/>
                    <a:pt x="517" y="1384"/>
                  </a:cubicBezTo>
                  <a:cubicBezTo>
                    <a:pt x="524" y="1393"/>
                    <a:pt x="532" y="1401"/>
                    <a:pt x="540" y="1408"/>
                  </a:cubicBezTo>
                  <a:cubicBezTo>
                    <a:pt x="530" y="1420"/>
                    <a:pt x="520" y="1432"/>
                    <a:pt x="509" y="1445"/>
                  </a:cubicBezTo>
                  <a:moveTo>
                    <a:pt x="644" y="1438"/>
                  </a:moveTo>
                  <a:cubicBezTo>
                    <a:pt x="640" y="1428"/>
                    <a:pt x="636" y="1418"/>
                    <a:pt x="633" y="1409"/>
                  </a:cubicBezTo>
                  <a:cubicBezTo>
                    <a:pt x="640" y="1399"/>
                    <a:pt x="646" y="1390"/>
                    <a:pt x="650" y="1382"/>
                  </a:cubicBezTo>
                  <a:cubicBezTo>
                    <a:pt x="656" y="1395"/>
                    <a:pt x="656" y="1395"/>
                    <a:pt x="656" y="1395"/>
                  </a:cubicBezTo>
                  <a:cubicBezTo>
                    <a:pt x="655" y="1409"/>
                    <a:pt x="651" y="1424"/>
                    <a:pt x="644" y="1438"/>
                  </a:cubicBezTo>
                  <a:moveTo>
                    <a:pt x="419" y="1447"/>
                  </a:moveTo>
                  <a:cubicBezTo>
                    <a:pt x="410" y="1432"/>
                    <a:pt x="401" y="1416"/>
                    <a:pt x="392" y="1400"/>
                  </a:cubicBezTo>
                  <a:cubicBezTo>
                    <a:pt x="395" y="1395"/>
                    <a:pt x="398" y="1391"/>
                    <a:pt x="400" y="1389"/>
                  </a:cubicBezTo>
                  <a:cubicBezTo>
                    <a:pt x="414" y="1386"/>
                    <a:pt x="430" y="1382"/>
                    <a:pt x="445" y="1377"/>
                  </a:cubicBezTo>
                  <a:cubicBezTo>
                    <a:pt x="452" y="1388"/>
                    <a:pt x="459" y="1398"/>
                    <a:pt x="466" y="1408"/>
                  </a:cubicBezTo>
                  <a:cubicBezTo>
                    <a:pt x="451" y="1420"/>
                    <a:pt x="437" y="1431"/>
                    <a:pt x="423" y="1443"/>
                  </a:cubicBezTo>
                  <a:cubicBezTo>
                    <a:pt x="422" y="1444"/>
                    <a:pt x="420" y="1445"/>
                    <a:pt x="419" y="1447"/>
                  </a:cubicBezTo>
                  <a:moveTo>
                    <a:pt x="475" y="1401"/>
                  </a:moveTo>
                  <a:cubicBezTo>
                    <a:pt x="469" y="1392"/>
                    <a:pt x="463" y="1383"/>
                    <a:pt x="457" y="1373"/>
                  </a:cubicBezTo>
                  <a:cubicBezTo>
                    <a:pt x="471" y="1368"/>
                    <a:pt x="486" y="1363"/>
                    <a:pt x="500" y="1357"/>
                  </a:cubicBezTo>
                  <a:cubicBezTo>
                    <a:pt x="503" y="1363"/>
                    <a:pt x="507" y="1369"/>
                    <a:pt x="510" y="1374"/>
                  </a:cubicBezTo>
                  <a:cubicBezTo>
                    <a:pt x="499" y="1383"/>
                    <a:pt x="487" y="1392"/>
                    <a:pt x="475" y="1401"/>
                  </a:cubicBezTo>
                  <a:moveTo>
                    <a:pt x="548" y="1399"/>
                  </a:moveTo>
                  <a:cubicBezTo>
                    <a:pt x="540" y="1393"/>
                    <a:pt x="533" y="1386"/>
                    <a:pt x="526" y="1377"/>
                  </a:cubicBezTo>
                  <a:cubicBezTo>
                    <a:pt x="537" y="1369"/>
                    <a:pt x="548" y="1361"/>
                    <a:pt x="558" y="1354"/>
                  </a:cubicBezTo>
                  <a:cubicBezTo>
                    <a:pt x="561" y="1360"/>
                    <a:pt x="565" y="1366"/>
                    <a:pt x="570" y="1372"/>
                  </a:cubicBezTo>
                  <a:cubicBezTo>
                    <a:pt x="563" y="1381"/>
                    <a:pt x="556" y="1389"/>
                    <a:pt x="548" y="1399"/>
                  </a:cubicBezTo>
                  <a:moveTo>
                    <a:pt x="359" y="1440"/>
                  </a:moveTo>
                  <a:cubicBezTo>
                    <a:pt x="352" y="1428"/>
                    <a:pt x="346" y="1417"/>
                    <a:pt x="341" y="1405"/>
                  </a:cubicBezTo>
                  <a:cubicBezTo>
                    <a:pt x="347" y="1385"/>
                    <a:pt x="353" y="1366"/>
                    <a:pt x="358" y="1352"/>
                  </a:cubicBezTo>
                  <a:cubicBezTo>
                    <a:pt x="365" y="1368"/>
                    <a:pt x="372" y="1384"/>
                    <a:pt x="379" y="1399"/>
                  </a:cubicBezTo>
                  <a:cubicBezTo>
                    <a:pt x="373" y="1411"/>
                    <a:pt x="366" y="1425"/>
                    <a:pt x="359" y="1440"/>
                  </a:cubicBezTo>
                  <a:moveTo>
                    <a:pt x="290" y="1454"/>
                  </a:moveTo>
                  <a:cubicBezTo>
                    <a:pt x="289" y="1452"/>
                    <a:pt x="287" y="1451"/>
                    <a:pt x="287" y="1450"/>
                  </a:cubicBezTo>
                  <a:cubicBezTo>
                    <a:pt x="286" y="1443"/>
                    <a:pt x="286" y="1436"/>
                    <a:pt x="285" y="1429"/>
                  </a:cubicBezTo>
                  <a:cubicBezTo>
                    <a:pt x="295" y="1405"/>
                    <a:pt x="301" y="1384"/>
                    <a:pt x="301" y="1369"/>
                  </a:cubicBezTo>
                  <a:cubicBezTo>
                    <a:pt x="301" y="1366"/>
                    <a:pt x="301" y="1364"/>
                    <a:pt x="300" y="1362"/>
                  </a:cubicBezTo>
                  <a:cubicBezTo>
                    <a:pt x="300" y="1357"/>
                    <a:pt x="299" y="1353"/>
                    <a:pt x="299" y="1348"/>
                  </a:cubicBezTo>
                  <a:cubicBezTo>
                    <a:pt x="301" y="1353"/>
                    <a:pt x="304" y="1358"/>
                    <a:pt x="307" y="1364"/>
                  </a:cubicBezTo>
                  <a:cubicBezTo>
                    <a:pt x="304" y="1380"/>
                    <a:pt x="303" y="1396"/>
                    <a:pt x="302" y="1412"/>
                  </a:cubicBezTo>
                  <a:cubicBezTo>
                    <a:pt x="302" y="1423"/>
                    <a:pt x="297" y="1437"/>
                    <a:pt x="290" y="1454"/>
                  </a:cubicBezTo>
                  <a:moveTo>
                    <a:pt x="628" y="1396"/>
                  </a:moveTo>
                  <a:cubicBezTo>
                    <a:pt x="623" y="1384"/>
                    <a:pt x="620" y="1376"/>
                    <a:pt x="619" y="1373"/>
                  </a:cubicBezTo>
                  <a:cubicBezTo>
                    <a:pt x="623" y="1361"/>
                    <a:pt x="627" y="1349"/>
                    <a:pt x="630" y="1337"/>
                  </a:cubicBezTo>
                  <a:cubicBezTo>
                    <a:pt x="644" y="1369"/>
                    <a:pt x="644" y="1369"/>
                    <a:pt x="644" y="1369"/>
                  </a:cubicBezTo>
                  <a:cubicBezTo>
                    <a:pt x="641" y="1377"/>
                    <a:pt x="635" y="1386"/>
                    <a:pt x="628" y="1396"/>
                  </a:cubicBezTo>
                  <a:moveTo>
                    <a:pt x="520" y="1367"/>
                  </a:moveTo>
                  <a:cubicBezTo>
                    <a:pt x="517" y="1362"/>
                    <a:pt x="513" y="1357"/>
                    <a:pt x="511" y="1352"/>
                  </a:cubicBezTo>
                  <a:cubicBezTo>
                    <a:pt x="524" y="1347"/>
                    <a:pt x="536" y="1341"/>
                    <a:pt x="548" y="1336"/>
                  </a:cubicBezTo>
                  <a:cubicBezTo>
                    <a:pt x="549" y="1338"/>
                    <a:pt x="551" y="1341"/>
                    <a:pt x="552" y="1344"/>
                  </a:cubicBezTo>
                  <a:cubicBezTo>
                    <a:pt x="542" y="1351"/>
                    <a:pt x="531" y="1359"/>
                    <a:pt x="520" y="1367"/>
                  </a:cubicBezTo>
                  <a:moveTo>
                    <a:pt x="574" y="1445"/>
                  </a:moveTo>
                  <a:cubicBezTo>
                    <a:pt x="567" y="1426"/>
                    <a:pt x="561" y="1412"/>
                    <a:pt x="558" y="1405"/>
                  </a:cubicBezTo>
                  <a:cubicBezTo>
                    <a:pt x="585" y="1372"/>
                    <a:pt x="607" y="1344"/>
                    <a:pt x="621" y="1326"/>
                  </a:cubicBezTo>
                  <a:cubicBezTo>
                    <a:pt x="610" y="1370"/>
                    <a:pt x="594" y="1409"/>
                    <a:pt x="574" y="1445"/>
                  </a:cubicBezTo>
                  <a:moveTo>
                    <a:pt x="450" y="1363"/>
                  </a:moveTo>
                  <a:cubicBezTo>
                    <a:pt x="444" y="1352"/>
                    <a:pt x="437" y="1342"/>
                    <a:pt x="431" y="1332"/>
                  </a:cubicBezTo>
                  <a:cubicBezTo>
                    <a:pt x="449" y="1331"/>
                    <a:pt x="467" y="1329"/>
                    <a:pt x="485" y="1326"/>
                  </a:cubicBezTo>
                  <a:cubicBezTo>
                    <a:pt x="488" y="1332"/>
                    <a:pt x="491" y="1339"/>
                    <a:pt x="494" y="1346"/>
                  </a:cubicBezTo>
                  <a:cubicBezTo>
                    <a:pt x="480" y="1352"/>
                    <a:pt x="465" y="1358"/>
                    <a:pt x="450" y="1363"/>
                  </a:cubicBezTo>
                  <a:moveTo>
                    <a:pt x="387" y="1388"/>
                  </a:moveTo>
                  <a:cubicBezTo>
                    <a:pt x="379" y="1371"/>
                    <a:pt x="371" y="1354"/>
                    <a:pt x="365" y="1337"/>
                  </a:cubicBezTo>
                  <a:cubicBezTo>
                    <a:pt x="367" y="1332"/>
                    <a:pt x="369" y="1328"/>
                    <a:pt x="370" y="1325"/>
                  </a:cubicBezTo>
                  <a:cubicBezTo>
                    <a:pt x="385" y="1330"/>
                    <a:pt x="401" y="1332"/>
                    <a:pt x="418" y="1332"/>
                  </a:cubicBezTo>
                  <a:cubicBezTo>
                    <a:pt x="425" y="1343"/>
                    <a:pt x="432" y="1355"/>
                    <a:pt x="439" y="1366"/>
                  </a:cubicBezTo>
                  <a:cubicBezTo>
                    <a:pt x="424" y="1371"/>
                    <a:pt x="410" y="1375"/>
                    <a:pt x="397" y="1377"/>
                  </a:cubicBezTo>
                  <a:cubicBezTo>
                    <a:pt x="395" y="1377"/>
                    <a:pt x="395" y="1377"/>
                    <a:pt x="395" y="1377"/>
                  </a:cubicBezTo>
                  <a:cubicBezTo>
                    <a:pt x="394" y="1379"/>
                    <a:pt x="394" y="1379"/>
                    <a:pt x="394" y="1379"/>
                  </a:cubicBezTo>
                  <a:cubicBezTo>
                    <a:pt x="391" y="1381"/>
                    <a:pt x="389" y="1384"/>
                    <a:pt x="387" y="1388"/>
                  </a:cubicBezTo>
                  <a:moveTo>
                    <a:pt x="505" y="1342"/>
                  </a:moveTo>
                  <a:cubicBezTo>
                    <a:pt x="502" y="1336"/>
                    <a:pt x="499" y="1330"/>
                    <a:pt x="496" y="1324"/>
                  </a:cubicBezTo>
                  <a:cubicBezTo>
                    <a:pt x="511" y="1321"/>
                    <a:pt x="526" y="1318"/>
                    <a:pt x="540" y="1314"/>
                  </a:cubicBezTo>
                  <a:cubicBezTo>
                    <a:pt x="541" y="1318"/>
                    <a:pt x="542" y="1321"/>
                    <a:pt x="543" y="1325"/>
                  </a:cubicBezTo>
                  <a:cubicBezTo>
                    <a:pt x="531" y="1330"/>
                    <a:pt x="518" y="1336"/>
                    <a:pt x="505" y="1342"/>
                  </a:cubicBezTo>
                  <a:moveTo>
                    <a:pt x="561" y="1337"/>
                  </a:moveTo>
                  <a:cubicBezTo>
                    <a:pt x="560" y="1335"/>
                    <a:pt x="559" y="1333"/>
                    <a:pt x="559" y="1331"/>
                  </a:cubicBezTo>
                  <a:cubicBezTo>
                    <a:pt x="571" y="1325"/>
                    <a:pt x="583" y="1319"/>
                    <a:pt x="594" y="1314"/>
                  </a:cubicBezTo>
                  <a:cubicBezTo>
                    <a:pt x="584" y="1321"/>
                    <a:pt x="573" y="1328"/>
                    <a:pt x="561" y="1337"/>
                  </a:cubicBezTo>
                  <a:moveTo>
                    <a:pt x="170" y="1431"/>
                  </a:moveTo>
                  <a:cubicBezTo>
                    <a:pt x="157" y="1416"/>
                    <a:pt x="140" y="1400"/>
                    <a:pt x="119" y="1384"/>
                  </a:cubicBezTo>
                  <a:cubicBezTo>
                    <a:pt x="123" y="1361"/>
                    <a:pt x="127" y="1337"/>
                    <a:pt x="131" y="1312"/>
                  </a:cubicBezTo>
                  <a:cubicBezTo>
                    <a:pt x="151" y="1328"/>
                    <a:pt x="168" y="1344"/>
                    <a:pt x="180" y="1359"/>
                  </a:cubicBezTo>
                  <a:cubicBezTo>
                    <a:pt x="177" y="1378"/>
                    <a:pt x="174" y="1397"/>
                    <a:pt x="172" y="1417"/>
                  </a:cubicBezTo>
                  <a:cubicBezTo>
                    <a:pt x="171" y="1422"/>
                    <a:pt x="171" y="1427"/>
                    <a:pt x="170" y="1431"/>
                  </a:cubicBezTo>
                  <a:moveTo>
                    <a:pt x="577" y="1363"/>
                  </a:moveTo>
                  <a:cubicBezTo>
                    <a:pt x="574" y="1358"/>
                    <a:pt x="570" y="1352"/>
                    <a:pt x="567" y="1347"/>
                  </a:cubicBezTo>
                  <a:cubicBezTo>
                    <a:pt x="588" y="1332"/>
                    <a:pt x="606" y="1320"/>
                    <a:pt x="618" y="1311"/>
                  </a:cubicBezTo>
                  <a:cubicBezTo>
                    <a:pt x="609" y="1323"/>
                    <a:pt x="595" y="1341"/>
                    <a:pt x="577" y="1363"/>
                  </a:cubicBezTo>
                  <a:moveTo>
                    <a:pt x="554" y="1320"/>
                  </a:moveTo>
                  <a:cubicBezTo>
                    <a:pt x="553" y="1317"/>
                    <a:pt x="552" y="1314"/>
                    <a:pt x="551" y="1312"/>
                  </a:cubicBezTo>
                  <a:cubicBezTo>
                    <a:pt x="570" y="1307"/>
                    <a:pt x="587" y="1301"/>
                    <a:pt x="602" y="1297"/>
                  </a:cubicBezTo>
                  <a:cubicBezTo>
                    <a:pt x="589" y="1303"/>
                    <a:pt x="572" y="1311"/>
                    <a:pt x="554" y="1320"/>
                  </a:cubicBezTo>
                  <a:moveTo>
                    <a:pt x="492" y="1312"/>
                  </a:moveTo>
                  <a:cubicBezTo>
                    <a:pt x="490" y="1308"/>
                    <a:pt x="488" y="1303"/>
                    <a:pt x="486" y="1299"/>
                  </a:cubicBezTo>
                  <a:cubicBezTo>
                    <a:pt x="503" y="1298"/>
                    <a:pt x="519" y="1297"/>
                    <a:pt x="534" y="1296"/>
                  </a:cubicBezTo>
                  <a:cubicBezTo>
                    <a:pt x="535" y="1298"/>
                    <a:pt x="535" y="1300"/>
                    <a:pt x="536" y="1303"/>
                  </a:cubicBezTo>
                  <a:cubicBezTo>
                    <a:pt x="522" y="1306"/>
                    <a:pt x="507" y="1310"/>
                    <a:pt x="492" y="1312"/>
                  </a:cubicBezTo>
                  <a:moveTo>
                    <a:pt x="425" y="1320"/>
                  </a:moveTo>
                  <a:cubicBezTo>
                    <a:pt x="419" y="1310"/>
                    <a:pt x="414" y="1301"/>
                    <a:pt x="409" y="1293"/>
                  </a:cubicBezTo>
                  <a:cubicBezTo>
                    <a:pt x="430" y="1297"/>
                    <a:pt x="452" y="1299"/>
                    <a:pt x="474" y="1299"/>
                  </a:cubicBezTo>
                  <a:cubicBezTo>
                    <a:pt x="476" y="1304"/>
                    <a:pt x="478" y="1309"/>
                    <a:pt x="480" y="1314"/>
                  </a:cubicBezTo>
                  <a:cubicBezTo>
                    <a:pt x="461" y="1317"/>
                    <a:pt x="442" y="1319"/>
                    <a:pt x="425" y="1320"/>
                  </a:cubicBezTo>
                  <a:moveTo>
                    <a:pt x="547" y="1300"/>
                  </a:moveTo>
                  <a:cubicBezTo>
                    <a:pt x="546" y="1298"/>
                    <a:pt x="546" y="1296"/>
                    <a:pt x="545" y="1294"/>
                  </a:cubicBezTo>
                  <a:cubicBezTo>
                    <a:pt x="563" y="1292"/>
                    <a:pt x="578" y="1290"/>
                    <a:pt x="592" y="1287"/>
                  </a:cubicBezTo>
                  <a:cubicBezTo>
                    <a:pt x="579" y="1291"/>
                    <a:pt x="564" y="1296"/>
                    <a:pt x="547" y="1300"/>
                  </a:cubicBezTo>
                  <a:moveTo>
                    <a:pt x="333" y="1391"/>
                  </a:moveTo>
                  <a:cubicBezTo>
                    <a:pt x="328" y="1380"/>
                    <a:pt x="323" y="1370"/>
                    <a:pt x="318" y="1361"/>
                  </a:cubicBezTo>
                  <a:cubicBezTo>
                    <a:pt x="322" y="1333"/>
                    <a:pt x="328" y="1306"/>
                    <a:pt x="334" y="1286"/>
                  </a:cubicBezTo>
                  <a:cubicBezTo>
                    <a:pt x="339" y="1302"/>
                    <a:pt x="345" y="1319"/>
                    <a:pt x="352" y="1337"/>
                  </a:cubicBezTo>
                  <a:cubicBezTo>
                    <a:pt x="346" y="1351"/>
                    <a:pt x="339" y="1371"/>
                    <a:pt x="333" y="1391"/>
                  </a:cubicBezTo>
                  <a:moveTo>
                    <a:pt x="482" y="1287"/>
                  </a:moveTo>
                  <a:cubicBezTo>
                    <a:pt x="480" y="1282"/>
                    <a:pt x="479" y="1279"/>
                    <a:pt x="478" y="1277"/>
                  </a:cubicBezTo>
                  <a:cubicBezTo>
                    <a:pt x="486" y="1277"/>
                    <a:pt x="494" y="1278"/>
                    <a:pt x="502" y="1278"/>
                  </a:cubicBezTo>
                  <a:cubicBezTo>
                    <a:pt x="510" y="1279"/>
                    <a:pt x="519" y="1279"/>
                    <a:pt x="527" y="1279"/>
                  </a:cubicBezTo>
                  <a:cubicBezTo>
                    <a:pt x="528" y="1279"/>
                    <a:pt x="530" y="1279"/>
                    <a:pt x="531" y="1279"/>
                  </a:cubicBezTo>
                  <a:cubicBezTo>
                    <a:pt x="531" y="1280"/>
                    <a:pt x="532" y="1282"/>
                    <a:pt x="532" y="1284"/>
                  </a:cubicBezTo>
                  <a:cubicBezTo>
                    <a:pt x="516" y="1285"/>
                    <a:pt x="499" y="1286"/>
                    <a:pt x="482" y="1287"/>
                  </a:cubicBezTo>
                  <a:moveTo>
                    <a:pt x="543" y="1282"/>
                  </a:moveTo>
                  <a:cubicBezTo>
                    <a:pt x="543" y="1281"/>
                    <a:pt x="543" y="1280"/>
                    <a:pt x="543" y="1279"/>
                  </a:cubicBezTo>
                  <a:cubicBezTo>
                    <a:pt x="556" y="1278"/>
                    <a:pt x="569" y="1278"/>
                    <a:pt x="581" y="1277"/>
                  </a:cubicBezTo>
                  <a:cubicBezTo>
                    <a:pt x="570" y="1279"/>
                    <a:pt x="557" y="1281"/>
                    <a:pt x="543" y="1282"/>
                  </a:cubicBezTo>
                  <a:moveTo>
                    <a:pt x="109" y="1376"/>
                  </a:moveTo>
                  <a:cubicBezTo>
                    <a:pt x="93" y="1365"/>
                    <a:pt x="76" y="1354"/>
                    <a:pt x="57" y="1344"/>
                  </a:cubicBezTo>
                  <a:cubicBezTo>
                    <a:pt x="61" y="1323"/>
                    <a:pt x="65" y="1301"/>
                    <a:pt x="69" y="1279"/>
                  </a:cubicBezTo>
                  <a:cubicBezTo>
                    <a:pt x="70" y="1276"/>
                    <a:pt x="70" y="1273"/>
                    <a:pt x="71" y="1271"/>
                  </a:cubicBezTo>
                  <a:cubicBezTo>
                    <a:pt x="89" y="1281"/>
                    <a:pt x="106" y="1293"/>
                    <a:pt x="121" y="1304"/>
                  </a:cubicBezTo>
                  <a:cubicBezTo>
                    <a:pt x="117" y="1329"/>
                    <a:pt x="112" y="1353"/>
                    <a:pt x="109" y="1376"/>
                  </a:cubicBezTo>
                  <a:moveTo>
                    <a:pt x="359" y="1322"/>
                  </a:moveTo>
                  <a:cubicBezTo>
                    <a:pt x="352" y="1303"/>
                    <a:pt x="345" y="1285"/>
                    <a:pt x="339" y="1267"/>
                  </a:cubicBezTo>
                  <a:cubicBezTo>
                    <a:pt x="340" y="1266"/>
                    <a:pt x="340" y="1264"/>
                    <a:pt x="341" y="1263"/>
                  </a:cubicBezTo>
                  <a:cubicBezTo>
                    <a:pt x="356" y="1275"/>
                    <a:pt x="374" y="1283"/>
                    <a:pt x="394" y="1289"/>
                  </a:cubicBezTo>
                  <a:cubicBezTo>
                    <a:pt x="399" y="1298"/>
                    <a:pt x="405" y="1309"/>
                    <a:pt x="411" y="1320"/>
                  </a:cubicBezTo>
                  <a:cubicBezTo>
                    <a:pt x="396" y="1319"/>
                    <a:pt x="382" y="1317"/>
                    <a:pt x="370" y="1313"/>
                  </a:cubicBezTo>
                  <a:cubicBezTo>
                    <a:pt x="367" y="1312"/>
                    <a:pt x="367" y="1312"/>
                    <a:pt x="367" y="1312"/>
                  </a:cubicBezTo>
                  <a:cubicBezTo>
                    <a:pt x="364" y="1314"/>
                    <a:pt x="364" y="1314"/>
                    <a:pt x="364" y="1314"/>
                  </a:cubicBezTo>
                  <a:cubicBezTo>
                    <a:pt x="363" y="1316"/>
                    <a:pt x="361" y="1319"/>
                    <a:pt x="359" y="1322"/>
                  </a:cubicBezTo>
                  <a:moveTo>
                    <a:pt x="470" y="1287"/>
                  </a:moveTo>
                  <a:cubicBezTo>
                    <a:pt x="446" y="1286"/>
                    <a:pt x="423" y="1284"/>
                    <a:pt x="401" y="1279"/>
                  </a:cubicBezTo>
                  <a:cubicBezTo>
                    <a:pt x="397" y="1270"/>
                    <a:pt x="393" y="1263"/>
                    <a:pt x="390" y="1258"/>
                  </a:cubicBezTo>
                  <a:cubicBezTo>
                    <a:pt x="413" y="1266"/>
                    <a:pt x="440" y="1273"/>
                    <a:pt x="470" y="1276"/>
                  </a:cubicBezTo>
                  <a:cubicBezTo>
                    <a:pt x="467" y="1277"/>
                    <a:pt x="467" y="1277"/>
                    <a:pt x="467" y="1277"/>
                  </a:cubicBezTo>
                  <a:cubicBezTo>
                    <a:pt x="467" y="1278"/>
                    <a:pt x="468" y="1281"/>
                    <a:pt x="470" y="1287"/>
                  </a:cubicBezTo>
                  <a:moveTo>
                    <a:pt x="183" y="1345"/>
                  </a:moveTo>
                  <a:cubicBezTo>
                    <a:pt x="170" y="1330"/>
                    <a:pt x="153" y="1314"/>
                    <a:pt x="134" y="1299"/>
                  </a:cubicBezTo>
                  <a:cubicBezTo>
                    <a:pt x="135" y="1293"/>
                    <a:pt x="136" y="1287"/>
                    <a:pt x="137" y="1282"/>
                  </a:cubicBezTo>
                  <a:cubicBezTo>
                    <a:pt x="141" y="1261"/>
                    <a:pt x="145" y="1241"/>
                    <a:pt x="148" y="1220"/>
                  </a:cubicBezTo>
                  <a:cubicBezTo>
                    <a:pt x="168" y="1236"/>
                    <a:pt x="186" y="1252"/>
                    <a:pt x="200" y="1269"/>
                  </a:cubicBezTo>
                  <a:cubicBezTo>
                    <a:pt x="198" y="1275"/>
                    <a:pt x="197" y="1281"/>
                    <a:pt x="196" y="1287"/>
                  </a:cubicBezTo>
                  <a:cubicBezTo>
                    <a:pt x="191" y="1306"/>
                    <a:pt x="187" y="1325"/>
                    <a:pt x="183" y="1345"/>
                  </a:cubicBezTo>
                  <a:moveTo>
                    <a:pt x="298" y="1324"/>
                  </a:moveTo>
                  <a:cubicBezTo>
                    <a:pt x="298" y="1324"/>
                    <a:pt x="298" y="1323"/>
                    <a:pt x="298" y="1323"/>
                  </a:cubicBezTo>
                  <a:cubicBezTo>
                    <a:pt x="298" y="1284"/>
                    <a:pt x="304" y="1244"/>
                    <a:pt x="309" y="1219"/>
                  </a:cubicBezTo>
                  <a:cubicBezTo>
                    <a:pt x="312" y="1217"/>
                    <a:pt x="312" y="1217"/>
                    <a:pt x="312" y="1217"/>
                  </a:cubicBezTo>
                  <a:cubicBezTo>
                    <a:pt x="316" y="1231"/>
                    <a:pt x="321" y="1248"/>
                    <a:pt x="327" y="1268"/>
                  </a:cubicBezTo>
                  <a:cubicBezTo>
                    <a:pt x="322" y="1286"/>
                    <a:pt x="315" y="1314"/>
                    <a:pt x="310" y="1344"/>
                  </a:cubicBezTo>
                  <a:cubicBezTo>
                    <a:pt x="303" y="1331"/>
                    <a:pt x="299" y="1323"/>
                    <a:pt x="299" y="1323"/>
                  </a:cubicBezTo>
                  <a:cubicBezTo>
                    <a:pt x="298" y="1324"/>
                    <a:pt x="298" y="1324"/>
                    <a:pt x="298" y="1324"/>
                  </a:cubicBezTo>
                  <a:moveTo>
                    <a:pt x="334" y="1252"/>
                  </a:moveTo>
                  <a:cubicBezTo>
                    <a:pt x="330" y="1238"/>
                    <a:pt x="326" y="1225"/>
                    <a:pt x="323" y="1215"/>
                  </a:cubicBezTo>
                  <a:cubicBezTo>
                    <a:pt x="337" y="1230"/>
                    <a:pt x="354" y="1242"/>
                    <a:pt x="374" y="1251"/>
                  </a:cubicBezTo>
                  <a:cubicBezTo>
                    <a:pt x="373" y="1251"/>
                    <a:pt x="373" y="1251"/>
                    <a:pt x="373" y="1251"/>
                  </a:cubicBezTo>
                  <a:cubicBezTo>
                    <a:pt x="374" y="1253"/>
                    <a:pt x="379" y="1261"/>
                    <a:pt x="386" y="1274"/>
                  </a:cubicBezTo>
                  <a:cubicBezTo>
                    <a:pt x="369" y="1268"/>
                    <a:pt x="355" y="1260"/>
                    <a:pt x="343" y="1250"/>
                  </a:cubicBezTo>
                  <a:cubicBezTo>
                    <a:pt x="339" y="1246"/>
                    <a:pt x="339" y="1246"/>
                    <a:pt x="339" y="1246"/>
                  </a:cubicBezTo>
                  <a:cubicBezTo>
                    <a:pt x="335" y="1250"/>
                    <a:pt x="335" y="1250"/>
                    <a:pt x="335" y="1250"/>
                  </a:cubicBezTo>
                  <a:cubicBezTo>
                    <a:pt x="335" y="1250"/>
                    <a:pt x="335" y="1251"/>
                    <a:pt x="334" y="1252"/>
                  </a:cubicBezTo>
                  <a:moveTo>
                    <a:pt x="124" y="1292"/>
                  </a:moveTo>
                  <a:cubicBezTo>
                    <a:pt x="108" y="1280"/>
                    <a:pt x="91" y="1269"/>
                    <a:pt x="73" y="1258"/>
                  </a:cubicBezTo>
                  <a:cubicBezTo>
                    <a:pt x="78" y="1233"/>
                    <a:pt x="83" y="1206"/>
                    <a:pt x="87" y="1179"/>
                  </a:cubicBezTo>
                  <a:cubicBezTo>
                    <a:pt x="105" y="1189"/>
                    <a:pt x="123" y="1201"/>
                    <a:pt x="138" y="1212"/>
                  </a:cubicBezTo>
                  <a:cubicBezTo>
                    <a:pt x="134" y="1235"/>
                    <a:pt x="130" y="1257"/>
                    <a:pt x="126" y="1279"/>
                  </a:cubicBezTo>
                  <a:cubicBezTo>
                    <a:pt x="125" y="1283"/>
                    <a:pt x="125" y="1287"/>
                    <a:pt x="124" y="1292"/>
                  </a:cubicBezTo>
                  <a:moveTo>
                    <a:pt x="283" y="1404"/>
                  </a:moveTo>
                  <a:cubicBezTo>
                    <a:pt x="277" y="1343"/>
                    <a:pt x="264" y="1273"/>
                    <a:pt x="254" y="1218"/>
                  </a:cubicBezTo>
                  <a:cubicBezTo>
                    <a:pt x="255" y="1206"/>
                    <a:pt x="256" y="1192"/>
                    <a:pt x="256" y="1178"/>
                  </a:cubicBezTo>
                  <a:cubicBezTo>
                    <a:pt x="267" y="1205"/>
                    <a:pt x="279" y="1237"/>
                    <a:pt x="290" y="1268"/>
                  </a:cubicBezTo>
                  <a:cubicBezTo>
                    <a:pt x="288" y="1285"/>
                    <a:pt x="287" y="1304"/>
                    <a:pt x="287" y="1323"/>
                  </a:cubicBezTo>
                  <a:cubicBezTo>
                    <a:pt x="287" y="1336"/>
                    <a:pt x="287" y="1350"/>
                    <a:pt x="289" y="1364"/>
                  </a:cubicBezTo>
                  <a:cubicBezTo>
                    <a:pt x="289" y="1365"/>
                    <a:pt x="290" y="1367"/>
                    <a:pt x="290" y="1369"/>
                  </a:cubicBezTo>
                  <a:cubicBezTo>
                    <a:pt x="290" y="1379"/>
                    <a:pt x="287" y="1390"/>
                    <a:pt x="283" y="1404"/>
                  </a:cubicBezTo>
                  <a:moveTo>
                    <a:pt x="439" y="1221"/>
                  </a:moveTo>
                  <a:cubicBezTo>
                    <a:pt x="395" y="1212"/>
                    <a:pt x="361" y="1194"/>
                    <a:pt x="344" y="1169"/>
                  </a:cubicBezTo>
                  <a:cubicBezTo>
                    <a:pt x="364" y="1183"/>
                    <a:pt x="384" y="1195"/>
                    <a:pt x="405" y="1204"/>
                  </a:cubicBezTo>
                  <a:cubicBezTo>
                    <a:pt x="415" y="1211"/>
                    <a:pt x="426" y="1217"/>
                    <a:pt x="439" y="1221"/>
                  </a:cubicBezTo>
                  <a:moveTo>
                    <a:pt x="526" y="1205"/>
                  </a:moveTo>
                  <a:cubicBezTo>
                    <a:pt x="487" y="1202"/>
                    <a:pt x="458" y="1188"/>
                    <a:pt x="448" y="1165"/>
                  </a:cubicBezTo>
                  <a:cubicBezTo>
                    <a:pt x="460" y="1165"/>
                    <a:pt x="471" y="1164"/>
                    <a:pt x="481" y="1163"/>
                  </a:cubicBezTo>
                  <a:cubicBezTo>
                    <a:pt x="482" y="1165"/>
                    <a:pt x="482" y="1166"/>
                    <a:pt x="482" y="1167"/>
                  </a:cubicBezTo>
                  <a:cubicBezTo>
                    <a:pt x="487" y="1185"/>
                    <a:pt x="508" y="1196"/>
                    <a:pt x="536" y="1197"/>
                  </a:cubicBezTo>
                  <a:cubicBezTo>
                    <a:pt x="533" y="1199"/>
                    <a:pt x="529" y="1202"/>
                    <a:pt x="526" y="1205"/>
                  </a:cubicBezTo>
                  <a:moveTo>
                    <a:pt x="545" y="1205"/>
                  </a:moveTo>
                  <a:cubicBezTo>
                    <a:pt x="548" y="1202"/>
                    <a:pt x="551" y="1199"/>
                    <a:pt x="554" y="1196"/>
                  </a:cubicBezTo>
                  <a:cubicBezTo>
                    <a:pt x="557" y="1196"/>
                    <a:pt x="559" y="1196"/>
                    <a:pt x="562" y="1195"/>
                  </a:cubicBezTo>
                  <a:cubicBezTo>
                    <a:pt x="571" y="1194"/>
                    <a:pt x="580" y="1192"/>
                    <a:pt x="589" y="1189"/>
                  </a:cubicBezTo>
                  <a:cubicBezTo>
                    <a:pt x="609" y="1182"/>
                    <a:pt x="627" y="1172"/>
                    <a:pt x="641" y="1161"/>
                  </a:cubicBezTo>
                  <a:cubicBezTo>
                    <a:pt x="649" y="1163"/>
                    <a:pt x="659" y="1165"/>
                    <a:pt x="668" y="1167"/>
                  </a:cubicBezTo>
                  <a:cubicBezTo>
                    <a:pt x="652" y="1177"/>
                    <a:pt x="633" y="1186"/>
                    <a:pt x="613" y="1192"/>
                  </a:cubicBezTo>
                  <a:cubicBezTo>
                    <a:pt x="599" y="1197"/>
                    <a:pt x="586" y="1200"/>
                    <a:pt x="572" y="1202"/>
                  </a:cubicBezTo>
                  <a:cubicBezTo>
                    <a:pt x="563" y="1204"/>
                    <a:pt x="553" y="1204"/>
                    <a:pt x="545" y="1205"/>
                  </a:cubicBezTo>
                  <a:moveTo>
                    <a:pt x="505" y="1217"/>
                  </a:moveTo>
                  <a:cubicBezTo>
                    <a:pt x="474" y="1213"/>
                    <a:pt x="450" y="1205"/>
                    <a:pt x="420" y="1192"/>
                  </a:cubicBezTo>
                  <a:cubicBezTo>
                    <a:pt x="408" y="1184"/>
                    <a:pt x="404" y="1172"/>
                    <a:pt x="404" y="1159"/>
                  </a:cubicBezTo>
                  <a:cubicBezTo>
                    <a:pt x="404" y="1159"/>
                    <a:pt x="404" y="1159"/>
                    <a:pt x="404" y="1159"/>
                  </a:cubicBezTo>
                  <a:cubicBezTo>
                    <a:pt x="414" y="1163"/>
                    <a:pt x="429" y="1163"/>
                    <a:pt x="444" y="1164"/>
                  </a:cubicBezTo>
                  <a:cubicBezTo>
                    <a:pt x="452" y="1190"/>
                    <a:pt x="475" y="1208"/>
                    <a:pt x="512" y="1214"/>
                  </a:cubicBezTo>
                  <a:cubicBezTo>
                    <a:pt x="510" y="1215"/>
                    <a:pt x="507" y="1216"/>
                    <a:pt x="505" y="1217"/>
                  </a:cubicBezTo>
                  <a:moveTo>
                    <a:pt x="203" y="1255"/>
                  </a:moveTo>
                  <a:cubicBezTo>
                    <a:pt x="188" y="1239"/>
                    <a:pt x="171" y="1223"/>
                    <a:pt x="151" y="1207"/>
                  </a:cubicBezTo>
                  <a:cubicBezTo>
                    <a:pt x="154" y="1191"/>
                    <a:pt x="156" y="1175"/>
                    <a:pt x="159" y="1158"/>
                  </a:cubicBezTo>
                  <a:cubicBezTo>
                    <a:pt x="177" y="1175"/>
                    <a:pt x="193" y="1193"/>
                    <a:pt x="207" y="1210"/>
                  </a:cubicBezTo>
                  <a:cubicBezTo>
                    <a:pt x="212" y="1205"/>
                    <a:pt x="212" y="1205"/>
                    <a:pt x="212" y="1205"/>
                  </a:cubicBezTo>
                  <a:cubicBezTo>
                    <a:pt x="210" y="1217"/>
                    <a:pt x="208" y="1229"/>
                    <a:pt x="206" y="1240"/>
                  </a:cubicBezTo>
                  <a:cubicBezTo>
                    <a:pt x="202" y="1241"/>
                    <a:pt x="202" y="1241"/>
                    <a:pt x="202" y="1241"/>
                  </a:cubicBezTo>
                  <a:cubicBezTo>
                    <a:pt x="202" y="1242"/>
                    <a:pt x="203" y="1244"/>
                    <a:pt x="204" y="1248"/>
                  </a:cubicBezTo>
                  <a:cubicBezTo>
                    <a:pt x="204" y="1251"/>
                    <a:pt x="203" y="1253"/>
                    <a:pt x="203" y="1255"/>
                  </a:cubicBezTo>
                  <a:moveTo>
                    <a:pt x="240" y="1374"/>
                  </a:moveTo>
                  <a:cubicBezTo>
                    <a:pt x="232" y="1316"/>
                    <a:pt x="221" y="1268"/>
                    <a:pt x="216" y="1248"/>
                  </a:cubicBezTo>
                  <a:cubicBezTo>
                    <a:pt x="222" y="1218"/>
                    <a:pt x="227" y="1187"/>
                    <a:pt x="230" y="1155"/>
                  </a:cubicBezTo>
                  <a:cubicBezTo>
                    <a:pt x="233" y="1172"/>
                    <a:pt x="238" y="1194"/>
                    <a:pt x="242" y="1218"/>
                  </a:cubicBezTo>
                  <a:cubicBezTo>
                    <a:pt x="240" y="1248"/>
                    <a:pt x="238" y="1268"/>
                    <a:pt x="238" y="1269"/>
                  </a:cubicBezTo>
                  <a:cubicBezTo>
                    <a:pt x="243" y="1269"/>
                    <a:pt x="243" y="1269"/>
                    <a:pt x="243" y="1269"/>
                  </a:cubicBezTo>
                  <a:cubicBezTo>
                    <a:pt x="238" y="1270"/>
                    <a:pt x="238" y="1270"/>
                    <a:pt x="238" y="1270"/>
                  </a:cubicBezTo>
                  <a:cubicBezTo>
                    <a:pt x="240" y="1292"/>
                    <a:pt x="241" y="1314"/>
                    <a:pt x="241" y="1337"/>
                  </a:cubicBezTo>
                  <a:cubicBezTo>
                    <a:pt x="241" y="1349"/>
                    <a:pt x="241" y="1362"/>
                    <a:pt x="240" y="1374"/>
                  </a:cubicBezTo>
                  <a:moveTo>
                    <a:pt x="383" y="1180"/>
                  </a:moveTo>
                  <a:cubicBezTo>
                    <a:pt x="369" y="1172"/>
                    <a:pt x="355" y="1163"/>
                    <a:pt x="341" y="1152"/>
                  </a:cubicBezTo>
                  <a:cubicBezTo>
                    <a:pt x="353" y="1155"/>
                    <a:pt x="364" y="1157"/>
                    <a:pt x="375" y="1159"/>
                  </a:cubicBezTo>
                  <a:cubicBezTo>
                    <a:pt x="376" y="1160"/>
                    <a:pt x="376" y="1162"/>
                    <a:pt x="376" y="1164"/>
                  </a:cubicBezTo>
                  <a:cubicBezTo>
                    <a:pt x="378" y="1170"/>
                    <a:pt x="380" y="1175"/>
                    <a:pt x="383" y="1180"/>
                  </a:cubicBezTo>
                  <a:moveTo>
                    <a:pt x="63" y="1253"/>
                  </a:moveTo>
                  <a:cubicBezTo>
                    <a:pt x="47" y="1244"/>
                    <a:pt x="30" y="1236"/>
                    <a:pt x="13" y="1229"/>
                  </a:cubicBezTo>
                  <a:cubicBezTo>
                    <a:pt x="19" y="1204"/>
                    <a:pt x="24" y="1177"/>
                    <a:pt x="30" y="1150"/>
                  </a:cubicBezTo>
                  <a:cubicBezTo>
                    <a:pt x="46" y="1157"/>
                    <a:pt x="62" y="1165"/>
                    <a:pt x="77" y="1173"/>
                  </a:cubicBezTo>
                  <a:cubicBezTo>
                    <a:pt x="72" y="1200"/>
                    <a:pt x="67" y="1227"/>
                    <a:pt x="63" y="1253"/>
                  </a:cubicBezTo>
                  <a:moveTo>
                    <a:pt x="540" y="1185"/>
                  </a:moveTo>
                  <a:cubicBezTo>
                    <a:pt x="515" y="1185"/>
                    <a:pt x="497" y="1177"/>
                    <a:pt x="493" y="1164"/>
                  </a:cubicBezTo>
                  <a:cubicBezTo>
                    <a:pt x="493" y="1162"/>
                    <a:pt x="493" y="1162"/>
                    <a:pt x="493" y="1162"/>
                  </a:cubicBezTo>
                  <a:cubicBezTo>
                    <a:pt x="529" y="1159"/>
                    <a:pt x="555" y="1151"/>
                    <a:pt x="568" y="1146"/>
                  </a:cubicBezTo>
                  <a:cubicBezTo>
                    <a:pt x="566" y="1155"/>
                    <a:pt x="561" y="1170"/>
                    <a:pt x="548" y="1185"/>
                  </a:cubicBezTo>
                  <a:cubicBezTo>
                    <a:pt x="546" y="1185"/>
                    <a:pt x="543" y="1185"/>
                    <a:pt x="540" y="1185"/>
                  </a:cubicBezTo>
                  <a:cubicBezTo>
                    <a:pt x="540" y="1185"/>
                    <a:pt x="540" y="1185"/>
                    <a:pt x="540" y="1185"/>
                  </a:cubicBezTo>
                  <a:moveTo>
                    <a:pt x="564" y="1183"/>
                  </a:moveTo>
                  <a:cubicBezTo>
                    <a:pt x="572" y="1172"/>
                    <a:pt x="576" y="1161"/>
                    <a:pt x="578" y="1153"/>
                  </a:cubicBezTo>
                  <a:cubicBezTo>
                    <a:pt x="587" y="1149"/>
                    <a:pt x="587" y="1149"/>
                    <a:pt x="587" y="1149"/>
                  </a:cubicBezTo>
                  <a:cubicBezTo>
                    <a:pt x="587" y="1148"/>
                    <a:pt x="587" y="1147"/>
                    <a:pt x="586" y="1146"/>
                  </a:cubicBezTo>
                  <a:cubicBezTo>
                    <a:pt x="590" y="1147"/>
                    <a:pt x="590" y="1147"/>
                    <a:pt x="590" y="1147"/>
                  </a:cubicBezTo>
                  <a:cubicBezTo>
                    <a:pt x="592" y="1147"/>
                    <a:pt x="606" y="1152"/>
                    <a:pt x="626" y="1157"/>
                  </a:cubicBezTo>
                  <a:cubicBezTo>
                    <a:pt x="615" y="1165"/>
                    <a:pt x="601" y="1172"/>
                    <a:pt x="586" y="1177"/>
                  </a:cubicBezTo>
                  <a:cubicBezTo>
                    <a:pt x="579" y="1180"/>
                    <a:pt x="571" y="1181"/>
                    <a:pt x="564" y="1183"/>
                  </a:cubicBezTo>
                  <a:moveTo>
                    <a:pt x="493" y="1150"/>
                  </a:moveTo>
                  <a:cubicBezTo>
                    <a:pt x="495" y="1147"/>
                    <a:pt x="496" y="1143"/>
                    <a:pt x="499" y="1140"/>
                  </a:cubicBezTo>
                  <a:cubicBezTo>
                    <a:pt x="510" y="1142"/>
                    <a:pt x="520" y="1143"/>
                    <a:pt x="530" y="1144"/>
                  </a:cubicBezTo>
                  <a:cubicBezTo>
                    <a:pt x="519" y="1146"/>
                    <a:pt x="507" y="1148"/>
                    <a:pt x="493" y="1150"/>
                  </a:cubicBezTo>
                  <a:moveTo>
                    <a:pt x="638" y="1148"/>
                  </a:moveTo>
                  <a:cubicBezTo>
                    <a:pt x="631" y="1146"/>
                    <a:pt x="625" y="1145"/>
                    <a:pt x="620" y="1143"/>
                  </a:cubicBezTo>
                  <a:cubicBezTo>
                    <a:pt x="628" y="1142"/>
                    <a:pt x="637" y="1140"/>
                    <a:pt x="648" y="1138"/>
                  </a:cubicBezTo>
                  <a:cubicBezTo>
                    <a:pt x="646" y="1140"/>
                    <a:pt x="644" y="1143"/>
                    <a:pt x="641" y="1145"/>
                  </a:cubicBezTo>
                  <a:cubicBezTo>
                    <a:pt x="640" y="1146"/>
                    <a:pt x="639" y="1147"/>
                    <a:pt x="638" y="1148"/>
                  </a:cubicBezTo>
                  <a:moveTo>
                    <a:pt x="293" y="1244"/>
                  </a:moveTo>
                  <a:cubicBezTo>
                    <a:pt x="281" y="1210"/>
                    <a:pt x="269" y="1178"/>
                    <a:pt x="258" y="1151"/>
                  </a:cubicBezTo>
                  <a:cubicBezTo>
                    <a:pt x="258" y="1145"/>
                    <a:pt x="258" y="1140"/>
                    <a:pt x="258" y="1134"/>
                  </a:cubicBezTo>
                  <a:cubicBezTo>
                    <a:pt x="272" y="1159"/>
                    <a:pt x="288" y="1186"/>
                    <a:pt x="300" y="1208"/>
                  </a:cubicBezTo>
                  <a:cubicBezTo>
                    <a:pt x="298" y="1217"/>
                    <a:pt x="296" y="1230"/>
                    <a:pt x="293" y="1244"/>
                  </a:cubicBezTo>
                  <a:moveTo>
                    <a:pt x="245" y="1175"/>
                  </a:moveTo>
                  <a:cubicBezTo>
                    <a:pt x="241" y="1155"/>
                    <a:pt x="238" y="1139"/>
                    <a:pt x="236" y="1130"/>
                  </a:cubicBezTo>
                  <a:cubicBezTo>
                    <a:pt x="236" y="1129"/>
                    <a:pt x="236" y="1129"/>
                    <a:pt x="236" y="1129"/>
                  </a:cubicBezTo>
                  <a:cubicBezTo>
                    <a:pt x="239" y="1137"/>
                    <a:pt x="243" y="1145"/>
                    <a:pt x="246" y="1153"/>
                  </a:cubicBezTo>
                  <a:cubicBezTo>
                    <a:pt x="246" y="1161"/>
                    <a:pt x="246" y="1168"/>
                    <a:pt x="245" y="1175"/>
                  </a:cubicBezTo>
                  <a:moveTo>
                    <a:pt x="235" y="1127"/>
                  </a:moveTo>
                  <a:cubicBezTo>
                    <a:pt x="235" y="1127"/>
                    <a:pt x="235" y="1127"/>
                    <a:pt x="235" y="1127"/>
                  </a:cubicBezTo>
                  <a:cubicBezTo>
                    <a:pt x="235" y="1126"/>
                    <a:pt x="235" y="1126"/>
                    <a:pt x="235" y="1126"/>
                  </a:cubicBezTo>
                  <a:cubicBezTo>
                    <a:pt x="235" y="1127"/>
                    <a:pt x="235" y="1127"/>
                    <a:pt x="235" y="1127"/>
                  </a:cubicBezTo>
                  <a:moveTo>
                    <a:pt x="447" y="1153"/>
                  </a:moveTo>
                  <a:cubicBezTo>
                    <a:pt x="447" y="1153"/>
                    <a:pt x="446" y="1153"/>
                    <a:pt x="445" y="1153"/>
                  </a:cubicBezTo>
                  <a:cubicBezTo>
                    <a:pt x="445" y="1151"/>
                    <a:pt x="445" y="1149"/>
                    <a:pt x="445" y="1147"/>
                  </a:cubicBezTo>
                  <a:cubicBezTo>
                    <a:pt x="445" y="1140"/>
                    <a:pt x="446" y="1133"/>
                    <a:pt x="449" y="1126"/>
                  </a:cubicBezTo>
                  <a:cubicBezTo>
                    <a:pt x="462" y="1131"/>
                    <a:pt x="475" y="1134"/>
                    <a:pt x="487" y="1137"/>
                  </a:cubicBezTo>
                  <a:cubicBezTo>
                    <a:pt x="484" y="1142"/>
                    <a:pt x="483" y="1147"/>
                    <a:pt x="482" y="1151"/>
                  </a:cubicBezTo>
                  <a:cubicBezTo>
                    <a:pt x="471" y="1152"/>
                    <a:pt x="460" y="1153"/>
                    <a:pt x="447" y="1153"/>
                  </a:cubicBezTo>
                  <a:moveTo>
                    <a:pt x="547" y="1133"/>
                  </a:moveTo>
                  <a:cubicBezTo>
                    <a:pt x="536" y="1133"/>
                    <a:pt x="522" y="1132"/>
                    <a:pt x="507" y="1130"/>
                  </a:cubicBezTo>
                  <a:cubicBezTo>
                    <a:pt x="511" y="1126"/>
                    <a:pt x="515" y="1122"/>
                    <a:pt x="520" y="1119"/>
                  </a:cubicBezTo>
                  <a:cubicBezTo>
                    <a:pt x="531" y="1125"/>
                    <a:pt x="541" y="1129"/>
                    <a:pt x="549" y="1133"/>
                  </a:cubicBezTo>
                  <a:cubicBezTo>
                    <a:pt x="548" y="1133"/>
                    <a:pt x="547" y="1133"/>
                    <a:pt x="547" y="1133"/>
                  </a:cubicBezTo>
                  <a:moveTo>
                    <a:pt x="231" y="1120"/>
                  </a:moveTo>
                  <a:cubicBezTo>
                    <a:pt x="231" y="1120"/>
                    <a:pt x="231" y="1119"/>
                    <a:pt x="231" y="1118"/>
                  </a:cubicBezTo>
                  <a:cubicBezTo>
                    <a:pt x="232" y="1119"/>
                    <a:pt x="232" y="1120"/>
                    <a:pt x="232" y="1120"/>
                  </a:cubicBezTo>
                  <a:cubicBezTo>
                    <a:pt x="231" y="1120"/>
                    <a:pt x="231" y="1120"/>
                    <a:pt x="231" y="1120"/>
                  </a:cubicBezTo>
                  <a:moveTo>
                    <a:pt x="546" y="1119"/>
                  </a:moveTo>
                  <a:cubicBezTo>
                    <a:pt x="541" y="1117"/>
                    <a:pt x="536" y="1114"/>
                    <a:pt x="531" y="1111"/>
                  </a:cubicBezTo>
                  <a:cubicBezTo>
                    <a:pt x="532" y="1110"/>
                    <a:pt x="534" y="1110"/>
                    <a:pt x="535" y="1109"/>
                  </a:cubicBezTo>
                  <a:cubicBezTo>
                    <a:pt x="539" y="1112"/>
                    <a:pt x="542" y="1116"/>
                    <a:pt x="546" y="1119"/>
                  </a:cubicBezTo>
                  <a:moveTo>
                    <a:pt x="141" y="1200"/>
                  </a:moveTo>
                  <a:cubicBezTo>
                    <a:pt x="125" y="1188"/>
                    <a:pt x="107" y="1177"/>
                    <a:pt x="89" y="1167"/>
                  </a:cubicBezTo>
                  <a:cubicBezTo>
                    <a:pt x="92" y="1147"/>
                    <a:pt x="95" y="1128"/>
                    <a:pt x="98" y="1108"/>
                  </a:cubicBezTo>
                  <a:cubicBezTo>
                    <a:pt x="116" y="1121"/>
                    <a:pt x="133" y="1135"/>
                    <a:pt x="149" y="1149"/>
                  </a:cubicBezTo>
                  <a:cubicBezTo>
                    <a:pt x="146" y="1166"/>
                    <a:pt x="144" y="1183"/>
                    <a:pt x="141" y="1200"/>
                  </a:cubicBezTo>
                  <a:moveTo>
                    <a:pt x="619" y="1127"/>
                  </a:moveTo>
                  <a:cubicBezTo>
                    <a:pt x="628" y="1120"/>
                    <a:pt x="638" y="1112"/>
                    <a:pt x="650" y="1102"/>
                  </a:cubicBezTo>
                  <a:cubicBezTo>
                    <a:pt x="653" y="1104"/>
                    <a:pt x="655" y="1107"/>
                    <a:pt x="656" y="1111"/>
                  </a:cubicBezTo>
                  <a:cubicBezTo>
                    <a:pt x="656" y="1111"/>
                    <a:pt x="656" y="1112"/>
                    <a:pt x="656" y="1112"/>
                  </a:cubicBezTo>
                  <a:cubicBezTo>
                    <a:pt x="642" y="1118"/>
                    <a:pt x="629" y="1123"/>
                    <a:pt x="619" y="1127"/>
                  </a:cubicBezTo>
                  <a:moveTo>
                    <a:pt x="434" y="1152"/>
                  </a:moveTo>
                  <a:cubicBezTo>
                    <a:pt x="419" y="1152"/>
                    <a:pt x="402" y="1151"/>
                    <a:pt x="385" y="1148"/>
                  </a:cubicBezTo>
                  <a:cubicBezTo>
                    <a:pt x="385" y="1147"/>
                    <a:pt x="385" y="1146"/>
                    <a:pt x="385" y="1145"/>
                  </a:cubicBezTo>
                  <a:cubicBezTo>
                    <a:pt x="385" y="1130"/>
                    <a:pt x="390" y="1115"/>
                    <a:pt x="399" y="1100"/>
                  </a:cubicBezTo>
                  <a:cubicBezTo>
                    <a:pt x="412" y="1109"/>
                    <a:pt x="426" y="1116"/>
                    <a:pt x="439" y="1121"/>
                  </a:cubicBezTo>
                  <a:cubicBezTo>
                    <a:pt x="436" y="1130"/>
                    <a:pt x="434" y="1139"/>
                    <a:pt x="434" y="1148"/>
                  </a:cubicBezTo>
                  <a:cubicBezTo>
                    <a:pt x="434" y="1149"/>
                    <a:pt x="434" y="1151"/>
                    <a:pt x="434" y="1152"/>
                  </a:cubicBezTo>
                  <a:moveTo>
                    <a:pt x="560" y="1107"/>
                  </a:moveTo>
                  <a:cubicBezTo>
                    <a:pt x="559" y="1105"/>
                    <a:pt x="557" y="1102"/>
                    <a:pt x="555" y="1100"/>
                  </a:cubicBezTo>
                  <a:cubicBezTo>
                    <a:pt x="556" y="1099"/>
                    <a:pt x="557" y="1099"/>
                    <a:pt x="557" y="1099"/>
                  </a:cubicBezTo>
                  <a:cubicBezTo>
                    <a:pt x="558" y="1102"/>
                    <a:pt x="559" y="1105"/>
                    <a:pt x="560" y="1107"/>
                  </a:cubicBezTo>
                  <a:moveTo>
                    <a:pt x="609" y="1120"/>
                  </a:moveTo>
                  <a:cubicBezTo>
                    <a:pt x="614" y="1112"/>
                    <a:pt x="621" y="1103"/>
                    <a:pt x="628" y="1091"/>
                  </a:cubicBezTo>
                  <a:cubicBezTo>
                    <a:pt x="632" y="1092"/>
                    <a:pt x="637" y="1093"/>
                    <a:pt x="640" y="1095"/>
                  </a:cubicBezTo>
                  <a:cubicBezTo>
                    <a:pt x="628" y="1105"/>
                    <a:pt x="617" y="1113"/>
                    <a:pt x="609" y="1120"/>
                  </a:cubicBezTo>
                  <a:moveTo>
                    <a:pt x="494" y="1127"/>
                  </a:moveTo>
                  <a:cubicBezTo>
                    <a:pt x="481" y="1125"/>
                    <a:pt x="468" y="1121"/>
                    <a:pt x="454" y="1115"/>
                  </a:cubicBezTo>
                  <a:cubicBezTo>
                    <a:pt x="459" y="1107"/>
                    <a:pt x="465" y="1098"/>
                    <a:pt x="473" y="1090"/>
                  </a:cubicBezTo>
                  <a:cubicBezTo>
                    <a:pt x="486" y="1099"/>
                    <a:pt x="498" y="1106"/>
                    <a:pt x="509" y="1112"/>
                  </a:cubicBezTo>
                  <a:cubicBezTo>
                    <a:pt x="503" y="1117"/>
                    <a:pt x="498" y="1122"/>
                    <a:pt x="494" y="1127"/>
                  </a:cubicBezTo>
                  <a:moveTo>
                    <a:pt x="596" y="1099"/>
                  </a:moveTo>
                  <a:cubicBezTo>
                    <a:pt x="596" y="1096"/>
                    <a:pt x="597" y="1093"/>
                    <a:pt x="597" y="1090"/>
                  </a:cubicBezTo>
                  <a:cubicBezTo>
                    <a:pt x="598" y="1090"/>
                    <a:pt x="599" y="1090"/>
                    <a:pt x="599" y="1090"/>
                  </a:cubicBezTo>
                  <a:cubicBezTo>
                    <a:pt x="598" y="1093"/>
                    <a:pt x="597" y="1096"/>
                    <a:pt x="596" y="1099"/>
                  </a:cubicBezTo>
                  <a:moveTo>
                    <a:pt x="606" y="1104"/>
                  </a:moveTo>
                  <a:cubicBezTo>
                    <a:pt x="607" y="1100"/>
                    <a:pt x="609" y="1095"/>
                    <a:pt x="612" y="1089"/>
                  </a:cubicBezTo>
                  <a:cubicBezTo>
                    <a:pt x="613" y="1089"/>
                    <a:pt x="614" y="1089"/>
                    <a:pt x="616" y="1090"/>
                  </a:cubicBezTo>
                  <a:cubicBezTo>
                    <a:pt x="612" y="1095"/>
                    <a:pt x="609" y="1100"/>
                    <a:pt x="606" y="1104"/>
                  </a:cubicBezTo>
                  <a:moveTo>
                    <a:pt x="247" y="1126"/>
                  </a:moveTo>
                  <a:cubicBezTo>
                    <a:pt x="240" y="1111"/>
                    <a:pt x="235" y="1098"/>
                    <a:pt x="231" y="1089"/>
                  </a:cubicBezTo>
                  <a:cubicBezTo>
                    <a:pt x="231" y="1088"/>
                    <a:pt x="231" y="1088"/>
                    <a:pt x="231" y="1087"/>
                  </a:cubicBezTo>
                  <a:cubicBezTo>
                    <a:pt x="236" y="1095"/>
                    <a:pt x="241" y="1105"/>
                    <a:pt x="247" y="1115"/>
                  </a:cubicBezTo>
                  <a:cubicBezTo>
                    <a:pt x="247" y="1119"/>
                    <a:pt x="247" y="1122"/>
                    <a:pt x="247" y="1126"/>
                  </a:cubicBezTo>
                  <a:moveTo>
                    <a:pt x="213" y="1199"/>
                  </a:moveTo>
                  <a:cubicBezTo>
                    <a:pt x="198" y="1181"/>
                    <a:pt x="180" y="1162"/>
                    <a:pt x="161" y="1144"/>
                  </a:cubicBezTo>
                  <a:cubicBezTo>
                    <a:pt x="164" y="1121"/>
                    <a:pt x="166" y="1097"/>
                    <a:pt x="168" y="1073"/>
                  </a:cubicBezTo>
                  <a:cubicBezTo>
                    <a:pt x="187" y="1091"/>
                    <a:pt x="205" y="1109"/>
                    <a:pt x="220" y="1127"/>
                  </a:cubicBezTo>
                  <a:cubicBezTo>
                    <a:pt x="219" y="1152"/>
                    <a:pt x="217" y="1176"/>
                    <a:pt x="213" y="1199"/>
                  </a:cubicBezTo>
                  <a:moveTo>
                    <a:pt x="79" y="1161"/>
                  </a:moveTo>
                  <a:cubicBezTo>
                    <a:pt x="64" y="1153"/>
                    <a:pt x="48" y="1145"/>
                    <a:pt x="32" y="1138"/>
                  </a:cubicBezTo>
                  <a:cubicBezTo>
                    <a:pt x="36" y="1117"/>
                    <a:pt x="40" y="1095"/>
                    <a:pt x="44" y="1073"/>
                  </a:cubicBezTo>
                  <a:cubicBezTo>
                    <a:pt x="59" y="1082"/>
                    <a:pt x="73" y="1091"/>
                    <a:pt x="88" y="1101"/>
                  </a:cubicBezTo>
                  <a:cubicBezTo>
                    <a:pt x="85" y="1121"/>
                    <a:pt x="82" y="1141"/>
                    <a:pt x="79" y="1161"/>
                  </a:cubicBezTo>
                  <a:moveTo>
                    <a:pt x="519" y="1105"/>
                  </a:moveTo>
                  <a:cubicBezTo>
                    <a:pt x="508" y="1099"/>
                    <a:pt x="495" y="1091"/>
                    <a:pt x="482" y="1082"/>
                  </a:cubicBezTo>
                  <a:cubicBezTo>
                    <a:pt x="487" y="1078"/>
                    <a:pt x="492" y="1074"/>
                    <a:pt x="498" y="1070"/>
                  </a:cubicBezTo>
                  <a:cubicBezTo>
                    <a:pt x="508" y="1081"/>
                    <a:pt x="518" y="1091"/>
                    <a:pt x="527" y="1100"/>
                  </a:cubicBezTo>
                  <a:cubicBezTo>
                    <a:pt x="524" y="1102"/>
                    <a:pt x="521" y="1103"/>
                    <a:pt x="519" y="1105"/>
                  </a:cubicBezTo>
                  <a:moveTo>
                    <a:pt x="374" y="1146"/>
                  </a:moveTo>
                  <a:cubicBezTo>
                    <a:pt x="361" y="1144"/>
                    <a:pt x="347" y="1141"/>
                    <a:pt x="332" y="1137"/>
                  </a:cubicBezTo>
                  <a:cubicBezTo>
                    <a:pt x="332" y="1134"/>
                    <a:pt x="332" y="1130"/>
                    <a:pt x="332" y="1127"/>
                  </a:cubicBezTo>
                  <a:cubicBezTo>
                    <a:pt x="332" y="1107"/>
                    <a:pt x="338" y="1086"/>
                    <a:pt x="352" y="1065"/>
                  </a:cubicBezTo>
                  <a:cubicBezTo>
                    <a:pt x="364" y="1076"/>
                    <a:pt x="377" y="1086"/>
                    <a:pt x="389" y="1094"/>
                  </a:cubicBezTo>
                  <a:cubicBezTo>
                    <a:pt x="379" y="1111"/>
                    <a:pt x="374" y="1128"/>
                    <a:pt x="374" y="1145"/>
                  </a:cubicBezTo>
                  <a:cubicBezTo>
                    <a:pt x="374" y="1145"/>
                    <a:pt x="374" y="1146"/>
                    <a:pt x="374" y="1146"/>
                  </a:cubicBezTo>
                  <a:moveTo>
                    <a:pt x="444" y="1111"/>
                  </a:moveTo>
                  <a:cubicBezTo>
                    <a:pt x="440" y="1110"/>
                    <a:pt x="436" y="1108"/>
                    <a:pt x="433" y="1106"/>
                  </a:cubicBezTo>
                  <a:cubicBezTo>
                    <a:pt x="424" y="1102"/>
                    <a:pt x="414" y="1097"/>
                    <a:pt x="405" y="1091"/>
                  </a:cubicBezTo>
                  <a:cubicBezTo>
                    <a:pt x="411" y="1081"/>
                    <a:pt x="419" y="1072"/>
                    <a:pt x="429" y="1062"/>
                  </a:cubicBezTo>
                  <a:cubicBezTo>
                    <a:pt x="430" y="1061"/>
                    <a:pt x="431" y="1060"/>
                    <a:pt x="433" y="1059"/>
                  </a:cubicBezTo>
                  <a:cubicBezTo>
                    <a:pt x="443" y="1068"/>
                    <a:pt x="454" y="1076"/>
                    <a:pt x="464" y="1084"/>
                  </a:cubicBezTo>
                  <a:cubicBezTo>
                    <a:pt x="456" y="1092"/>
                    <a:pt x="449" y="1102"/>
                    <a:pt x="444" y="1111"/>
                  </a:cubicBezTo>
                  <a:moveTo>
                    <a:pt x="537" y="1094"/>
                  </a:moveTo>
                  <a:cubicBezTo>
                    <a:pt x="528" y="1085"/>
                    <a:pt x="518" y="1075"/>
                    <a:pt x="507" y="1063"/>
                  </a:cubicBezTo>
                  <a:cubicBezTo>
                    <a:pt x="511" y="1061"/>
                    <a:pt x="514" y="1059"/>
                    <a:pt x="517" y="1057"/>
                  </a:cubicBezTo>
                  <a:cubicBezTo>
                    <a:pt x="525" y="1071"/>
                    <a:pt x="532" y="1084"/>
                    <a:pt x="538" y="1094"/>
                  </a:cubicBezTo>
                  <a:cubicBezTo>
                    <a:pt x="537" y="1094"/>
                    <a:pt x="537" y="1094"/>
                    <a:pt x="537" y="1094"/>
                  </a:cubicBezTo>
                  <a:moveTo>
                    <a:pt x="549" y="1089"/>
                  </a:moveTo>
                  <a:cubicBezTo>
                    <a:pt x="542" y="1079"/>
                    <a:pt x="535" y="1066"/>
                    <a:pt x="527" y="1052"/>
                  </a:cubicBezTo>
                  <a:cubicBezTo>
                    <a:pt x="531" y="1050"/>
                    <a:pt x="536" y="1047"/>
                    <a:pt x="540" y="1045"/>
                  </a:cubicBezTo>
                  <a:cubicBezTo>
                    <a:pt x="545" y="1061"/>
                    <a:pt x="550" y="1075"/>
                    <a:pt x="554" y="1088"/>
                  </a:cubicBezTo>
                  <a:cubicBezTo>
                    <a:pt x="552" y="1088"/>
                    <a:pt x="550" y="1089"/>
                    <a:pt x="549" y="1089"/>
                  </a:cubicBezTo>
                  <a:moveTo>
                    <a:pt x="564" y="1084"/>
                  </a:moveTo>
                  <a:cubicBezTo>
                    <a:pt x="560" y="1071"/>
                    <a:pt x="556" y="1057"/>
                    <a:pt x="551" y="1041"/>
                  </a:cubicBezTo>
                  <a:cubicBezTo>
                    <a:pt x="554" y="1040"/>
                    <a:pt x="557" y="1039"/>
                    <a:pt x="560" y="1038"/>
                  </a:cubicBezTo>
                  <a:cubicBezTo>
                    <a:pt x="561" y="1055"/>
                    <a:pt x="563" y="1071"/>
                    <a:pt x="565" y="1084"/>
                  </a:cubicBezTo>
                  <a:cubicBezTo>
                    <a:pt x="564" y="1084"/>
                    <a:pt x="564" y="1084"/>
                    <a:pt x="564" y="1084"/>
                  </a:cubicBezTo>
                  <a:moveTo>
                    <a:pt x="472" y="1075"/>
                  </a:moveTo>
                  <a:cubicBezTo>
                    <a:pt x="462" y="1068"/>
                    <a:pt x="452" y="1060"/>
                    <a:pt x="441" y="1051"/>
                  </a:cubicBezTo>
                  <a:cubicBezTo>
                    <a:pt x="449" y="1045"/>
                    <a:pt x="457" y="1039"/>
                    <a:pt x="465" y="1033"/>
                  </a:cubicBezTo>
                  <a:cubicBezTo>
                    <a:pt x="474" y="1043"/>
                    <a:pt x="482" y="1052"/>
                    <a:pt x="490" y="1061"/>
                  </a:cubicBezTo>
                  <a:cubicBezTo>
                    <a:pt x="484" y="1065"/>
                    <a:pt x="478" y="1070"/>
                    <a:pt x="472" y="1075"/>
                  </a:cubicBezTo>
                  <a:moveTo>
                    <a:pt x="575" y="1073"/>
                  </a:moveTo>
                  <a:cubicBezTo>
                    <a:pt x="573" y="1062"/>
                    <a:pt x="572" y="1048"/>
                    <a:pt x="570" y="1034"/>
                  </a:cubicBezTo>
                  <a:cubicBezTo>
                    <a:pt x="572" y="1033"/>
                    <a:pt x="574" y="1033"/>
                    <a:pt x="576" y="1032"/>
                  </a:cubicBezTo>
                  <a:cubicBezTo>
                    <a:pt x="575" y="1048"/>
                    <a:pt x="575" y="1061"/>
                    <a:pt x="575" y="1073"/>
                  </a:cubicBezTo>
                  <a:moveTo>
                    <a:pt x="321" y="1134"/>
                  </a:moveTo>
                  <a:cubicBezTo>
                    <a:pt x="320" y="1134"/>
                    <a:pt x="320" y="1134"/>
                    <a:pt x="320" y="1134"/>
                  </a:cubicBezTo>
                  <a:cubicBezTo>
                    <a:pt x="315" y="1129"/>
                    <a:pt x="309" y="1123"/>
                    <a:pt x="303" y="1117"/>
                  </a:cubicBezTo>
                  <a:cubicBezTo>
                    <a:pt x="306" y="1117"/>
                    <a:pt x="306" y="1117"/>
                    <a:pt x="306" y="1117"/>
                  </a:cubicBezTo>
                  <a:cubicBezTo>
                    <a:pt x="306" y="1117"/>
                    <a:pt x="306" y="1115"/>
                    <a:pt x="306" y="1112"/>
                  </a:cubicBezTo>
                  <a:cubicBezTo>
                    <a:pt x="306" y="1100"/>
                    <a:pt x="307" y="1068"/>
                    <a:pt x="317" y="1030"/>
                  </a:cubicBezTo>
                  <a:cubicBezTo>
                    <a:pt x="326" y="1040"/>
                    <a:pt x="334" y="1049"/>
                    <a:pt x="343" y="1057"/>
                  </a:cubicBezTo>
                  <a:cubicBezTo>
                    <a:pt x="328" y="1081"/>
                    <a:pt x="320" y="1105"/>
                    <a:pt x="320" y="1127"/>
                  </a:cubicBezTo>
                  <a:cubicBezTo>
                    <a:pt x="320" y="1129"/>
                    <a:pt x="320" y="1132"/>
                    <a:pt x="321" y="1134"/>
                  </a:cubicBezTo>
                  <a:moveTo>
                    <a:pt x="586" y="1079"/>
                  </a:moveTo>
                  <a:cubicBezTo>
                    <a:pt x="586" y="1065"/>
                    <a:pt x="586" y="1048"/>
                    <a:pt x="587" y="1029"/>
                  </a:cubicBezTo>
                  <a:cubicBezTo>
                    <a:pt x="591" y="1028"/>
                    <a:pt x="594" y="1028"/>
                    <a:pt x="598" y="1027"/>
                  </a:cubicBezTo>
                  <a:cubicBezTo>
                    <a:pt x="594" y="1047"/>
                    <a:pt x="591" y="1064"/>
                    <a:pt x="588" y="1079"/>
                  </a:cubicBezTo>
                  <a:cubicBezTo>
                    <a:pt x="588" y="1079"/>
                    <a:pt x="587" y="1079"/>
                    <a:pt x="587" y="1079"/>
                  </a:cubicBezTo>
                  <a:cubicBezTo>
                    <a:pt x="586" y="1079"/>
                    <a:pt x="586" y="1079"/>
                    <a:pt x="586" y="1079"/>
                  </a:cubicBezTo>
                  <a:moveTo>
                    <a:pt x="247" y="1092"/>
                  </a:moveTo>
                  <a:cubicBezTo>
                    <a:pt x="239" y="1079"/>
                    <a:pt x="233" y="1068"/>
                    <a:pt x="229" y="1061"/>
                  </a:cubicBezTo>
                  <a:cubicBezTo>
                    <a:pt x="227" y="1049"/>
                    <a:pt x="225" y="1036"/>
                    <a:pt x="223" y="1024"/>
                  </a:cubicBezTo>
                  <a:cubicBezTo>
                    <a:pt x="230" y="1036"/>
                    <a:pt x="237" y="1049"/>
                    <a:pt x="245" y="1062"/>
                  </a:cubicBezTo>
                  <a:cubicBezTo>
                    <a:pt x="246" y="1064"/>
                    <a:pt x="246" y="1065"/>
                    <a:pt x="246" y="1066"/>
                  </a:cubicBezTo>
                  <a:cubicBezTo>
                    <a:pt x="248" y="1065"/>
                    <a:pt x="248" y="1065"/>
                    <a:pt x="248" y="1065"/>
                  </a:cubicBezTo>
                  <a:cubicBezTo>
                    <a:pt x="249" y="1067"/>
                    <a:pt x="250" y="1068"/>
                    <a:pt x="250" y="1069"/>
                  </a:cubicBezTo>
                  <a:cubicBezTo>
                    <a:pt x="247" y="1069"/>
                    <a:pt x="247" y="1069"/>
                    <a:pt x="247" y="1069"/>
                  </a:cubicBezTo>
                  <a:cubicBezTo>
                    <a:pt x="247" y="1077"/>
                    <a:pt x="247" y="1085"/>
                    <a:pt x="247" y="1092"/>
                  </a:cubicBezTo>
                  <a:moveTo>
                    <a:pt x="600" y="1078"/>
                  </a:moveTo>
                  <a:cubicBezTo>
                    <a:pt x="603" y="1062"/>
                    <a:pt x="606" y="1045"/>
                    <a:pt x="610" y="1024"/>
                  </a:cubicBezTo>
                  <a:cubicBezTo>
                    <a:pt x="610" y="1024"/>
                    <a:pt x="610" y="1024"/>
                    <a:pt x="610" y="1024"/>
                  </a:cubicBezTo>
                  <a:cubicBezTo>
                    <a:pt x="615" y="1024"/>
                    <a:pt x="621" y="1023"/>
                    <a:pt x="626" y="1023"/>
                  </a:cubicBezTo>
                  <a:cubicBezTo>
                    <a:pt x="618" y="1044"/>
                    <a:pt x="611" y="1062"/>
                    <a:pt x="604" y="1077"/>
                  </a:cubicBezTo>
                  <a:cubicBezTo>
                    <a:pt x="603" y="1077"/>
                    <a:pt x="601" y="1078"/>
                    <a:pt x="600" y="1078"/>
                  </a:cubicBezTo>
                  <a:moveTo>
                    <a:pt x="150" y="1135"/>
                  </a:moveTo>
                  <a:cubicBezTo>
                    <a:pt x="134" y="1121"/>
                    <a:pt x="117" y="1108"/>
                    <a:pt x="99" y="1095"/>
                  </a:cubicBezTo>
                  <a:cubicBezTo>
                    <a:pt x="103" y="1071"/>
                    <a:pt x="105" y="1046"/>
                    <a:pt x="107" y="1022"/>
                  </a:cubicBezTo>
                  <a:cubicBezTo>
                    <a:pt x="124" y="1035"/>
                    <a:pt x="142" y="1049"/>
                    <a:pt x="158" y="1064"/>
                  </a:cubicBezTo>
                  <a:cubicBezTo>
                    <a:pt x="156" y="1088"/>
                    <a:pt x="154" y="1112"/>
                    <a:pt x="150" y="1135"/>
                  </a:cubicBezTo>
                  <a:moveTo>
                    <a:pt x="623" y="1078"/>
                  </a:moveTo>
                  <a:cubicBezTo>
                    <a:pt x="621" y="1078"/>
                    <a:pt x="619" y="1078"/>
                    <a:pt x="616" y="1077"/>
                  </a:cubicBezTo>
                  <a:cubicBezTo>
                    <a:pt x="623" y="1062"/>
                    <a:pt x="630" y="1043"/>
                    <a:pt x="638" y="1022"/>
                  </a:cubicBezTo>
                  <a:cubicBezTo>
                    <a:pt x="640" y="1022"/>
                    <a:pt x="643" y="1022"/>
                    <a:pt x="645" y="1022"/>
                  </a:cubicBezTo>
                  <a:cubicBezTo>
                    <a:pt x="650" y="1022"/>
                    <a:pt x="654" y="1022"/>
                    <a:pt x="658" y="1022"/>
                  </a:cubicBezTo>
                  <a:cubicBezTo>
                    <a:pt x="645" y="1044"/>
                    <a:pt x="633" y="1063"/>
                    <a:pt x="623" y="1078"/>
                  </a:cubicBezTo>
                  <a:moveTo>
                    <a:pt x="395" y="1085"/>
                  </a:moveTo>
                  <a:cubicBezTo>
                    <a:pt x="383" y="1076"/>
                    <a:pt x="371" y="1067"/>
                    <a:pt x="358" y="1055"/>
                  </a:cubicBezTo>
                  <a:cubicBezTo>
                    <a:pt x="366" y="1043"/>
                    <a:pt x="377" y="1031"/>
                    <a:pt x="390" y="1018"/>
                  </a:cubicBezTo>
                  <a:cubicBezTo>
                    <a:pt x="401" y="1030"/>
                    <a:pt x="412" y="1041"/>
                    <a:pt x="424" y="1051"/>
                  </a:cubicBezTo>
                  <a:cubicBezTo>
                    <a:pt x="423" y="1052"/>
                    <a:pt x="422" y="1053"/>
                    <a:pt x="421" y="1054"/>
                  </a:cubicBezTo>
                  <a:cubicBezTo>
                    <a:pt x="411" y="1064"/>
                    <a:pt x="402" y="1074"/>
                    <a:pt x="395" y="1085"/>
                  </a:cubicBezTo>
                  <a:moveTo>
                    <a:pt x="499" y="1054"/>
                  </a:moveTo>
                  <a:cubicBezTo>
                    <a:pt x="491" y="1045"/>
                    <a:pt x="483" y="1036"/>
                    <a:pt x="475" y="1026"/>
                  </a:cubicBezTo>
                  <a:cubicBezTo>
                    <a:pt x="481" y="1022"/>
                    <a:pt x="488" y="1018"/>
                    <a:pt x="495" y="1014"/>
                  </a:cubicBezTo>
                  <a:cubicBezTo>
                    <a:pt x="500" y="1026"/>
                    <a:pt x="506" y="1037"/>
                    <a:pt x="511" y="1047"/>
                  </a:cubicBezTo>
                  <a:cubicBezTo>
                    <a:pt x="507" y="1049"/>
                    <a:pt x="503" y="1052"/>
                    <a:pt x="499" y="1054"/>
                  </a:cubicBezTo>
                  <a:moveTo>
                    <a:pt x="521" y="1041"/>
                  </a:moveTo>
                  <a:cubicBezTo>
                    <a:pt x="516" y="1031"/>
                    <a:pt x="510" y="1020"/>
                    <a:pt x="505" y="1009"/>
                  </a:cubicBezTo>
                  <a:cubicBezTo>
                    <a:pt x="512" y="1005"/>
                    <a:pt x="519" y="1001"/>
                    <a:pt x="526" y="998"/>
                  </a:cubicBezTo>
                  <a:cubicBezTo>
                    <a:pt x="530" y="1010"/>
                    <a:pt x="533" y="1023"/>
                    <a:pt x="537" y="1034"/>
                  </a:cubicBezTo>
                  <a:cubicBezTo>
                    <a:pt x="531" y="1036"/>
                    <a:pt x="526" y="1039"/>
                    <a:pt x="521" y="1041"/>
                  </a:cubicBezTo>
                  <a:moveTo>
                    <a:pt x="220" y="1110"/>
                  </a:moveTo>
                  <a:cubicBezTo>
                    <a:pt x="205" y="1093"/>
                    <a:pt x="188" y="1076"/>
                    <a:pt x="169" y="1059"/>
                  </a:cubicBezTo>
                  <a:cubicBezTo>
                    <a:pt x="170" y="1043"/>
                    <a:pt x="170" y="1027"/>
                    <a:pt x="170" y="1012"/>
                  </a:cubicBezTo>
                  <a:cubicBezTo>
                    <a:pt x="170" y="1006"/>
                    <a:pt x="170" y="1000"/>
                    <a:pt x="170" y="995"/>
                  </a:cubicBezTo>
                  <a:cubicBezTo>
                    <a:pt x="185" y="1009"/>
                    <a:pt x="199" y="1025"/>
                    <a:pt x="213" y="1042"/>
                  </a:cubicBezTo>
                  <a:cubicBezTo>
                    <a:pt x="215" y="1040"/>
                    <a:pt x="215" y="1040"/>
                    <a:pt x="215" y="1040"/>
                  </a:cubicBezTo>
                  <a:cubicBezTo>
                    <a:pt x="216" y="1046"/>
                    <a:pt x="216" y="1052"/>
                    <a:pt x="217" y="1058"/>
                  </a:cubicBezTo>
                  <a:cubicBezTo>
                    <a:pt x="215" y="1059"/>
                    <a:pt x="215" y="1059"/>
                    <a:pt x="215" y="1059"/>
                  </a:cubicBezTo>
                  <a:cubicBezTo>
                    <a:pt x="215" y="1059"/>
                    <a:pt x="216" y="1061"/>
                    <a:pt x="218" y="1065"/>
                  </a:cubicBezTo>
                  <a:cubicBezTo>
                    <a:pt x="218" y="1069"/>
                    <a:pt x="218" y="1073"/>
                    <a:pt x="219" y="1078"/>
                  </a:cubicBezTo>
                  <a:cubicBezTo>
                    <a:pt x="214" y="1080"/>
                    <a:pt x="214" y="1080"/>
                    <a:pt x="214" y="1080"/>
                  </a:cubicBezTo>
                  <a:cubicBezTo>
                    <a:pt x="214" y="1080"/>
                    <a:pt x="216" y="1085"/>
                    <a:pt x="220" y="1092"/>
                  </a:cubicBezTo>
                  <a:cubicBezTo>
                    <a:pt x="220" y="1098"/>
                    <a:pt x="220" y="1104"/>
                    <a:pt x="220" y="1110"/>
                  </a:cubicBezTo>
                  <a:moveTo>
                    <a:pt x="295" y="1107"/>
                  </a:moveTo>
                  <a:cubicBezTo>
                    <a:pt x="292" y="1104"/>
                    <a:pt x="289" y="1101"/>
                    <a:pt x="286" y="1098"/>
                  </a:cubicBezTo>
                  <a:cubicBezTo>
                    <a:pt x="285" y="1091"/>
                    <a:pt x="282" y="1072"/>
                    <a:pt x="282" y="1045"/>
                  </a:cubicBezTo>
                  <a:cubicBezTo>
                    <a:pt x="282" y="1029"/>
                    <a:pt x="283" y="1011"/>
                    <a:pt x="286" y="991"/>
                  </a:cubicBezTo>
                  <a:cubicBezTo>
                    <a:pt x="293" y="1001"/>
                    <a:pt x="301" y="1011"/>
                    <a:pt x="309" y="1020"/>
                  </a:cubicBezTo>
                  <a:cubicBezTo>
                    <a:pt x="297" y="1058"/>
                    <a:pt x="295" y="1091"/>
                    <a:pt x="295" y="1107"/>
                  </a:cubicBezTo>
                  <a:moveTo>
                    <a:pt x="89" y="1088"/>
                  </a:moveTo>
                  <a:cubicBezTo>
                    <a:pt x="75" y="1078"/>
                    <a:pt x="60" y="1069"/>
                    <a:pt x="46" y="1060"/>
                  </a:cubicBezTo>
                  <a:cubicBezTo>
                    <a:pt x="49" y="1036"/>
                    <a:pt x="53" y="1011"/>
                    <a:pt x="56" y="986"/>
                  </a:cubicBezTo>
                  <a:cubicBezTo>
                    <a:pt x="69" y="995"/>
                    <a:pt x="83" y="1004"/>
                    <a:pt x="96" y="1014"/>
                  </a:cubicBezTo>
                  <a:cubicBezTo>
                    <a:pt x="95" y="1039"/>
                    <a:pt x="92" y="1063"/>
                    <a:pt x="89" y="1088"/>
                  </a:cubicBezTo>
                  <a:moveTo>
                    <a:pt x="547" y="1029"/>
                  </a:moveTo>
                  <a:cubicBezTo>
                    <a:pt x="544" y="1018"/>
                    <a:pt x="540" y="1006"/>
                    <a:pt x="537" y="993"/>
                  </a:cubicBezTo>
                  <a:cubicBezTo>
                    <a:pt x="543" y="991"/>
                    <a:pt x="548" y="988"/>
                    <a:pt x="554" y="986"/>
                  </a:cubicBezTo>
                  <a:cubicBezTo>
                    <a:pt x="556" y="1000"/>
                    <a:pt x="557" y="1013"/>
                    <a:pt x="558" y="1025"/>
                  </a:cubicBezTo>
                  <a:cubicBezTo>
                    <a:pt x="555" y="1027"/>
                    <a:pt x="551" y="1028"/>
                    <a:pt x="547" y="1029"/>
                  </a:cubicBezTo>
                  <a:moveTo>
                    <a:pt x="432" y="1044"/>
                  </a:moveTo>
                  <a:cubicBezTo>
                    <a:pt x="421" y="1034"/>
                    <a:pt x="410" y="1022"/>
                    <a:pt x="398" y="1010"/>
                  </a:cubicBezTo>
                  <a:cubicBezTo>
                    <a:pt x="408" y="1002"/>
                    <a:pt x="418" y="993"/>
                    <a:pt x="429" y="985"/>
                  </a:cubicBezTo>
                  <a:cubicBezTo>
                    <a:pt x="438" y="999"/>
                    <a:pt x="448" y="1011"/>
                    <a:pt x="458" y="1023"/>
                  </a:cubicBezTo>
                  <a:cubicBezTo>
                    <a:pt x="449" y="1030"/>
                    <a:pt x="440" y="1037"/>
                    <a:pt x="432" y="1044"/>
                  </a:cubicBezTo>
                  <a:moveTo>
                    <a:pt x="569" y="1022"/>
                  </a:moveTo>
                  <a:cubicBezTo>
                    <a:pt x="568" y="1009"/>
                    <a:pt x="567" y="996"/>
                    <a:pt x="565" y="982"/>
                  </a:cubicBezTo>
                  <a:cubicBezTo>
                    <a:pt x="569" y="981"/>
                    <a:pt x="573" y="979"/>
                    <a:pt x="577" y="978"/>
                  </a:cubicBezTo>
                  <a:cubicBezTo>
                    <a:pt x="576" y="993"/>
                    <a:pt x="576" y="1007"/>
                    <a:pt x="576" y="1020"/>
                  </a:cubicBezTo>
                  <a:cubicBezTo>
                    <a:pt x="574" y="1021"/>
                    <a:pt x="571" y="1021"/>
                    <a:pt x="569" y="1022"/>
                  </a:cubicBezTo>
                  <a:moveTo>
                    <a:pt x="587" y="1017"/>
                  </a:moveTo>
                  <a:cubicBezTo>
                    <a:pt x="587" y="1004"/>
                    <a:pt x="588" y="989"/>
                    <a:pt x="588" y="974"/>
                  </a:cubicBezTo>
                  <a:cubicBezTo>
                    <a:pt x="595" y="972"/>
                    <a:pt x="602" y="970"/>
                    <a:pt x="608" y="969"/>
                  </a:cubicBezTo>
                  <a:cubicBezTo>
                    <a:pt x="606" y="985"/>
                    <a:pt x="603" y="1000"/>
                    <a:pt x="600" y="1014"/>
                  </a:cubicBezTo>
                  <a:cubicBezTo>
                    <a:pt x="596" y="1015"/>
                    <a:pt x="591" y="1016"/>
                    <a:pt x="587" y="1017"/>
                  </a:cubicBezTo>
                  <a:moveTo>
                    <a:pt x="698" y="965"/>
                  </a:moveTo>
                  <a:cubicBezTo>
                    <a:pt x="691" y="965"/>
                    <a:pt x="691" y="965"/>
                    <a:pt x="691" y="965"/>
                  </a:cubicBezTo>
                  <a:cubicBezTo>
                    <a:pt x="682" y="981"/>
                    <a:pt x="674" y="997"/>
                    <a:pt x="665" y="1011"/>
                  </a:cubicBezTo>
                  <a:cubicBezTo>
                    <a:pt x="659" y="1010"/>
                    <a:pt x="652" y="1010"/>
                    <a:pt x="645" y="1010"/>
                  </a:cubicBezTo>
                  <a:cubicBezTo>
                    <a:pt x="644" y="1010"/>
                    <a:pt x="643" y="1010"/>
                    <a:pt x="643" y="1010"/>
                  </a:cubicBezTo>
                  <a:cubicBezTo>
                    <a:pt x="648" y="996"/>
                    <a:pt x="653" y="981"/>
                    <a:pt x="659" y="965"/>
                  </a:cubicBezTo>
                  <a:cubicBezTo>
                    <a:pt x="647" y="965"/>
                    <a:pt x="647" y="965"/>
                    <a:pt x="647" y="965"/>
                  </a:cubicBezTo>
                  <a:cubicBezTo>
                    <a:pt x="641" y="981"/>
                    <a:pt x="636" y="996"/>
                    <a:pt x="630" y="1010"/>
                  </a:cubicBezTo>
                  <a:cubicBezTo>
                    <a:pt x="624" y="1011"/>
                    <a:pt x="618" y="1011"/>
                    <a:pt x="612" y="1012"/>
                  </a:cubicBezTo>
                  <a:cubicBezTo>
                    <a:pt x="615" y="998"/>
                    <a:pt x="617" y="982"/>
                    <a:pt x="620" y="966"/>
                  </a:cubicBezTo>
                  <a:cubicBezTo>
                    <a:pt x="621" y="966"/>
                    <a:pt x="622" y="965"/>
                    <a:pt x="623" y="965"/>
                  </a:cubicBezTo>
                  <a:cubicBezTo>
                    <a:pt x="577" y="965"/>
                    <a:pt x="577" y="965"/>
                    <a:pt x="577" y="965"/>
                  </a:cubicBezTo>
                  <a:cubicBezTo>
                    <a:pt x="576" y="965"/>
                    <a:pt x="576" y="966"/>
                    <a:pt x="575" y="966"/>
                  </a:cubicBezTo>
                  <a:cubicBezTo>
                    <a:pt x="571" y="967"/>
                    <a:pt x="568" y="968"/>
                    <a:pt x="564" y="970"/>
                  </a:cubicBezTo>
                  <a:cubicBezTo>
                    <a:pt x="564" y="968"/>
                    <a:pt x="564" y="967"/>
                    <a:pt x="564" y="965"/>
                  </a:cubicBezTo>
                  <a:cubicBezTo>
                    <a:pt x="552" y="965"/>
                    <a:pt x="552" y="965"/>
                    <a:pt x="552" y="965"/>
                  </a:cubicBezTo>
                  <a:cubicBezTo>
                    <a:pt x="553" y="968"/>
                    <a:pt x="553" y="971"/>
                    <a:pt x="553" y="974"/>
                  </a:cubicBezTo>
                  <a:cubicBezTo>
                    <a:pt x="547" y="976"/>
                    <a:pt x="540" y="979"/>
                    <a:pt x="533" y="982"/>
                  </a:cubicBezTo>
                  <a:cubicBezTo>
                    <a:pt x="532" y="976"/>
                    <a:pt x="531" y="971"/>
                    <a:pt x="529" y="965"/>
                  </a:cubicBezTo>
                  <a:cubicBezTo>
                    <a:pt x="517" y="965"/>
                    <a:pt x="517" y="965"/>
                    <a:pt x="517" y="965"/>
                  </a:cubicBezTo>
                  <a:cubicBezTo>
                    <a:pt x="519" y="972"/>
                    <a:pt x="521" y="979"/>
                    <a:pt x="523" y="986"/>
                  </a:cubicBezTo>
                  <a:cubicBezTo>
                    <a:pt x="515" y="990"/>
                    <a:pt x="507" y="994"/>
                    <a:pt x="499" y="998"/>
                  </a:cubicBezTo>
                  <a:cubicBezTo>
                    <a:pt x="495" y="988"/>
                    <a:pt x="490" y="977"/>
                    <a:pt x="485" y="965"/>
                  </a:cubicBezTo>
                  <a:cubicBezTo>
                    <a:pt x="472" y="965"/>
                    <a:pt x="472" y="965"/>
                    <a:pt x="472" y="965"/>
                  </a:cubicBezTo>
                  <a:cubicBezTo>
                    <a:pt x="478" y="979"/>
                    <a:pt x="484" y="991"/>
                    <a:pt x="489" y="1003"/>
                  </a:cubicBezTo>
                  <a:cubicBezTo>
                    <a:pt x="482" y="1008"/>
                    <a:pt x="474" y="1012"/>
                    <a:pt x="467" y="1017"/>
                  </a:cubicBezTo>
                  <a:cubicBezTo>
                    <a:pt x="458" y="1005"/>
                    <a:pt x="448" y="992"/>
                    <a:pt x="438" y="979"/>
                  </a:cubicBezTo>
                  <a:cubicBezTo>
                    <a:pt x="444" y="974"/>
                    <a:pt x="451" y="970"/>
                    <a:pt x="458" y="965"/>
                  </a:cubicBezTo>
                  <a:cubicBezTo>
                    <a:pt x="436" y="965"/>
                    <a:pt x="436" y="965"/>
                    <a:pt x="436" y="965"/>
                  </a:cubicBezTo>
                  <a:cubicBezTo>
                    <a:pt x="435" y="967"/>
                    <a:pt x="433" y="968"/>
                    <a:pt x="431" y="969"/>
                  </a:cubicBezTo>
                  <a:cubicBezTo>
                    <a:pt x="430" y="968"/>
                    <a:pt x="429" y="967"/>
                    <a:pt x="428" y="965"/>
                  </a:cubicBezTo>
                  <a:cubicBezTo>
                    <a:pt x="414" y="965"/>
                    <a:pt x="414" y="965"/>
                    <a:pt x="414" y="965"/>
                  </a:cubicBezTo>
                  <a:cubicBezTo>
                    <a:pt x="417" y="969"/>
                    <a:pt x="419" y="972"/>
                    <a:pt x="422" y="976"/>
                  </a:cubicBezTo>
                  <a:cubicBezTo>
                    <a:pt x="411" y="984"/>
                    <a:pt x="400" y="993"/>
                    <a:pt x="390" y="1002"/>
                  </a:cubicBezTo>
                  <a:cubicBezTo>
                    <a:pt x="380" y="991"/>
                    <a:pt x="370" y="978"/>
                    <a:pt x="361" y="965"/>
                  </a:cubicBezTo>
                  <a:cubicBezTo>
                    <a:pt x="346" y="965"/>
                    <a:pt x="346" y="965"/>
                    <a:pt x="346" y="965"/>
                  </a:cubicBezTo>
                  <a:cubicBezTo>
                    <a:pt x="358" y="981"/>
                    <a:pt x="370" y="996"/>
                    <a:pt x="382" y="1010"/>
                  </a:cubicBezTo>
                  <a:cubicBezTo>
                    <a:pt x="369" y="1022"/>
                    <a:pt x="358" y="1035"/>
                    <a:pt x="349" y="1048"/>
                  </a:cubicBezTo>
                  <a:cubicBezTo>
                    <a:pt x="340" y="1039"/>
                    <a:pt x="331" y="1029"/>
                    <a:pt x="321" y="1018"/>
                  </a:cubicBezTo>
                  <a:cubicBezTo>
                    <a:pt x="327" y="1000"/>
                    <a:pt x="334" y="983"/>
                    <a:pt x="344" y="965"/>
                  </a:cubicBezTo>
                  <a:cubicBezTo>
                    <a:pt x="331" y="965"/>
                    <a:pt x="331" y="965"/>
                    <a:pt x="331" y="965"/>
                  </a:cubicBezTo>
                  <a:cubicBezTo>
                    <a:pt x="323" y="979"/>
                    <a:pt x="317" y="994"/>
                    <a:pt x="313" y="1007"/>
                  </a:cubicBezTo>
                  <a:cubicBezTo>
                    <a:pt x="305" y="997"/>
                    <a:pt x="297" y="986"/>
                    <a:pt x="289" y="975"/>
                  </a:cubicBezTo>
                  <a:cubicBezTo>
                    <a:pt x="289" y="972"/>
                    <a:pt x="290" y="968"/>
                    <a:pt x="291" y="965"/>
                  </a:cubicBezTo>
                  <a:cubicBezTo>
                    <a:pt x="269" y="965"/>
                    <a:pt x="269" y="965"/>
                    <a:pt x="269" y="965"/>
                  </a:cubicBezTo>
                  <a:cubicBezTo>
                    <a:pt x="272" y="970"/>
                    <a:pt x="275" y="974"/>
                    <a:pt x="278" y="979"/>
                  </a:cubicBezTo>
                  <a:cubicBezTo>
                    <a:pt x="273" y="1005"/>
                    <a:pt x="272" y="1029"/>
                    <a:pt x="272" y="1049"/>
                  </a:cubicBezTo>
                  <a:cubicBezTo>
                    <a:pt x="272" y="1062"/>
                    <a:pt x="272" y="1072"/>
                    <a:pt x="273" y="1081"/>
                  </a:cubicBezTo>
                  <a:cubicBezTo>
                    <a:pt x="267" y="1073"/>
                    <a:pt x="261" y="1065"/>
                    <a:pt x="256" y="1057"/>
                  </a:cubicBezTo>
                  <a:cubicBezTo>
                    <a:pt x="254" y="1047"/>
                    <a:pt x="251" y="1026"/>
                    <a:pt x="251" y="998"/>
                  </a:cubicBezTo>
                  <a:cubicBezTo>
                    <a:pt x="251" y="987"/>
                    <a:pt x="252" y="977"/>
                    <a:pt x="253" y="965"/>
                  </a:cubicBezTo>
                  <a:cubicBezTo>
                    <a:pt x="241" y="965"/>
                    <a:pt x="241" y="965"/>
                    <a:pt x="241" y="965"/>
                  </a:cubicBezTo>
                  <a:cubicBezTo>
                    <a:pt x="240" y="976"/>
                    <a:pt x="240" y="987"/>
                    <a:pt x="240" y="997"/>
                  </a:cubicBezTo>
                  <a:cubicBezTo>
                    <a:pt x="240" y="1011"/>
                    <a:pt x="241" y="1024"/>
                    <a:pt x="242" y="1034"/>
                  </a:cubicBezTo>
                  <a:cubicBezTo>
                    <a:pt x="231" y="1016"/>
                    <a:pt x="222" y="998"/>
                    <a:pt x="216" y="980"/>
                  </a:cubicBezTo>
                  <a:cubicBezTo>
                    <a:pt x="216" y="978"/>
                    <a:pt x="216" y="973"/>
                    <a:pt x="217" y="965"/>
                  </a:cubicBezTo>
                  <a:cubicBezTo>
                    <a:pt x="198" y="965"/>
                    <a:pt x="198" y="965"/>
                    <a:pt x="198" y="965"/>
                  </a:cubicBezTo>
                  <a:cubicBezTo>
                    <a:pt x="198" y="966"/>
                    <a:pt x="198" y="967"/>
                    <a:pt x="198" y="969"/>
                  </a:cubicBezTo>
                  <a:cubicBezTo>
                    <a:pt x="200" y="982"/>
                    <a:pt x="202" y="995"/>
                    <a:pt x="205" y="1009"/>
                  </a:cubicBezTo>
                  <a:cubicBezTo>
                    <a:pt x="209" y="1008"/>
                    <a:pt x="209" y="1008"/>
                    <a:pt x="209" y="1008"/>
                  </a:cubicBezTo>
                  <a:cubicBezTo>
                    <a:pt x="210" y="1013"/>
                    <a:pt x="211" y="1018"/>
                    <a:pt x="212" y="1023"/>
                  </a:cubicBezTo>
                  <a:cubicBezTo>
                    <a:pt x="198" y="1007"/>
                    <a:pt x="184" y="992"/>
                    <a:pt x="170" y="978"/>
                  </a:cubicBezTo>
                  <a:cubicBezTo>
                    <a:pt x="170" y="974"/>
                    <a:pt x="169" y="969"/>
                    <a:pt x="169" y="965"/>
                  </a:cubicBezTo>
                  <a:cubicBezTo>
                    <a:pt x="158" y="965"/>
                    <a:pt x="158" y="965"/>
                    <a:pt x="158" y="965"/>
                  </a:cubicBezTo>
                  <a:cubicBezTo>
                    <a:pt x="158" y="966"/>
                    <a:pt x="158" y="966"/>
                    <a:pt x="158" y="967"/>
                  </a:cubicBezTo>
                  <a:cubicBezTo>
                    <a:pt x="157" y="966"/>
                    <a:pt x="157" y="966"/>
                    <a:pt x="156" y="965"/>
                  </a:cubicBezTo>
                  <a:cubicBezTo>
                    <a:pt x="139" y="965"/>
                    <a:pt x="139" y="965"/>
                    <a:pt x="139" y="965"/>
                  </a:cubicBezTo>
                  <a:cubicBezTo>
                    <a:pt x="146" y="971"/>
                    <a:pt x="152" y="977"/>
                    <a:pt x="159" y="983"/>
                  </a:cubicBezTo>
                  <a:cubicBezTo>
                    <a:pt x="159" y="992"/>
                    <a:pt x="159" y="1001"/>
                    <a:pt x="159" y="1009"/>
                  </a:cubicBezTo>
                  <a:cubicBezTo>
                    <a:pt x="159" y="1023"/>
                    <a:pt x="159" y="1036"/>
                    <a:pt x="158" y="1049"/>
                  </a:cubicBezTo>
                  <a:cubicBezTo>
                    <a:pt x="142" y="1035"/>
                    <a:pt x="125" y="1021"/>
                    <a:pt x="108" y="1008"/>
                  </a:cubicBezTo>
                  <a:cubicBezTo>
                    <a:pt x="109" y="994"/>
                    <a:pt x="109" y="980"/>
                    <a:pt x="109" y="965"/>
                  </a:cubicBezTo>
                  <a:cubicBezTo>
                    <a:pt x="98" y="965"/>
                    <a:pt x="98" y="965"/>
                    <a:pt x="98" y="965"/>
                  </a:cubicBezTo>
                  <a:cubicBezTo>
                    <a:pt x="98" y="977"/>
                    <a:pt x="97" y="989"/>
                    <a:pt x="97" y="1000"/>
                  </a:cubicBezTo>
                  <a:cubicBezTo>
                    <a:pt x="84" y="991"/>
                    <a:pt x="70" y="982"/>
                    <a:pt x="57" y="973"/>
                  </a:cubicBezTo>
                  <a:cubicBezTo>
                    <a:pt x="57" y="970"/>
                    <a:pt x="57" y="968"/>
                    <a:pt x="58" y="965"/>
                  </a:cubicBezTo>
                  <a:cubicBezTo>
                    <a:pt x="46" y="965"/>
                    <a:pt x="46" y="965"/>
                    <a:pt x="46" y="965"/>
                  </a:cubicBezTo>
                  <a:cubicBezTo>
                    <a:pt x="46" y="966"/>
                    <a:pt x="46" y="966"/>
                    <a:pt x="46" y="966"/>
                  </a:cubicBezTo>
                  <a:cubicBezTo>
                    <a:pt x="46" y="966"/>
                    <a:pt x="45" y="966"/>
                    <a:pt x="45" y="965"/>
                  </a:cubicBezTo>
                  <a:cubicBezTo>
                    <a:pt x="22" y="965"/>
                    <a:pt x="22" y="965"/>
                    <a:pt x="22" y="965"/>
                  </a:cubicBezTo>
                  <a:cubicBezTo>
                    <a:pt x="30" y="970"/>
                    <a:pt x="37" y="974"/>
                    <a:pt x="45" y="979"/>
                  </a:cubicBezTo>
                  <a:cubicBezTo>
                    <a:pt x="42" y="1004"/>
                    <a:pt x="39" y="1029"/>
                    <a:pt x="35" y="1055"/>
                  </a:cubicBezTo>
                  <a:cubicBezTo>
                    <a:pt x="23" y="1048"/>
                    <a:pt x="12" y="1042"/>
                    <a:pt x="0" y="1037"/>
                  </a:cubicBezTo>
                  <a:cubicBezTo>
                    <a:pt x="0" y="1050"/>
                    <a:pt x="0" y="1050"/>
                    <a:pt x="0" y="1050"/>
                  </a:cubicBezTo>
                  <a:cubicBezTo>
                    <a:pt x="11" y="1055"/>
                    <a:pt x="22" y="1061"/>
                    <a:pt x="33" y="1067"/>
                  </a:cubicBezTo>
                  <a:cubicBezTo>
                    <a:pt x="30" y="1089"/>
                    <a:pt x="26" y="1112"/>
                    <a:pt x="21" y="1134"/>
                  </a:cubicBezTo>
                  <a:cubicBezTo>
                    <a:pt x="14" y="1131"/>
                    <a:pt x="7" y="1128"/>
                    <a:pt x="0" y="1126"/>
                  </a:cubicBezTo>
                  <a:cubicBezTo>
                    <a:pt x="0" y="1138"/>
                    <a:pt x="0" y="1138"/>
                    <a:pt x="0" y="1138"/>
                  </a:cubicBezTo>
                  <a:cubicBezTo>
                    <a:pt x="6" y="1140"/>
                    <a:pt x="13" y="1143"/>
                    <a:pt x="19" y="1145"/>
                  </a:cubicBezTo>
                  <a:cubicBezTo>
                    <a:pt x="14" y="1173"/>
                    <a:pt x="8" y="1199"/>
                    <a:pt x="3" y="1225"/>
                  </a:cubicBezTo>
                  <a:cubicBezTo>
                    <a:pt x="2" y="1225"/>
                    <a:pt x="1" y="1224"/>
                    <a:pt x="0" y="1224"/>
                  </a:cubicBezTo>
                  <a:cubicBezTo>
                    <a:pt x="0" y="1237"/>
                    <a:pt x="0" y="1237"/>
                    <a:pt x="0" y="1237"/>
                  </a:cubicBezTo>
                  <a:cubicBezTo>
                    <a:pt x="0" y="1237"/>
                    <a:pt x="0" y="1237"/>
                    <a:pt x="0" y="1237"/>
                  </a:cubicBezTo>
                  <a:cubicBezTo>
                    <a:pt x="0" y="1237"/>
                    <a:pt x="0" y="1238"/>
                    <a:pt x="0" y="1239"/>
                  </a:cubicBezTo>
                  <a:cubicBezTo>
                    <a:pt x="0" y="1293"/>
                    <a:pt x="0" y="1293"/>
                    <a:pt x="0" y="1293"/>
                  </a:cubicBezTo>
                  <a:cubicBezTo>
                    <a:pt x="3" y="1280"/>
                    <a:pt x="5" y="1266"/>
                    <a:pt x="8" y="1252"/>
                  </a:cubicBezTo>
                  <a:cubicBezTo>
                    <a:pt x="9" y="1249"/>
                    <a:pt x="10" y="1245"/>
                    <a:pt x="11" y="1241"/>
                  </a:cubicBezTo>
                  <a:cubicBezTo>
                    <a:pt x="28" y="1248"/>
                    <a:pt x="45" y="1256"/>
                    <a:pt x="60" y="1265"/>
                  </a:cubicBezTo>
                  <a:cubicBezTo>
                    <a:pt x="60" y="1269"/>
                    <a:pt x="59" y="1273"/>
                    <a:pt x="58" y="1277"/>
                  </a:cubicBezTo>
                  <a:cubicBezTo>
                    <a:pt x="54" y="1298"/>
                    <a:pt x="50" y="1319"/>
                    <a:pt x="47" y="1339"/>
                  </a:cubicBezTo>
                  <a:cubicBezTo>
                    <a:pt x="32" y="1331"/>
                    <a:pt x="16" y="1324"/>
                    <a:pt x="0" y="1318"/>
                  </a:cubicBezTo>
                  <a:cubicBezTo>
                    <a:pt x="0" y="1331"/>
                    <a:pt x="0" y="1331"/>
                    <a:pt x="0" y="1331"/>
                  </a:cubicBezTo>
                  <a:cubicBezTo>
                    <a:pt x="15" y="1337"/>
                    <a:pt x="31" y="1344"/>
                    <a:pt x="45" y="1351"/>
                  </a:cubicBezTo>
                  <a:cubicBezTo>
                    <a:pt x="41" y="1370"/>
                    <a:pt x="39" y="1388"/>
                    <a:pt x="36" y="1405"/>
                  </a:cubicBezTo>
                  <a:cubicBezTo>
                    <a:pt x="35" y="1413"/>
                    <a:pt x="34" y="1421"/>
                    <a:pt x="32" y="1428"/>
                  </a:cubicBezTo>
                  <a:cubicBezTo>
                    <a:pt x="22" y="1423"/>
                    <a:pt x="11" y="1418"/>
                    <a:pt x="0" y="1413"/>
                  </a:cubicBezTo>
                  <a:cubicBezTo>
                    <a:pt x="0" y="1426"/>
                    <a:pt x="0" y="1426"/>
                    <a:pt x="0" y="1426"/>
                  </a:cubicBezTo>
                  <a:cubicBezTo>
                    <a:pt x="10" y="1431"/>
                    <a:pt x="20" y="1435"/>
                    <a:pt x="29" y="1440"/>
                  </a:cubicBezTo>
                  <a:cubicBezTo>
                    <a:pt x="28" y="1447"/>
                    <a:pt x="26" y="1453"/>
                    <a:pt x="23" y="1460"/>
                  </a:cubicBezTo>
                  <a:cubicBezTo>
                    <a:pt x="35" y="1460"/>
                    <a:pt x="35" y="1460"/>
                    <a:pt x="35" y="1460"/>
                  </a:cubicBezTo>
                  <a:cubicBezTo>
                    <a:pt x="37" y="1455"/>
                    <a:pt x="38" y="1450"/>
                    <a:pt x="39" y="1446"/>
                  </a:cubicBezTo>
                  <a:cubicBezTo>
                    <a:pt x="48" y="1450"/>
                    <a:pt x="55" y="1455"/>
                    <a:pt x="63" y="1460"/>
                  </a:cubicBezTo>
                  <a:cubicBezTo>
                    <a:pt x="84" y="1460"/>
                    <a:pt x="84" y="1460"/>
                    <a:pt x="84" y="1460"/>
                  </a:cubicBezTo>
                  <a:cubicBezTo>
                    <a:pt x="72" y="1450"/>
                    <a:pt x="58" y="1442"/>
                    <a:pt x="42" y="1433"/>
                  </a:cubicBezTo>
                  <a:cubicBezTo>
                    <a:pt x="44" y="1425"/>
                    <a:pt x="46" y="1416"/>
                    <a:pt x="47" y="1407"/>
                  </a:cubicBezTo>
                  <a:cubicBezTo>
                    <a:pt x="49" y="1391"/>
                    <a:pt x="52" y="1374"/>
                    <a:pt x="55" y="1356"/>
                  </a:cubicBezTo>
                  <a:cubicBezTo>
                    <a:pt x="74" y="1367"/>
                    <a:pt x="92" y="1378"/>
                    <a:pt x="107" y="1389"/>
                  </a:cubicBezTo>
                  <a:cubicBezTo>
                    <a:pt x="106" y="1397"/>
                    <a:pt x="105" y="1404"/>
                    <a:pt x="104" y="1411"/>
                  </a:cubicBezTo>
                  <a:cubicBezTo>
                    <a:pt x="102" y="1429"/>
                    <a:pt x="98" y="1445"/>
                    <a:pt x="93" y="1460"/>
                  </a:cubicBezTo>
                  <a:cubicBezTo>
                    <a:pt x="105" y="1460"/>
                    <a:pt x="105" y="1460"/>
                    <a:pt x="105" y="1460"/>
                  </a:cubicBezTo>
                  <a:cubicBezTo>
                    <a:pt x="109" y="1445"/>
                    <a:pt x="113" y="1430"/>
                    <a:pt x="115" y="1413"/>
                  </a:cubicBezTo>
                  <a:cubicBezTo>
                    <a:pt x="116" y="1408"/>
                    <a:pt x="117" y="1402"/>
                    <a:pt x="117" y="1397"/>
                  </a:cubicBezTo>
                  <a:cubicBezTo>
                    <a:pt x="137" y="1413"/>
                    <a:pt x="154" y="1429"/>
                    <a:pt x="165" y="1443"/>
                  </a:cubicBezTo>
                  <a:cubicBezTo>
                    <a:pt x="168" y="1441"/>
                    <a:pt x="168" y="1441"/>
                    <a:pt x="168" y="1441"/>
                  </a:cubicBezTo>
                  <a:cubicBezTo>
                    <a:pt x="167" y="1447"/>
                    <a:pt x="165" y="1454"/>
                    <a:pt x="163" y="1460"/>
                  </a:cubicBezTo>
                  <a:cubicBezTo>
                    <a:pt x="175" y="1460"/>
                    <a:pt x="175" y="1460"/>
                    <a:pt x="175" y="1460"/>
                  </a:cubicBezTo>
                  <a:cubicBezTo>
                    <a:pt x="179" y="1447"/>
                    <a:pt x="182" y="1434"/>
                    <a:pt x="183" y="1419"/>
                  </a:cubicBezTo>
                  <a:cubicBezTo>
                    <a:pt x="184" y="1407"/>
                    <a:pt x="186" y="1397"/>
                    <a:pt x="187" y="1386"/>
                  </a:cubicBezTo>
                  <a:cubicBezTo>
                    <a:pt x="187" y="1392"/>
                    <a:pt x="188" y="1398"/>
                    <a:pt x="188" y="1405"/>
                  </a:cubicBezTo>
                  <a:cubicBezTo>
                    <a:pt x="188" y="1423"/>
                    <a:pt x="187" y="1442"/>
                    <a:pt x="186" y="1460"/>
                  </a:cubicBezTo>
                  <a:cubicBezTo>
                    <a:pt x="197" y="1460"/>
                    <a:pt x="197" y="1460"/>
                    <a:pt x="197" y="1460"/>
                  </a:cubicBezTo>
                  <a:cubicBezTo>
                    <a:pt x="198" y="1442"/>
                    <a:pt x="199" y="1423"/>
                    <a:pt x="199" y="1405"/>
                  </a:cubicBezTo>
                  <a:cubicBezTo>
                    <a:pt x="199" y="1382"/>
                    <a:pt x="198" y="1361"/>
                    <a:pt x="196" y="1340"/>
                  </a:cubicBezTo>
                  <a:cubicBezTo>
                    <a:pt x="199" y="1323"/>
                    <a:pt x="203" y="1306"/>
                    <a:pt x="206" y="1290"/>
                  </a:cubicBezTo>
                  <a:cubicBezTo>
                    <a:pt x="208" y="1284"/>
                    <a:pt x="209" y="1279"/>
                    <a:pt x="210" y="1273"/>
                  </a:cubicBezTo>
                  <a:cubicBezTo>
                    <a:pt x="218" y="1307"/>
                    <a:pt x="229" y="1362"/>
                    <a:pt x="233" y="1422"/>
                  </a:cubicBezTo>
                  <a:cubicBezTo>
                    <a:pt x="230" y="1435"/>
                    <a:pt x="227" y="1447"/>
                    <a:pt x="222" y="1460"/>
                  </a:cubicBezTo>
                  <a:cubicBezTo>
                    <a:pt x="234" y="1460"/>
                    <a:pt x="234" y="1460"/>
                    <a:pt x="234" y="1460"/>
                  </a:cubicBezTo>
                  <a:cubicBezTo>
                    <a:pt x="234" y="1460"/>
                    <a:pt x="234" y="1460"/>
                    <a:pt x="234" y="1460"/>
                  </a:cubicBezTo>
                  <a:cubicBezTo>
                    <a:pt x="234" y="1460"/>
                    <a:pt x="234" y="1460"/>
                    <a:pt x="234" y="1460"/>
                  </a:cubicBezTo>
                  <a:cubicBezTo>
                    <a:pt x="245" y="1460"/>
                    <a:pt x="245" y="1460"/>
                    <a:pt x="245" y="1460"/>
                  </a:cubicBezTo>
                  <a:cubicBezTo>
                    <a:pt x="245" y="1447"/>
                    <a:pt x="245" y="1435"/>
                    <a:pt x="244" y="1423"/>
                  </a:cubicBezTo>
                  <a:cubicBezTo>
                    <a:pt x="250" y="1394"/>
                    <a:pt x="252" y="1365"/>
                    <a:pt x="252" y="1337"/>
                  </a:cubicBezTo>
                  <a:cubicBezTo>
                    <a:pt x="252" y="1314"/>
                    <a:pt x="251" y="1292"/>
                    <a:pt x="249" y="1269"/>
                  </a:cubicBezTo>
                  <a:cubicBezTo>
                    <a:pt x="249" y="1268"/>
                    <a:pt x="250" y="1265"/>
                    <a:pt x="250" y="1259"/>
                  </a:cubicBezTo>
                  <a:cubicBezTo>
                    <a:pt x="260" y="1314"/>
                    <a:pt x="270" y="1376"/>
                    <a:pt x="274" y="1428"/>
                  </a:cubicBezTo>
                  <a:cubicBezTo>
                    <a:pt x="270" y="1438"/>
                    <a:pt x="265" y="1449"/>
                    <a:pt x="260" y="1460"/>
                  </a:cubicBezTo>
                  <a:cubicBezTo>
                    <a:pt x="272" y="1460"/>
                    <a:pt x="272" y="1460"/>
                    <a:pt x="272" y="1460"/>
                  </a:cubicBezTo>
                  <a:cubicBezTo>
                    <a:pt x="273" y="1457"/>
                    <a:pt x="274" y="1455"/>
                    <a:pt x="275" y="1452"/>
                  </a:cubicBezTo>
                  <a:cubicBezTo>
                    <a:pt x="276" y="1453"/>
                    <a:pt x="276" y="1453"/>
                    <a:pt x="276" y="1453"/>
                  </a:cubicBezTo>
                  <a:cubicBezTo>
                    <a:pt x="276" y="1455"/>
                    <a:pt x="276" y="1455"/>
                    <a:pt x="276" y="1455"/>
                  </a:cubicBezTo>
                  <a:cubicBezTo>
                    <a:pt x="277" y="1457"/>
                    <a:pt x="277" y="1457"/>
                    <a:pt x="277" y="1457"/>
                  </a:cubicBezTo>
                  <a:cubicBezTo>
                    <a:pt x="277" y="1457"/>
                    <a:pt x="278" y="1458"/>
                    <a:pt x="280" y="1460"/>
                  </a:cubicBezTo>
                  <a:cubicBezTo>
                    <a:pt x="299" y="1460"/>
                    <a:pt x="299" y="1460"/>
                    <a:pt x="299" y="1460"/>
                  </a:cubicBezTo>
                  <a:cubicBezTo>
                    <a:pt x="308" y="1441"/>
                    <a:pt x="313" y="1424"/>
                    <a:pt x="313" y="1412"/>
                  </a:cubicBezTo>
                  <a:cubicBezTo>
                    <a:pt x="314" y="1402"/>
                    <a:pt x="314" y="1392"/>
                    <a:pt x="316" y="1381"/>
                  </a:cubicBezTo>
                  <a:cubicBezTo>
                    <a:pt x="320" y="1389"/>
                    <a:pt x="324" y="1398"/>
                    <a:pt x="329" y="1407"/>
                  </a:cubicBezTo>
                  <a:cubicBezTo>
                    <a:pt x="323" y="1425"/>
                    <a:pt x="319" y="1444"/>
                    <a:pt x="315" y="1459"/>
                  </a:cubicBezTo>
                  <a:cubicBezTo>
                    <a:pt x="315" y="1460"/>
                    <a:pt x="315" y="1460"/>
                    <a:pt x="315" y="1460"/>
                  </a:cubicBezTo>
                  <a:cubicBezTo>
                    <a:pt x="326" y="1460"/>
                    <a:pt x="326" y="1460"/>
                    <a:pt x="326" y="1460"/>
                  </a:cubicBezTo>
                  <a:cubicBezTo>
                    <a:pt x="329" y="1447"/>
                    <a:pt x="333" y="1434"/>
                    <a:pt x="336" y="1421"/>
                  </a:cubicBezTo>
                  <a:cubicBezTo>
                    <a:pt x="342" y="1432"/>
                    <a:pt x="347" y="1442"/>
                    <a:pt x="353" y="1453"/>
                  </a:cubicBezTo>
                  <a:cubicBezTo>
                    <a:pt x="352" y="1455"/>
                    <a:pt x="350" y="1457"/>
                    <a:pt x="349" y="1460"/>
                  </a:cubicBezTo>
                  <a:cubicBezTo>
                    <a:pt x="369" y="1460"/>
                    <a:pt x="369" y="1460"/>
                    <a:pt x="369" y="1460"/>
                  </a:cubicBezTo>
                  <a:cubicBezTo>
                    <a:pt x="368" y="1457"/>
                    <a:pt x="366" y="1455"/>
                    <a:pt x="365" y="1453"/>
                  </a:cubicBezTo>
                  <a:cubicBezTo>
                    <a:pt x="372" y="1438"/>
                    <a:pt x="379" y="1423"/>
                    <a:pt x="385" y="1411"/>
                  </a:cubicBezTo>
                  <a:cubicBezTo>
                    <a:pt x="393" y="1427"/>
                    <a:pt x="402" y="1442"/>
                    <a:pt x="411" y="1455"/>
                  </a:cubicBezTo>
                  <a:cubicBezTo>
                    <a:pt x="409" y="1457"/>
                    <a:pt x="408" y="1458"/>
                    <a:pt x="407" y="1460"/>
                  </a:cubicBezTo>
                  <a:cubicBezTo>
                    <a:pt x="427" y="1460"/>
                    <a:pt x="427" y="1460"/>
                    <a:pt x="427" y="1460"/>
                  </a:cubicBezTo>
                  <a:cubicBezTo>
                    <a:pt x="427" y="1459"/>
                    <a:pt x="426" y="1458"/>
                    <a:pt x="425" y="1457"/>
                  </a:cubicBezTo>
                  <a:cubicBezTo>
                    <a:pt x="427" y="1455"/>
                    <a:pt x="429" y="1454"/>
                    <a:pt x="430" y="1452"/>
                  </a:cubicBezTo>
                  <a:cubicBezTo>
                    <a:pt x="444" y="1441"/>
                    <a:pt x="458" y="1429"/>
                    <a:pt x="473" y="1418"/>
                  </a:cubicBezTo>
                  <a:cubicBezTo>
                    <a:pt x="483" y="1432"/>
                    <a:pt x="492" y="1444"/>
                    <a:pt x="501" y="1453"/>
                  </a:cubicBezTo>
                  <a:cubicBezTo>
                    <a:pt x="499" y="1456"/>
                    <a:pt x="497" y="1458"/>
                    <a:pt x="495" y="1460"/>
                  </a:cubicBezTo>
                  <a:cubicBezTo>
                    <a:pt x="513" y="1460"/>
                    <a:pt x="513" y="1460"/>
                    <a:pt x="513" y="1460"/>
                  </a:cubicBezTo>
                  <a:cubicBezTo>
                    <a:pt x="517" y="1453"/>
                    <a:pt x="517" y="1453"/>
                    <a:pt x="517" y="1453"/>
                  </a:cubicBezTo>
                  <a:cubicBezTo>
                    <a:pt x="517" y="1453"/>
                    <a:pt x="517" y="1453"/>
                    <a:pt x="517" y="1453"/>
                  </a:cubicBezTo>
                  <a:cubicBezTo>
                    <a:pt x="529" y="1440"/>
                    <a:pt x="540" y="1427"/>
                    <a:pt x="550" y="1415"/>
                  </a:cubicBezTo>
                  <a:cubicBezTo>
                    <a:pt x="553" y="1424"/>
                    <a:pt x="560" y="1439"/>
                    <a:pt x="567" y="1457"/>
                  </a:cubicBezTo>
                  <a:cubicBezTo>
                    <a:pt x="566" y="1458"/>
                    <a:pt x="566" y="1459"/>
                    <a:pt x="565" y="1460"/>
                  </a:cubicBezTo>
                  <a:cubicBezTo>
                    <a:pt x="593" y="1460"/>
                    <a:pt x="593" y="1460"/>
                    <a:pt x="593" y="1460"/>
                  </a:cubicBezTo>
                  <a:cubicBezTo>
                    <a:pt x="605" y="1446"/>
                    <a:pt x="615" y="1433"/>
                    <a:pt x="625" y="1420"/>
                  </a:cubicBezTo>
                  <a:cubicBezTo>
                    <a:pt x="628" y="1430"/>
                    <a:pt x="632" y="1440"/>
                    <a:pt x="637" y="1452"/>
                  </a:cubicBezTo>
                  <a:cubicBezTo>
                    <a:pt x="635" y="1454"/>
                    <a:pt x="633" y="1457"/>
                    <a:pt x="632" y="1460"/>
                  </a:cubicBezTo>
                  <a:cubicBezTo>
                    <a:pt x="652" y="1460"/>
                    <a:pt x="652" y="1460"/>
                    <a:pt x="652" y="1460"/>
                  </a:cubicBezTo>
                  <a:cubicBezTo>
                    <a:pt x="651" y="1457"/>
                    <a:pt x="650" y="1455"/>
                    <a:pt x="649" y="1452"/>
                  </a:cubicBezTo>
                  <a:cubicBezTo>
                    <a:pt x="656" y="1439"/>
                    <a:pt x="661" y="1427"/>
                    <a:pt x="664" y="1414"/>
                  </a:cubicBezTo>
                  <a:cubicBezTo>
                    <a:pt x="685" y="1460"/>
                    <a:pt x="685" y="1460"/>
                    <a:pt x="685" y="1460"/>
                  </a:cubicBezTo>
                  <a:cubicBezTo>
                    <a:pt x="697" y="1460"/>
                    <a:pt x="697" y="1460"/>
                    <a:pt x="697" y="1460"/>
                  </a:cubicBezTo>
                  <a:cubicBezTo>
                    <a:pt x="670" y="1399"/>
                    <a:pt x="670" y="1399"/>
                    <a:pt x="670" y="1399"/>
                  </a:cubicBezTo>
                  <a:cubicBezTo>
                    <a:pt x="679" y="1396"/>
                    <a:pt x="688" y="1394"/>
                    <a:pt x="698" y="1392"/>
                  </a:cubicBezTo>
                  <a:cubicBezTo>
                    <a:pt x="698" y="1380"/>
                    <a:pt x="698" y="1380"/>
                    <a:pt x="698" y="1380"/>
                  </a:cubicBezTo>
                  <a:cubicBezTo>
                    <a:pt x="686" y="1382"/>
                    <a:pt x="675" y="1384"/>
                    <a:pt x="665" y="1388"/>
                  </a:cubicBezTo>
                  <a:cubicBezTo>
                    <a:pt x="657" y="1369"/>
                    <a:pt x="657" y="1369"/>
                    <a:pt x="657" y="1369"/>
                  </a:cubicBezTo>
                  <a:cubicBezTo>
                    <a:pt x="657" y="1368"/>
                    <a:pt x="658" y="1366"/>
                    <a:pt x="658" y="1365"/>
                  </a:cubicBezTo>
                  <a:cubicBezTo>
                    <a:pt x="665" y="1365"/>
                    <a:pt x="679" y="1365"/>
                    <a:pt x="698" y="1364"/>
                  </a:cubicBezTo>
                  <a:cubicBezTo>
                    <a:pt x="698" y="1352"/>
                    <a:pt x="698" y="1352"/>
                    <a:pt x="698" y="1352"/>
                  </a:cubicBezTo>
                  <a:cubicBezTo>
                    <a:pt x="675" y="1353"/>
                    <a:pt x="659" y="1353"/>
                    <a:pt x="655" y="1353"/>
                  </a:cubicBezTo>
                  <a:cubicBezTo>
                    <a:pt x="655" y="1353"/>
                    <a:pt x="654" y="1353"/>
                    <a:pt x="654" y="1353"/>
                  </a:cubicBezTo>
                  <a:cubicBezTo>
                    <a:pt x="650" y="1353"/>
                    <a:pt x="650" y="1353"/>
                    <a:pt x="650" y="1353"/>
                  </a:cubicBezTo>
                  <a:cubicBezTo>
                    <a:pt x="650" y="1353"/>
                    <a:pt x="650" y="1353"/>
                    <a:pt x="650" y="1353"/>
                  </a:cubicBezTo>
                  <a:cubicBezTo>
                    <a:pt x="637" y="1326"/>
                    <a:pt x="637" y="1326"/>
                    <a:pt x="637" y="1326"/>
                  </a:cubicBezTo>
                  <a:cubicBezTo>
                    <a:pt x="648" y="1325"/>
                    <a:pt x="670" y="1324"/>
                    <a:pt x="698" y="1322"/>
                  </a:cubicBezTo>
                  <a:cubicBezTo>
                    <a:pt x="698" y="1310"/>
                    <a:pt x="698" y="1310"/>
                    <a:pt x="698" y="1310"/>
                  </a:cubicBezTo>
                  <a:cubicBezTo>
                    <a:pt x="662" y="1313"/>
                    <a:pt x="637" y="1314"/>
                    <a:pt x="630" y="1314"/>
                  </a:cubicBezTo>
                  <a:cubicBezTo>
                    <a:pt x="634" y="1309"/>
                    <a:pt x="637" y="1305"/>
                    <a:pt x="638" y="1304"/>
                  </a:cubicBezTo>
                  <a:cubicBezTo>
                    <a:pt x="634" y="1301"/>
                    <a:pt x="634" y="1301"/>
                    <a:pt x="634" y="1301"/>
                  </a:cubicBezTo>
                  <a:cubicBezTo>
                    <a:pt x="645" y="1300"/>
                    <a:pt x="667" y="1299"/>
                    <a:pt x="698" y="1295"/>
                  </a:cubicBezTo>
                  <a:cubicBezTo>
                    <a:pt x="698" y="1260"/>
                    <a:pt x="698" y="1260"/>
                    <a:pt x="698" y="1260"/>
                  </a:cubicBezTo>
                  <a:cubicBezTo>
                    <a:pt x="673" y="1265"/>
                    <a:pt x="652" y="1269"/>
                    <a:pt x="637" y="1272"/>
                  </a:cubicBezTo>
                  <a:cubicBezTo>
                    <a:pt x="652" y="1268"/>
                    <a:pt x="673" y="1263"/>
                    <a:pt x="698" y="1256"/>
                  </a:cubicBezTo>
                  <a:cubicBezTo>
                    <a:pt x="698" y="1236"/>
                    <a:pt x="698" y="1236"/>
                    <a:pt x="698" y="1236"/>
                  </a:cubicBezTo>
                  <a:cubicBezTo>
                    <a:pt x="671" y="1247"/>
                    <a:pt x="648" y="1254"/>
                    <a:pt x="631" y="1259"/>
                  </a:cubicBezTo>
                  <a:cubicBezTo>
                    <a:pt x="618" y="1261"/>
                    <a:pt x="577" y="1267"/>
                    <a:pt x="528" y="1267"/>
                  </a:cubicBezTo>
                  <a:cubicBezTo>
                    <a:pt x="452" y="1267"/>
                    <a:pt x="356" y="1252"/>
                    <a:pt x="315" y="1186"/>
                  </a:cubicBezTo>
                  <a:cubicBezTo>
                    <a:pt x="308" y="1176"/>
                    <a:pt x="308" y="1176"/>
                    <a:pt x="308" y="1176"/>
                  </a:cubicBezTo>
                  <a:cubicBezTo>
                    <a:pt x="305" y="1188"/>
                    <a:pt x="305" y="1188"/>
                    <a:pt x="305" y="1188"/>
                  </a:cubicBezTo>
                  <a:cubicBezTo>
                    <a:pt x="305" y="1188"/>
                    <a:pt x="304" y="1190"/>
                    <a:pt x="304" y="1191"/>
                  </a:cubicBezTo>
                  <a:cubicBezTo>
                    <a:pt x="290" y="1166"/>
                    <a:pt x="273" y="1137"/>
                    <a:pt x="258" y="1112"/>
                  </a:cubicBezTo>
                  <a:cubicBezTo>
                    <a:pt x="258" y="1110"/>
                    <a:pt x="258" y="1108"/>
                    <a:pt x="258" y="1106"/>
                  </a:cubicBezTo>
                  <a:cubicBezTo>
                    <a:pt x="258" y="1098"/>
                    <a:pt x="258" y="1089"/>
                    <a:pt x="258" y="1080"/>
                  </a:cubicBezTo>
                  <a:cubicBezTo>
                    <a:pt x="264" y="1088"/>
                    <a:pt x="270" y="1096"/>
                    <a:pt x="277" y="1104"/>
                  </a:cubicBezTo>
                  <a:cubicBezTo>
                    <a:pt x="289" y="1119"/>
                    <a:pt x="302" y="1133"/>
                    <a:pt x="315" y="1145"/>
                  </a:cubicBezTo>
                  <a:cubicBezTo>
                    <a:pt x="315" y="1145"/>
                    <a:pt x="315" y="1145"/>
                    <a:pt x="315" y="1145"/>
                  </a:cubicBezTo>
                  <a:cubicBezTo>
                    <a:pt x="315" y="1145"/>
                    <a:pt x="315" y="1145"/>
                    <a:pt x="315" y="1145"/>
                  </a:cubicBezTo>
                  <a:cubicBezTo>
                    <a:pt x="318" y="1148"/>
                    <a:pt x="321" y="1150"/>
                    <a:pt x="324" y="1153"/>
                  </a:cubicBezTo>
                  <a:cubicBezTo>
                    <a:pt x="339" y="1201"/>
                    <a:pt x="394" y="1231"/>
                    <a:pt x="472" y="1238"/>
                  </a:cubicBezTo>
                  <a:cubicBezTo>
                    <a:pt x="472" y="1240"/>
                    <a:pt x="472" y="1240"/>
                    <a:pt x="472" y="1240"/>
                  </a:cubicBezTo>
                  <a:cubicBezTo>
                    <a:pt x="473" y="1239"/>
                    <a:pt x="475" y="1239"/>
                    <a:pt x="476" y="1239"/>
                  </a:cubicBezTo>
                  <a:cubicBezTo>
                    <a:pt x="486" y="1239"/>
                    <a:pt x="496" y="1240"/>
                    <a:pt x="507" y="1240"/>
                  </a:cubicBezTo>
                  <a:cubicBezTo>
                    <a:pt x="531" y="1240"/>
                    <a:pt x="557" y="1238"/>
                    <a:pt x="585" y="1233"/>
                  </a:cubicBezTo>
                  <a:cubicBezTo>
                    <a:pt x="617" y="1228"/>
                    <a:pt x="649" y="1221"/>
                    <a:pt x="682" y="1210"/>
                  </a:cubicBezTo>
                  <a:cubicBezTo>
                    <a:pt x="687" y="1208"/>
                    <a:pt x="693" y="1206"/>
                    <a:pt x="698" y="1204"/>
                  </a:cubicBezTo>
                  <a:cubicBezTo>
                    <a:pt x="698" y="1177"/>
                    <a:pt x="698" y="1177"/>
                    <a:pt x="698" y="1177"/>
                  </a:cubicBezTo>
                  <a:cubicBezTo>
                    <a:pt x="680" y="1185"/>
                    <a:pt x="661" y="1193"/>
                    <a:pt x="641" y="1200"/>
                  </a:cubicBezTo>
                  <a:cubicBezTo>
                    <a:pt x="618" y="1207"/>
                    <a:pt x="594" y="1213"/>
                    <a:pt x="572" y="1216"/>
                  </a:cubicBezTo>
                  <a:cubicBezTo>
                    <a:pt x="567" y="1217"/>
                    <a:pt x="562" y="1218"/>
                    <a:pt x="557" y="1218"/>
                  </a:cubicBezTo>
                  <a:cubicBezTo>
                    <a:pt x="552" y="1218"/>
                    <a:pt x="546" y="1218"/>
                    <a:pt x="540" y="1218"/>
                  </a:cubicBezTo>
                  <a:cubicBezTo>
                    <a:pt x="535" y="1218"/>
                    <a:pt x="531" y="1218"/>
                    <a:pt x="526" y="1218"/>
                  </a:cubicBezTo>
                  <a:cubicBezTo>
                    <a:pt x="527" y="1218"/>
                    <a:pt x="527" y="1217"/>
                    <a:pt x="528" y="1217"/>
                  </a:cubicBezTo>
                  <a:cubicBezTo>
                    <a:pt x="531" y="1217"/>
                    <a:pt x="534" y="1217"/>
                    <a:pt x="537" y="1217"/>
                  </a:cubicBezTo>
                  <a:cubicBezTo>
                    <a:pt x="549" y="1217"/>
                    <a:pt x="561" y="1216"/>
                    <a:pt x="574" y="1214"/>
                  </a:cubicBezTo>
                  <a:cubicBezTo>
                    <a:pt x="588" y="1212"/>
                    <a:pt x="602" y="1208"/>
                    <a:pt x="616" y="1204"/>
                  </a:cubicBezTo>
                  <a:cubicBezTo>
                    <a:pt x="642" y="1195"/>
                    <a:pt x="665" y="1184"/>
                    <a:pt x="685" y="1171"/>
                  </a:cubicBezTo>
                  <a:cubicBezTo>
                    <a:pt x="689" y="1172"/>
                    <a:pt x="694" y="1172"/>
                    <a:pt x="698" y="1173"/>
                  </a:cubicBezTo>
                  <a:cubicBezTo>
                    <a:pt x="698" y="1146"/>
                    <a:pt x="698" y="1146"/>
                    <a:pt x="698" y="1146"/>
                  </a:cubicBezTo>
                  <a:cubicBezTo>
                    <a:pt x="693" y="1150"/>
                    <a:pt x="688" y="1154"/>
                    <a:pt x="683" y="1158"/>
                  </a:cubicBezTo>
                  <a:cubicBezTo>
                    <a:pt x="672" y="1156"/>
                    <a:pt x="661" y="1154"/>
                    <a:pt x="651" y="1151"/>
                  </a:cubicBezTo>
                  <a:cubicBezTo>
                    <a:pt x="657" y="1146"/>
                    <a:pt x="661" y="1140"/>
                    <a:pt x="663" y="1134"/>
                  </a:cubicBezTo>
                  <a:cubicBezTo>
                    <a:pt x="674" y="1132"/>
                    <a:pt x="686" y="1129"/>
                    <a:pt x="698" y="1126"/>
                  </a:cubicBezTo>
                  <a:cubicBezTo>
                    <a:pt x="698" y="1114"/>
                    <a:pt x="698" y="1114"/>
                    <a:pt x="698" y="1114"/>
                  </a:cubicBezTo>
                  <a:cubicBezTo>
                    <a:pt x="687" y="1117"/>
                    <a:pt x="677" y="1119"/>
                    <a:pt x="668" y="1121"/>
                  </a:cubicBezTo>
                  <a:cubicBezTo>
                    <a:pt x="668" y="1121"/>
                    <a:pt x="668" y="1120"/>
                    <a:pt x="668" y="1120"/>
                  </a:cubicBezTo>
                  <a:cubicBezTo>
                    <a:pt x="677" y="1116"/>
                    <a:pt x="687" y="1111"/>
                    <a:pt x="698" y="1105"/>
                  </a:cubicBezTo>
                  <a:cubicBezTo>
                    <a:pt x="698" y="1089"/>
                    <a:pt x="698" y="1089"/>
                    <a:pt x="698" y="1089"/>
                  </a:cubicBezTo>
                  <a:cubicBezTo>
                    <a:pt x="682" y="1095"/>
                    <a:pt x="670" y="1100"/>
                    <a:pt x="664" y="1102"/>
                  </a:cubicBezTo>
                  <a:cubicBezTo>
                    <a:pt x="663" y="1099"/>
                    <a:pt x="661" y="1097"/>
                    <a:pt x="659" y="1094"/>
                  </a:cubicBezTo>
                  <a:cubicBezTo>
                    <a:pt x="671" y="1084"/>
                    <a:pt x="684" y="1073"/>
                    <a:pt x="698" y="1059"/>
                  </a:cubicBezTo>
                  <a:cubicBezTo>
                    <a:pt x="698" y="1043"/>
                    <a:pt x="698" y="1043"/>
                    <a:pt x="698" y="1043"/>
                  </a:cubicBezTo>
                  <a:cubicBezTo>
                    <a:pt x="681" y="1060"/>
                    <a:pt x="664" y="1074"/>
                    <a:pt x="650" y="1087"/>
                  </a:cubicBezTo>
                  <a:cubicBezTo>
                    <a:pt x="646" y="1084"/>
                    <a:pt x="641" y="1082"/>
                    <a:pt x="635" y="1081"/>
                  </a:cubicBezTo>
                  <a:cubicBezTo>
                    <a:pt x="646" y="1065"/>
                    <a:pt x="658" y="1045"/>
                    <a:pt x="671" y="1024"/>
                  </a:cubicBezTo>
                  <a:cubicBezTo>
                    <a:pt x="681" y="1025"/>
                    <a:pt x="690" y="1027"/>
                    <a:pt x="698" y="1031"/>
                  </a:cubicBezTo>
                  <a:cubicBezTo>
                    <a:pt x="698" y="1018"/>
                    <a:pt x="698" y="1018"/>
                    <a:pt x="698" y="1018"/>
                  </a:cubicBezTo>
                  <a:cubicBezTo>
                    <a:pt x="692" y="1016"/>
                    <a:pt x="685" y="1014"/>
                    <a:pt x="677" y="1012"/>
                  </a:cubicBezTo>
                  <a:cubicBezTo>
                    <a:pt x="684" y="1001"/>
                    <a:pt x="691" y="989"/>
                    <a:pt x="698" y="976"/>
                  </a:cubicBezTo>
                  <a:cubicBezTo>
                    <a:pt x="698" y="965"/>
                    <a:pt x="698" y="965"/>
                    <a:pt x="698" y="965"/>
                  </a:cubicBezTo>
                  <a:moveTo>
                    <a:pt x="2041" y="1429"/>
                  </a:moveTo>
                  <a:cubicBezTo>
                    <a:pt x="2032" y="1414"/>
                    <a:pt x="2024" y="1399"/>
                    <a:pt x="2015" y="1384"/>
                  </a:cubicBezTo>
                  <a:cubicBezTo>
                    <a:pt x="2016" y="1379"/>
                    <a:pt x="2016" y="1374"/>
                    <a:pt x="2017" y="1368"/>
                  </a:cubicBezTo>
                  <a:cubicBezTo>
                    <a:pt x="2026" y="1385"/>
                    <a:pt x="2035" y="1402"/>
                    <a:pt x="2044" y="1418"/>
                  </a:cubicBezTo>
                  <a:cubicBezTo>
                    <a:pt x="2043" y="1421"/>
                    <a:pt x="2042" y="1425"/>
                    <a:pt x="2041" y="1429"/>
                  </a:cubicBezTo>
                  <a:moveTo>
                    <a:pt x="1749" y="1445"/>
                  </a:moveTo>
                  <a:cubicBezTo>
                    <a:pt x="1741" y="1440"/>
                    <a:pt x="1732" y="1435"/>
                    <a:pt x="1722" y="1430"/>
                  </a:cubicBezTo>
                  <a:cubicBezTo>
                    <a:pt x="1718" y="1410"/>
                    <a:pt x="1716" y="1389"/>
                    <a:pt x="1716" y="1368"/>
                  </a:cubicBezTo>
                  <a:cubicBezTo>
                    <a:pt x="1716" y="1362"/>
                    <a:pt x="1716" y="1356"/>
                    <a:pt x="1716" y="1350"/>
                  </a:cubicBezTo>
                  <a:cubicBezTo>
                    <a:pt x="1723" y="1356"/>
                    <a:pt x="1728" y="1361"/>
                    <a:pt x="1731" y="1364"/>
                  </a:cubicBezTo>
                  <a:cubicBezTo>
                    <a:pt x="1734" y="1368"/>
                    <a:pt x="1738" y="1373"/>
                    <a:pt x="1743" y="1379"/>
                  </a:cubicBezTo>
                  <a:cubicBezTo>
                    <a:pt x="1742" y="1383"/>
                    <a:pt x="1742" y="1386"/>
                    <a:pt x="1742" y="1389"/>
                  </a:cubicBezTo>
                  <a:cubicBezTo>
                    <a:pt x="1742" y="1409"/>
                    <a:pt x="1745" y="1428"/>
                    <a:pt x="1749" y="1445"/>
                  </a:cubicBezTo>
                  <a:moveTo>
                    <a:pt x="2004" y="1438"/>
                  </a:moveTo>
                  <a:cubicBezTo>
                    <a:pt x="1994" y="1421"/>
                    <a:pt x="1985" y="1404"/>
                    <a:pt x="1978" y="1388"/>
                  </a:cubicBezTo>
                  <a:cubicBezTo>
                    <a:pt x="1977" y="1381"/>
                    <a:pt x="1977" y="1372"/>
                    <a:pt x="1977" y="1363"/>
                  </a:cubicBezTo>
                  <a:cubicBezTo>
                    <a:pt x="1977" y="1356"/>
                    <a:pt x="1977" y="1348"/>
                    <a:pt x="1978" y="1340"/>
                  </a:cubicBezTo>
                  <a:cubicBezTo>
                    <a:pt x="1986" y="1357"/>
                    <a:pt x="1995" y="1373"/>
                    <a:pt x="2004" y="1389"/>
                  </a:cubicBezTo>
                  <a:cubicBezTo>
                    <a:pt x="2003" y="1398"/>
                    <a:pt x="2003" y="1406"/>
                    <a:pt x="2003" y="1414"/>
                  </a:cubicBezTo>
                  <a:cubicBezTo>
                    <a:pt x="2003" y="1423"/>
                    <a:pt x="2003" y="1431"/>
                    <a:pt x="2004" y="1438"/>
                  </a:cubicBezTo>
                  <a:moveTo>
                    <a:pt x="1791" y="1430"/>
                  </a:moveTo>
                  <a:cubicBezTo>
                    <a:pt x="1785" y="1422"/>
                    <a:pt x="1779" y="1413"/>
                    <a:pt x="1774" y="1405"/>
                  </a:cubicBezTo>
                  <a:cubicBezTo>
                    <a:pt x="1766" y="1394"/>
                    <a:pt x="1760" y="1384"/>
                    <a:pt x="1754" y="1376"/>
                  </a:cubicBezTo>
                  <a:cubicBezTo>
                    <a:pt x="1755" y="1360"/>
                    <a:pt x="1757" y="1344"/>
                    <a:pt x="1760" y="1328"/>
                  </a:cubicBezTo>
                  <a:cubicBezTo>
                    <a:pt x="1772" y="1342"/>
                    <a:pt x="1781" y="1353"/>
                    <a:pt x="1787" y="1361"/>
                  </a:cubicBezTo>
                  <a:cubicBezTo>
                    <a:pt x="1791" y="1365"/>
                    <a:pt x="1794" y="1371"/>
                    <a:pt x="1799" y="1377"/>
                  </a:cubicBezTo>
                  <a:cubicBezTo>
                    <a:pt x="1795" y="1394"/>
                    <a:pt x="1792" y="1412"/>
                    <a:pt x="1791" y="1430"/>
                  </a:cubicBezTo>
                  <a:moveTo>
                    <a:pt x="1839" y="1419"/>
                  </a:moveTo>
                  <a:cubicBezTo>
                    <a:pt x="1837" y="1416"/>
                    <a:pt x="1835" y="1412"/>
                    <a:pt x="1833" y="1409"/>
                  </a:cubicBezTo>
                  <a:cubicBezTo>
                    <a:pt x="1824" y="1396"/>
                    <a:pt x="1817" y="1384"/>
                    <a:pt x="1811" y="1374"/>
                  </a:cubicBezTo>
                  <a:cubicBezTo>
                    <a:pt x="1814" y="1358"/>
                    <a:pt x="1818" y="1341"/>
                    <a:pt x="1823" y="1326"/>
                  </a:cubicBezTo>
                  <a:cubicBezTo>
                    <a:pt x="1834" y="1339"/>
                    <a:pt x="1844" y="1351"/>
                    <a:pt x="1851" y="1362"/>
                  </a:cubicBezTo>
                  <a:cubicBezTo>
                    <a:pt x="1847" y="1380"/>
                    <a:pt x="1842" y="1399"/>
                    <a:pt x="1839" y="1419"/>
                  </a:cubicBezTo>
                  <a:moveTo>
                    <a:pt x="1934" y="1401"/>
                  </a:moveTo>
                  <a:cubicBezTo>
                    <a:pt x="1932" y="1397"/>
                    <a:pt x="1930" y="1392"/>
                    <a:pt x="1929" y="1388"/>
                  </a:cubicBezTo>
                  <a:cubicBezTo>
                    <a:pt x="1924" y="1375"/>
                    <a:pt x="1919" y="1363"/>
                    <a:pt x="1915" y="1352"/>
                  </a:cubicBezTo>
                  <a:cubicBezTo>
                    <a:pt x="1921" y="1334"/>
                    <a:pt x="1926" y="1321"/>
                    <a:pt x="1930" y="1312"/>
                  </a:cubicBezTo>
                  <a:cubicBezTo>
                    <a:pt x="1931" y="1315"/>
                    <a:pt x="1932" y="1318"/>
                    <a:pt x="1933" y="1321"/>
                  </a:cubicBezTo>
                  <a:cubicBezTo>
                    <a:pt x="1935" y="1355"/>
                    <a:pt x="1940" y="1377"/>
                    <a:pt x="1940" y="1379"/>
                  </a:cubicBezTo>
                  <a:cubicBezTo>
                    <a:pt x="1938" y="1385"/>
                    <a:pt x="1936" y="1393"/>
                    <a:pt x="1934" y="1401"/>
                  </a:cubicBezTo>
                  <a:moveTo>
                    <a:pt x="1663" y="1404"/>
                  </a:moveTo>
                  <a:cubicBezTo>
                    <a:pt x="1663" y="1404"/>
                    <a:pt x="1663" y="1404"/>
                    <a:pt x="1663" y="1404"/>
                  </a:cubicBezTo>
                  <a:cubicBezTo>
                    <a:pt x="1666" y="1403"/>
                    <a:pt x="1666" y="1403"/>
                    <a:pt x="1666" y="1403"/>
                  </a:cubicBezTo>
                  <a:cubicBezTo>
                    <a:pt x="1662" y="1382"/>
                    <a:pt x="1660" y="1361"/>
                    <a:pt x="1660" y="1339"/>
                  </a:cubicBezTo>
                  <a:cubicBezTo>
                    <a:pt x="1660" y="1328"/>
                    <a:pt x="1661" y="1317"/>
                    <a:pt x="1661" y="1305"/>
                  </a:cubicBezTo>
                  <a:cubicBezTo>
                    <a:pt x="1679" y="1317"/>
                    <a:pt x="1694" y="1329"/>
                    <a:pt x="1706" y="1340"/>
                  </a:cubicBezTo>
                  <a:cubicBezTo>
                    <a:pt x="1705" y="1349"/>
                    <a:pt x="1705" y="1358"/>
                    <a:pt x="1705" y="1367"/>
                  </a:cubicBezTo>
                  <a:cubicBezTo>
                    <a:pt x="1705" y="1386"/>
                    <a:pt x="1706" y="1405"/>
                    <a:pt x="1710" y="1423"/>
                  </a:cubicBezTo>
                  <a:cubicBezTo>
                    <a:pt x="1696" y="1416"/>
                    <a:pt x="1681" y="1410"/>
                    <a:pt x="1666" y="1405"/>
                  </a:cubicBezTo>
                  <a:cubicBezTo>
                    <a:pt x="1666" y="1404"/>
                    <a:pt x="1666" y="1404"/>
                    <a:pt x="1666" y="1404"/>
                  </a:cubicBezTo>
                  <a:cubicBezTo>
                    <a:pt x="1663" y="1404"/>
                    <a:pt x="1663" y="1404"/>
                    <a:pt x="1663" y="1404"/>
                  </a:cubicBezTo>
                  <a:moveTo>
                    <a:pt x="1888" y="1406"/>
                  </a:moveTo>
                  <a:cubicBezTo>
                    <a:pt x="1886" y="1402"/>
                    <a:pt x="1884" y="1398"/>
                    <a:pt x="1882" y="1394"/>
                  </a:cubicBezTo>
                  <a:cubicBezTo>
                    <a:pt x="1878" y="1383"/>
                    <a:pt x="1872" y="1372"/>
                    <a:pt x="1864" y="1360"/>
                  </a:cubicBezTo>
                  <a:cubicBezTo>
                    <a:pt x="1870" y="1339"/>
                    <a:pt x="1876" y="1321"/>
                    <a:pt x="1882" y="1305"/>
                  </a:cubicBezTo>
                  <a:cubicBezTo>
                    <a:pt x="1885" y="1311"/>
                    <a:pt x="1888" y="1317"/>
                    <a:pt x="1891" y="1322"/>
                  </a:cubicBezTo>
                  <a:cubicBezTo>
                    <a:pt x="1894" y="1330"/>
                    <a:pt x="1898" y="1341"/>
                    <a:pt x="1903" y="1352"/>
                  </a:cubicBezTo>
                  <a:cubicBezTo>
                    <a:pt x="1898" y="1368"/>
                    <a:pt x="1892" y="1386"/>
                    <a:pt x="1888" y="1406"/>
                  </a:cubicBezTo>
                  <a:moveTo>
                    <a:pt x="2006" y="1367"/>
                  </a:moveTo>
                  <a:cubicBezTo>
                    <a:pt x="1997" y="1350"/>
                    <a:pt x="1988" y="1333"/>
                    <a:pt x="1979" y="1316"/>
                  </a:cubicBezTo>
                  <a:cubicBezTo>
                    <a:pt x="1980" y="1309"/>
                    <a:pt x="1981" y="1302"/>
                    <a:pt x="1982" y="1295"/>
                  </a:cubicBezTo>
                  <a:cubicBezTo>
                    <a:pt x="1991" y="1314"/>
                    <a:pt x="2000" y="1333"/>
                    <a:pt x="2009" y="1351"/>
                  </a:cubicBezTo>
                  <a:cubicBezTo>
                    <a:pt x="2008" y="1357"/>
                    <a:pt x="2007" y="1362"/>
                    <a:pt x="2006" y="1367"/>
                  </a:cubicBezTo>
                  <a:moveTo>
                    <a:pt x="1744" y="1362"/>
                  </a:moveTo>
                  <a:cubicBezTo>
                    <a:pt x="1742" y="1360"/>
                    <a:pt x="1740" y="1357"/>
                    <a:pt x="1739" y="1356"/>
                  </a:cubicBezTo>
                  <a:cubicBezTo>
                    <a:pt x="1734" y="1351"/>
                    <a:pt x="1727" y="1344"/>
                    <a:pt x="1718" y="1335"/>
                  </a:cubicBezTo>
                  <a:cubicBezTo>
                    <a:pt x="1719" y="1319"/>
                    <a:pt x="1721" y="1304"/>
                    <a:pt x="1724" y="1290"/>
                  </a:cubicBezTo>
                  <a:cubicBezTo>
                    <a:pt x="1734" y="1299"/>
                    <a:pt x="1743" y="1309"/>
                    <a:pt x="1751" y="1318"/>
                  </a:cubicBezTo>
                  <a:cubicBezTo>
                    <a:pt x="1748" y="1333"/>
                    <a:pt x="1745" y="1348"/>
                    <a:pt x="1744" y="1362"/>
                  </a:cubicBezTo>
                  <a:moveTo>
                    <a:pt x="1802" y="1362"/>
                  </a:moveTo>
                  <a:cubicBezTo>
                    <a:pt x="1800" y="1359"/>
                    <a:pt x="1798" y="1356"/>
                    <a:pt x="1796" y="1354"/>
                  </a:cubicBezTo>
                  <a:cubicBezTo>
                    <a:pt x="1789" y="1344"/>
                    <a:pt x="1778" y="1331"/>
                    <a:pt x="1764" y="1315"/>
                  </a:cubicBezTo>
                  <a:cubicBezTo>
                    <a:pt x="1767" y="1302"/>
                    <a:pt x="1771" y="1289"/>
                    <a:pt x="1776" y="1276"/>
                  </a:cubicBezTo>
                  <a:cubicBezTo>
                    <a:pt x="1790" y="1289"/>
                    <a:pt x="1803" y="1303"/>
                    <a:pt x="1815" y="1316"/>
                  </a:cubicBezTo>
                  <a:cubicBezTo>
                    <a:pt x="1810" y="1330"/>
                    <a:pt x="1806" y="1346"/>
                    <a:pt x="1802" y="1362"/>
                  </a:cubicBezTo>
                  <a:moveTo>
                    <a:pt x="1654" y="1401"/>
                  </a:moveTo>
                  <a:cubicBezTo>
                    <a:pt x="1635" y="1394"/>
                    <a:pt x="1616" y="1389"/>
                    <a:pt x="1596" y="1384"/>
                  </a:cubicBezTo>
                  <a:cubicBezTo>
                    <a:pt x="1594" y="1370"/>
                    <a:pt x="1593" y="1354"/>
                    <a:pt x="1593" y="1338"/>
                  </a:cubicBezTo>
                  <a:cubicBezTo>
                    <a:pt x="1593" y="1317"/>
                    <a:pt x="1595" y="1294"/>
                    <a:pt x="1597" y="1273"/>
                  </a:cubicBezTo>
                  <a:cubicBezTo>
                    <a:pt x="1616" y="1279"/>
                    <a:pt x="1634" y="1289"/>
                    <a:pt x="1651" y="1298"/>
                  </a:cubicBezTo>
                  <a:cubicBezTo>
                    <a:pt x="1650" y="1311"/>
                    <a:pt x="1649" y="1325"/>
                    <a:pt x="1649" y="1338"/>
                  </a:cubicBezTo>
                  <a:cubicBezTo>
                    <a:pt x="1649" y="1359"/>
                    <a:pt x="1650" y="1380"/>
                    <a:pt x="1654" y="1401"/>
                  </a:cubicBezTo>
                  <a:moveTo>
                    <a:pt x="1420" y="1367"/>
                  </a:moveTo>
                  <a:cubicBezTo>
                    <a:pt x="1423" y="1353"/>
                    <a:pt x="1424" y="1336"/>
                    <a:pt x="1424" y="1317"/>
                  </a:cubicBezTo>
                  <a:cubicBezTo>
                    <a:pt x="1424" y="1309"/>
                    <a:pt x="1424" y="1302"/>
                    <a:pt x="1423" y="1294"/>
                  </a:cubicBezTo>
                  <a:cubicBezTo>
                    <a:pt x="1437" y="1284"/>
                    <a:pt x="1451" y="1277"/>
                    <a:pt x="1464" y="1272"/>
                  </a:cubicBezTo>
                  <a:cubicBezTo>
                    <a:pt x="1464" y="1307"/>
                    <a:pt x="1464" y="1341"/>
                    <a:pt x="1461" y="1368"/>
                  </a:cubicBezTo>
                  <a:cubicBezTo>
                    <a:pt x="1450" y="1367"/>
                    <a:pt x="1439" y="1367"/>
                    <a:pt x="1428" y="1367"/>
                  </a:cubicBezTo>
                  <a:cubicBezTo>
                    <a:pt x="1425" y="1367"/>
                    <a:pt x="1423" y="1367"/>
                    <a:pt x="1420" y="1367"/>
                  </a:cubicBezTo>
                  <a:moveTo>
                    <a:pt x="1966" y="1364"/>
                  </a:moveTo>
                  <a:cubicBezTo>
                    <a:pt x="1956" y="1343"/>
                    <a:pt x="1949" y="1326"/>
                    <a:pt x="1944" y="1313"/>
                  </a:cubicBezTo>
                  <a:cubicBezTo>
                    <a:pt x="1943" y="1304"/>
                    <a:pt x="1943" y="1294"/>
                    <a:pt x="1943" y="1284"/>
                  </a:cubicBezTo>
                  <a:cubicBezTo>
                    <a:pt x="1943" y="1279"/>
                    <a:pt x="1943" y="1274"/>
                    <a:pt x="1943" y="1269"/>
                  </a:cubicBezTo>
                  <a:cubicBezTo>
                    <a:pt x="1951" y="1287"/>
                    <a:pt x="1960" y="1304"/>
                    <a:pt x="1968" y="1320"/>
                  </a:cubicBezTo>
                  <a:cubicBezTo>
                    <a:pt x="1966" y="1336"/>
                    <a:pt x="1966" y="1350"/>
                    <a:pt x="1966" y="1363"/>
                  </a:cubicBezTo>
                  <a:cubicBezTo>
                    <a:pt x="1966" y="1363"/>
                    <a:pt x="1966" y="1364"/>
                    <a:pt x="1966" y="1364"/>
                  </a:cubicBezTo>
                  <a:moveTo>
                    <a:pt x="1909" y="1336"/>
                  </a:moveTo>
                  <a:cubicBezTo>
                    <a:pt x="1906" y="1329"/>
                    <a:pt x="1903" y="1322"/>
                    <a:pt x="1901" y="1317"/>
                  </a:cubicBezTo>
                  <a:cubicBezTo>
                    <a:pt x="1897" y="1308"/>
                    <a:pt x="1892" y="1300"/>
                    <a:pt x="1887" y="1291"/>
                  </a:cubicBezTo>
                  <a:cubicBezTo>
                    <a:pt x="1892" y="1280"/>
                    <a:pt x="1896" y="1271"/>
                    <a:pt x="1900" y="1263"/>
                  </a:cubicBezTo>
                  <a:cubicBezTo>
                    <a:pt x="1904" y="1300"/>
                    <a:pt x="1910" y="1325"/>
                    <a:pt x="1910" y="1325"/>
                  </a:cubicBezTo>
                  <a:cubicBezTo>
                    <a:pt x="1913" y="1324"/>
                    <a:pt x="1913" y="1324"/>
                    <a:pt x="1913" y="1324"/>
                  </a:cubicBezTo>
                  <a:cubicBezTo>
                    <a:pt x="1912" y="1328"/>
                    <a:pt x="1910" y="1332"/>
                    <a:pt x="1909" y="1336"/>
                  </a:cubicBezTo>
                  <a:moveTo>
                    <a:pt x="1584" y="1382"/>
                  </a:moveTo>
                  <a:cubicBezTo>
                    <a:pt x="1569" y="1379"/>
                    <a:pt x="1554" y="1376"/>
                    <a:pt x="1538" y="1374"/>
                  </a:cubicBezTo>
                  <a:cubicBezTo>
                    <a:pt x="1538" y="1366"/>
                    <a:pt x="1538" y="1359"/>
                    <a:pt x="1538" y="1350"/>
                  </a:cubicBezTo>
                  <a:cubicBezTo>
                    <a:pt x="1538" y="1322"/>
                    <a:pt x="1539" y="1291"/>
                    <a:pt x="1540" y="1261"/>
                  </a:cubicBezTo>
                  <a:cubicBezTo>
                    <a:pt x="1556" y="1262"/>
                    <a:pt x="1571" y="1265"/>
                    <a:pt x="1586" y="1269"/>
                  </a:cubicBezTo>
                  <a:cubicBezTo>
                    <a:pt x="1584" y="1292"/>
                    <a:pt x="1582" y="1316"/>
                    <a:pt x="1582" y="1338"/>
                  </a:cubicBezTo>
                  <a:cubicBezTo>
                    <a:pt x="1582" y="1353"/>
                    <a:pt x="1583" y="1368"/>
                    <a:pt x="1584" y="1382"/>
                  </a:cubicBezTo>
                  <a:moveTo>
                    <a:pt x="1527" y="1373"/>
                  </a:moveTo>
                  <a:cubicBezTo>
                    <a:pt x="1509" y="1371"/>
                    <a:pt x="1491" y="1369"/>
                    <a:pt x="1472" y="1368"/>
                  </a:cubicBezTo>
                  <a:cubicBezTo>
                    <a:pt x="1475" y="1341"/>
                    <a:pt x="1476" y="1307"/>
                    <a:pt x="1476" y="1272"/>
                  </a:cubicBezTo>
                  <a:cubicBezTo>
                    <a:pt x="1476" y="1271"/>
                    <a:pt x="1476" y="1270"/>
                    <a:pt x="1476" y="1268"/>
                  </a:cubicBezTo>
                  <a:cubicBezTo>
                    <a:pt x="1493" y="1263"/>
                    <a:pt x="1511" y="1260"/>
                    <a:pt x="1528" y="1260"/>
                  </a:cubicBezTo>
                  <a:cubicBezTo>
                    <a:pt x="1528" y="1260"/>
                    <a:pt x="1528" y="1260"/>
                    <a:pt x="1528" y="1260"/>
                  </a:cubicBezTo>
                  <a:cubicBezTo>
                    <a:pt x="1527" y="1291"/>
                    <a:pt x="1527" y="1322"/>
                    <a:pt x="1527" y="1350"/>
                  </a:cubicBezTo>
                  <a:cubicBezTo>
                    <a:pt x="1527" y="1358"/>
                    <a:pt x="1527" y="1365"/>
                    <a:pt x="1527" y="1373"/>
                  </a:cubicBezTo>
                  <a:moveTo>
                    <a:pt x="1918" y="1311"/>
                  </a:moveTo>
                  <a:cubicBezTo>
                    <a:pt x="1916" y="1300"/>
                    <a:pt x="1913" y="1281"/>
                    <a:pt x="1910" y="1256"/>
                  </a:cubicBezTo>
                  <a:cubicBezTo>
                    <a:pt x="1915" y="1269"/>
                    <a:pt x="1920" y="1283"/>
                    <a:pt x="1925" y="1297"/>
                  </a:cubicBezTo>
                  <a:cubicBezTo>
                    <a:pt x="1924" y="1298"/>
                    <a:pt x="1922" y="1303"/>
                    <a:pt x="1918" y="1311"/>
                  </a:cubicBezTo>
                  <a:moveTo>
                    <a:pt x="1856" y="1348"/>
                  </a:moveTo>
                  <a:cubicBezTo>
                    <a:pt x="1847" y="1336"/>
                    <a:pt x="1838" y="1324"/>
                    <a:pt x="1828" y="1312"/>
                  </a:cubicBezTo>
                  <a:cubicBezTo>
                    <a:pt x="1834" y="1291"/>
                    <a:pt x="1842" y="1272"/>
                    <a:pt x="1850" y="1254"/>
                  </a:cubicBezTo>
                  <a:cubicBezTo>
                    <a:pt x="1859" y="1267"/>
                    <a:pt x="1867" y="1279"/>
                    <a:pt x="1875" y="1292"/>
                  </a:cubicBezTo>
                  <a:cubicBezTo>
                    <a:pt x="1869" y="1308"/>
                    <a:pt x="1862" y="1327"/>
                    <a:pt x="1856" y="1348"/>
                  </a:cubicBezTo>
                  <a:moveTo>
                    <a:pt x="2048" y="1402"/>
                  </a:moveTo>
                  <a:cubicBezTo>
                    <a:pt x="2038" y="1384"/>
                    <a:pt x="2029" y="1367"/>
                    <a:pt x="2020" y="1349"/>
                  </a:cubicBezTo>
                  <a:cubicBezTo>
                    <a:pt x="2027" y="1317"/>
                    <a:pt x="2039" y="1282"/>
                    <a:pt x="2061" y="1248"/>
                  </a:cubicBezTo>
                  <a:cubicBezTo>
                    <a:pt x="2071" y="1271"/>
                    <a:pt x="2080" y="1293"/>
                    <a:pt x="2091" y="1314"/>
                  </a:cubicBezTo>
                  <a:cubicBezTo>
                    <a:pt x="2070" y="1343"/>
                    <a:pt x="2056" y="1374"/>
                    <a:pt x="2048" y="1402"/>
                  </a:cubicBezTo>
                  <a:moveTo>
                    <a:pt x="1707" y="1325"/>
                  </a:moveTo>
                  <a:cubicBezTo>
                    <a:pt x="1695" y="1315"/>
                    <a:pt x="1680" y="1303"/>
                    <a:pt x="1662" y="1292"/>
                  </a:cubicBezTo>
                  <a:cubicBezTo>
                    <a:pt x="1664" y="1275"/>
                    <a:pt x="1666" y="1258"/>
                    <a:pt x="1669" y="1242"/>
                  </a:cubicBezTo>
                  <a:cubicBezTo>
                    <a:pt x="1685" y="1254"/>
                    <a:pt x="1700" y="1267"/>
                    <a:pt x="1714" y="1280"/>
                  </a:cubicBezTo>
                  <a:cubicBezTo>
                    <a:pt x="1711" y="1295"/>
                    <a:pt x="1709" y="1310"/>
                    <a:pt x="1707" y="1325"/>
                  </a:cubicBezTo>
                  <a:moveTo>
                    <a:pt x="1755" y="1305"/>
                  </a:moveTo>
                  <a:cubicBezTo>
                    <a:pt x="1746" y="1296"/>
                    <a:pt x="1737" y="1286"/>
                    <a:pt x="1726" y="1276"/>
                  </a:cubicBezTo>
                  <a:cubicBezTo>
                    <a:pt x="1729" y="1264"/>
                    <a:pt x="1732" y="1252"/>
                    <a:pt x="1735" y="1241"/>
                  </a:cubicBezTo>
                  <a:cubicBezTo>
                    <a:pt x="1746" y="1250"/>
                    <a:pt x="1757" y="1259"/>
                    <a:pt x="1767" y="1268"/>
                  </a:cubicBezTo>
                  <a:cubicBezTo>
                    <a:pt x="1762" y="1280"/>
                    <a:pt x="1758" y="1293"/>
                    <a:pt x="1755" y="1305"/>
                  </a:cubicBezTo>
                  <a:moveTo>
                    <a:pt x="1932" y="1274"/>
                  </a:moveTo>
                  <a:cubicBezTo>
                    <a:pt x="1931" y="1269"/>
                    <a:pt x="1929" y="1264"/>
                    <a:pt x="1928" y="1260"/>
                  </a:cubicBezTo>
                  <a:cubicBezTo>
                    <a:pt x="1925" y="1247"/>
                    <a:pt x="1922" y="1237"/>
                    <a:pt x="1920" y="1229"/>
                  </a:cubicBezTo>
                  <a:cubicBezTo>
                    <a:pt x="1924" y="1226"/>
                    <a:pt x="1924" y="1226"/>
                    <a:pt x="1924" y="1226"/>
                  </a:cubicBezTo>
                  <a:cubicBezTo>
                    <a:pt x="1926" y="1231"/>
                    <a:pt x="1929" y="1237"/>
                    <a:pt x="1931" y="1242"/>
                  </a:cubicBezTo>
                  <a:cubicBezTo>
                    <a:pt x="1932" y="1244"/>
                    <a:pt x="1932" y="1246"/>
                    <a:pt x="1933" y="1247"/>
                  </a:cubicBezTo>
                  <a:cubicBezTo>
                    <a:pt x="1932" y="1256"/>
                    <a:pt x="1932" y="1265"/>
                    <a:pt x="1932" y="1274"/>
                  </a:cubicBezTo>
                  <a:moveTo>
                    <a:pt x="1880" y="1279"/>
                  </a:moveTo>
                  <a:cubicBezTo>
                    <a:pt x="1873" y="1267"/>
                    <a:pt x="1864" y="1254"/>
                    <a:pt x="1855" y="1243"/>
                  </a:cubicBezTo>
                  <a:cubicBezTo>
                    <a:pt x="1859" y="1232"/>
                    <a:pt x="1864" y="1223"/>
                    <a:pt x="1868" y="1215"/>
                  </a:cubicBezTo>
                  <a:cubicBezTo>
                    <a:pt x="1873" y="1249"/>
                    <a:pt x="1879" y="1271"/>
                    <a:pt x="1879" y="1272"/>
                  </a:cubicBezTo>
                  <a:cubicBezTo>
                    <a:pt x="1884" y="1270"/>
                    <a:pt x="1884" y="1270"/>
                    <a:pt x="1884" y="1270"/>
                  </a:cubicBezTo>
                  <a:cubicBezTo>
                    <a:pt x="1883" y="1273"/>
                    <a:pt x="1882" y="1276"/>
                    <a:pt x="1880" y="1279"/>
                  </a:cubicBezTo>
                  <a:moveTo>
                    <a:pt x="1970" y="1298"/>
                  </a:moveTo>
                  <a:cubicBezTo>
                    <a:pt x="1962" y="1280"/>
                    <a:pt x="1953" y="1261"/>
                    <a:pt x="1945" y="1243"/>
                  </a:cubicBezTo>
                  <a:cubicBezTo>
                    <a:pt x="1945" y="1233"/>
                    <a:pt x="1947" y="1223"/>
                    <a:pt x="1948" y="1212"/>
                  </a:cubicBezTo>
                  <a:cubicBezTo>
                    <a:pt x="1957" y="1234"/>
                    <a:pt x="1965" y="1255"/>
                    <a:pt x="1974" y="1276"/>
                  </a:cubicBezTo>
                  <a:cubicBezTo>
                    <a:pt x="1973" y="1283"/>
                    <a:pt x="1972" y="1291"/>
                    <a:pt x="1970" y="1298"/>
                  </a:cubicBezTo>
                  <a:moveTo>
                    <a:pt x="1819" y="1302"/>
                  </a:moveTo>
                  <a:cubicBezTo>
                    <a:pt x="1807" y="1290"/>
                    <a:pt x="1794" y="1277"/>
                    <a:pt x="1781" y="1264"/>
                  </a:cubicBezTo>
                  <a:cubicBezTo>
                    <a:pt x="1789" y="1244"/>
                    <a:pt x="1798" y="1225"/>
                    <a:pt x="1807" y="1208"/>
                  </a:cubicBezTo>
                  <a:cubicBezTo>
                    <a:pt x="1819" y="1219"/>
                    <a:pt x="1831" y="1231"/>
                    <a:pt x="1842" y="1244"/>
                  </a:cubicBezTo>
                  <a:cubicBezTo>
                    <a:pt x="1834" y="1262"/>
                    <a:pt x="1826" y="1281"/>
                    <a:pt x="1819" y="1302"/>
                  </a:cubicBezTo>
                  <a:moveTo>
                    <a:pt x="1652" y="1285"/>
                  </a:moveTo>
                  <a:cubicBezTo>
                    <a:pt x="1635" y="1276"/>
                    <a:pt x="1617" y="1267"/>
                    <a:pt x="1598" y="1260"/>
                  </a:cubicBezTo>
                  <a:cubicBezTo>
                    <a:pt x="1600" y="1240"/>
                    <a:pt x="1603" y="1221"/>
                    <a:pt x="1605" y="1202"/>
                  </a:cubicBezTo>
                  <a:cubicBezTo>
                    <a:pt x="1624" y="1211"/>
                    <a:pt x="1642" y="1222"/>
                    <a:pt x="1659" y="1235"/>
                  </a:cubicBezTo>
                  <a:cubicBezTo>
                    <a:pt x="1656" y="1251"/>
                    <a:pt x="1653" y="1268"/>
                    <a:pt x="1652" y="1285"/>
                  </a:cubicBezTo>
                  <a:moveTo>
                    <a:pt x="1717" y="1267"/>
                  </a:moveTo>
                  <a:cubicBezTo>
                    <a:pt x="1703" y="1254"/>
                    <a:pt x="1688" y="1241"/>
                    <a:pt x="1671" y="1229"/>
                  </a:cubicBezTo>
                  <a:cubicBezTo>
                    <a:pt x="1673" y="1219"/>
                    <a:pt x="1675" y="1210"/>
                    <a:pt x="1677" y="1201"/>
                  </a:cubicBezTo>
                  <a:cubicBezTo>
                    <a:pt x="1694" y="1211"/>
                    <a:pt x="1710" y="1222"/>
                    <a:pt x="1725" y="1233"/>
                  </a:cubicBezTo>
                  <a:cubicBezTo>
                    <a:pt x="1722" y="1244"/>
                    <a:pt x="1719" y="1255"/>
                    <a:pt x="1717" y="1267"/>
                  </a:cubicBezTo>
                  <a:moveTo>
                    <a:pt x="1888" y="1262"/>
                  </a:moveTo>
                  <a:cubicBezTo>
                    <a:pt x="1886" y="1251"/>
                    <a:pt x="1881" y="1228"/>
                    <a:pt x="1877" y="1198"/>
                  </a:cubicBezTo>
                  <a:cubicBezTo>
                    <a:pt x="1879" y="1195"/>
                    <a:pt x="1880" y="1192"/>
                    <a:pt x="1882" y="1190"/>
                  </a:cubicBezTo>
                  <a:cubicBezTo>
                    <a:pt x="1887" y="1200"/>
                    <a:pt x="1892" y="1211"/>
                    <a:pt x="1897" y="1223"/>
                  </a:cubicBezTo>
                  <a:cubicBezTo>
                    <a:pt x="1897" y="1229"/>
                    <a:pt x="1898" y="1235"/>
                    <a:pt x="1898" y="1241"/>
                  </a:cubicBezTo>
                  <a:cubicBezTo>
                    <a:pt x="1896" y="1246"/>
                    <a:pt x="1892" y="1253"/>
                    <a:pt x="1888" y="1262"/>
                  </a:cubicBezTo>
                  <a:moveTo>
                    <a:pt x="1915" y="1205"/>
                  </a:moveTo>
                  <a:cubicBezTo>
                    <a:pt x="1912" y="1202"/>
                    <a:pt x="1910" y="1199"/>
                    <a:pt x="1908" y="1195"/>
                  </a:cubicBezTo>
                  <a:cubicBezTo>
                    <a:pt x="1908" y="1193"/>
                    <a:pt x="1908" y="1191"/>
                    <a:pt x="1908" y="1190"/>
                  </a:cubicBezTo>
                  <a:cubicBezTo>
                    <a:pt x="1910" y="1195"/>
                    <a:pt x="1912" y="1200"/>
                    <a:pt x="1915" y="1205"/>
                  </a:cubicBezTo>
                  <a:moveTo>
                    <a:pt x="1423" y="1280"/>
                  </a:moveTo>
                  <a:cubicBezTo>
                    <a:pt x="1421" y="1255"/>
                    <a:pt x="1418" y="1229"/>
                    <a:pt x="1415" y="1204"/>
                  </a:cubicBezTo>
                  <a:cubicBezTo>
                    <a:pt x="1430" y="1194"/>
                    <a:pt x="1446" y="1187"/>
                    <a:pt x="1463" y="1183"/>
                  </a:cubicBezTo>
                  <a:cubicBezTo>
                    <a:pt x="1464" y="1207"/>
                    <a:pt x="1464" y="1233"/>
                    <a:pt x="1464" y="1259"/>
                  </a:cubicBezTo>
                  <a:cubicBezTo>
                    <a:pt x="1451" y="1264"/>
                    <a:pt x="1437" y="1271"/>
                    <a:pt x="1423" y="1280"/>
                  </a:cubicBezTo>
                  <a:moveTo>
                    <a:pt x="1587" y="1257"/>
                  </a:moveTo>
                  <a:cubicBezTo>
                    <a:pt x="1572" y="1252"/>
                    <a:pt x="1556" y="1250"/>
                    <a:pt x="1540" y="1249"/>
                  </a:cubicBezTo>
                  <a:cubicBezTo>
                    <a:pt x="1541" y="1225"/>
                    <a:pt x="1542" y="1202"/>
                    <a:pt x="1543" y="1181"/>
                  </a:cubicBezTo>
                  <a:cubicBezTo>
                    <a:pt x="1561" y="1184"/>
                    <a:pt x="1578" y="1190"/>
                    <a:pt x="1595" y="1197"/>
                  </a:cubicBezTo>
                  <a:cubicBezTo>
                    <a:pt x="1592" y="1216"/>
                    <a:pt x="1589" y="1236"/>
                    <a:pt x="1587" y="1257"/>
                  </a:cubicBezTo>
                  <a:moveTo>
                    <a:pt x="1875" y="1178"/>
                  </a:moveTo>
                  <a:cubicBezTo>
                    <a:pt x="1875" y="1177"/>
                    <a:pt x="1875" y="1177"/>
                    <a:pt x="1875" y="1177"/>
                  </a:cubicBezTo>
                  <a:cubicBezTo>
                    <a:pt x="1875" y="1178"/>
                    <a:pt x="1875" y="1178"/>
                    <a:pt x="1875" y="1178"/>
                  </a:cubicBezTo>
                  <a:cubicBezTo>
                    <a:pt x="1875" y="1178"/>
                    <a:pt x="1875" y="1178"/>
                    <a:pt x="1875" y="1178"/>
                  </a:cubicBezTo>
                  <a:moveTo>
                    <a:pt x="1476" y="1256"/>
                  </a:moveTo>
                  <a:cubicBezTo>
                    <a:pt x="1475" y="1230"/>
                    <a:pt x="1475" y="1204"/>
                    <a:pt x="1474" y="1180"/>
                  </a:cubicBezTo>
                  <a:cubicBezTo>
                    <a:pt x="1485" y="1178"/>
                    <a:pt x="1496" y="1177"/>
                    <a:pt x="1507" y="1177"/>
                  </a:cubicBezTo>
                  <a:cubicBezTo>
                    <a:pt x="1511" y="1177"/>
                    <a:pt x="1514" y="1177"/>
                    <a:pt x="1518" y="1178"/>
                  </a:cubicBezTo>
                  <a:cubicBezTo>
                    <a:pt x="1522" y="1178"/>
                    <a:pt x="1527" y="1178"/>
                    <a:pt x="1532" y="1179"/>
                  </a:cubicBezTo>
                  <a:cubicBezTo>
                    <a:pt x="1531" y="1200"/>
                    <a:pt x="1530" y="1224"/>
                    <a:pt x="1529" y="1248"/>
                  </a:cubicBezTo>
                  <a:cubicBezTo>
                    <a:pt x="1529" y="1248"/>
                    <a:pt x="1528" y="1248"/>
                    <a:pt x="1528" y="1248"/>
                  </a:cubicBezTo>
                  <a:cubicBezTo>
                    <a:pt x="1511" y="1248"/>
                    <a:pt x="1493" y="1251"/>
                    <a:pt x="1476" y="1256"/>
                  </a:cubicBezTo>
                  <a:moveTo>
                    <a:pt x="1771" y="1256"/>
                  </a:moveTo>
                  <a:cubicBezTo>
                    <a:pt x="1761" y="1246"/>
                    <a:pt x="1750" y="1237"/>
                    <a:pt x="1739" y="1228"/>
                  </a:cubicBezTo>
                  <a:cubicBezTo>
                    <a:pt x="1745" y="1207"/>
                    <a:pt x="1751" y="1189"/>
                    <a:pt x="1757" y="1173"/>
                  </a:cubicBezTo>
                  <a:cubicBezTo>
                    <a:pt x="1772" y="1180"/>
                    <a:pt x="1785" y="1190"/>
                    <a:pt x="1798" y="1200"/>
                  </a:cubicBezTo>
                  <a:cubicBezTo>
                    <a:pt x="1793" y="1210"/>
                    <a:pt x="1787" y="1220"/>
                    <a:pt x="1782" y="1231"/>
                  </a:cubicBezTo>
                  <a:cubicBezTo>
                    <a:pt x="1778" y="1239"/>
                    <a:pt x="1775" y="1248"/>
                    <a:pt x="1771" y="1256"/>
                  </a:cubicBezTo>
                  <a:moveTo>
                    <a:pt x="2013" y="1333"/>
                  </a:moveTo>
                  <a:cubicBezTo>
                    <a:pt x="2003" y="1314"/>
                    <a:pt x="1994" y="1294"/>
                    <a:pt x="1986" y="1275"/>
                  </a:cubicBezTo>
                  <a:cubicBezTo>
                    <a:pt x="1993" y="1239"/>
                    <a:pt x="2006" y="1202"/>
                    <a:pt x="2028" y="1167"/>
                  </a:cubicBezTo>
                  <a:cubicBezTo>
                    <a:pt x="2037" y="1190"/>
                    <a:pt x="2046" y="1213"/>
                    <a:pt x="2055" y="1236"/>
                  </a:cubicBezTo>
                  <a:cubicBezTo>
                    <a:pt x="2033" y="1268"/>
                    <a:pt x="2020" y="1302"/>
                    <a:pt x="2013" y="1333"/>
                  </a:cubicBezTo>
                  <a:moveTo>
                    <a:pt x="1661" y="1222"/>
                  </a:moveTo>
                  <a:cubicBezTo>
                    <a:pt x="1644" y="1210"/>
                    <a:pt x="1626" y="1199"/>
                    <a:pt x="1607" y="1190"/>
                  </a:cubicBezTo>
                  <a:cubicBezTo>
                    <a:pt x="1609" y="1182"/>
                    <a:pt x="1610" y="1174"/>
                    <a:pt x="1612" y="1166"/>
                  </a:cubicBezTo>
                  <a:cubicBezTo>
                    <a:pt x="1630" y="1174"/>
                    <a:pt x="1649" y="1184"/>
                    <a:pt x="1667" y="1194"/>
                  </a:cubicBezTo>
                  <a:cubicBezTo>
                    <a:pt x="1665" y="1203"/>
                    <a:pt x="1663" y="1212"/>
                    <a:pt x="1661" y="1222"/>
                  </a:cubicBezTo>
                  <a:moveTo>
                    <a:pt x="1847" y="1233"/>
                  </a:moveTo>
                  <a:cubicBezTo>
                    <a:pt x="1836" y="1220"/>
                    <a:pt x="1825" y="1209"/>
                    <a:pt x="1812" y="1198"/>
                  </a:cubicBezTo>
                  <a:cubicBezTo>
                    <a:pt x="1821" y="1183"/>
                    <a:pt x="1829" y="1170"/>
                    <a:pt x="1836" y="1160"/>
                  </a:cubicBezTo>
                  <a:cubicBezTo>
                    <a:pt x="1842" y="1195"/>
                    <a:pt x="1848" y="1217"/>
                    <a:pt x="1849" y="1218"/>
                  </a:cubicBezTo>
                  <a:cubicBezTo>
                    <a:pt x="1855" y="1215"/>
                    <a:pt x="1855" y="1215"/>
                    <a:pt x="1855" y="1215"/>
                  </a:cubicBezTo>
                  <a:cubicBezTo>
                    <a:pt x="1852" y="1221"/>
                    <a:pt x="1850" y="1227"/>
                    <a:pt x="1847" y="1233"/>
                  </a:cubicBezTo>
                  <a:moveTo>
                    <a:pt x="1729" y="1221"/>
                  </a:moveTo>
                  <a:cubicBezTo>
                    <a:pt x="1713" y="1209"/>
                    <a:pt x="1697" y="1198"/>
                    <a:pt x="1680" y="1188"/>
                  </a:cubicBezTo>
                  <a:cubicBezTo>
                    <a:pt x="1684" y="1173"/>
                    <a:pt x="1687" y="1160"/>
                    <a:pt x="1691" y="1148"/>
                  </a:cubicBezTo>
                  <a:cubicBezTo>
                    <a:pt x="1710" y="1152"/>
                    <a:pt x="1729" y="1158"/>
                    <a:pt x="1747" y="1167"/>
                  </a:cubicBezTo>
                  <a:cubicBezTo>
                    <a:pt x="1741" y="1183"/>
                    <a:pt x="1735" y="1201"/>
                    <a:pt x="1729" y="1221"/>
                  </a:cubicBezTo>
                  <a:moveTo>
                    <a:pt x="1597" y="1185"/>
                  </a:moveTo>
                  <a:cubicBezTo>
                    <a:pt x="1580" y="1178"/>
                    <a:pt x="1562" y="1172"/>
                    <a:pt x="1543" y="1169"/>
                  </a:cubicBezTo>
                  <a:cubicBezTo>
                    <a:pt x="1544" y="1160"/>
                    <a:pt x="1544" y="1153"/>
                    <a:pt x="1545" y="1145"/>
                  </a:cubicBezTo>
                  <a:cubicBezTo>
                    <a:pt x="1547" y="1146"/>
                    <a:pt x="1549" y="1146"/>
                    <a:pt x="1552" y="1147"/>
                  </a:cubicBezTo>
                  <a:cubicBezTo>
                    <a:pt x="1568" y="1150"/>
                    <a:pt x="1585" y="1156"/>
                    <a:pt x="1601" y="1162"/>
                  </a:cubicBezTo>
                  <a:cubicBezTo>
                    <a:pt x="1600" y="1169"/>
                    <a:pt x="1598" y="1177"/>
                    <a:pt x="1597" y="1185"/>
                  </a:cubicBezTo>
                  <a:moveTo>
                    <a:pt x="1413" y="1191"/>
                  </a:moveTo>
                  <a:cubicBezTo>
                    <a:pt x="1412" y="1181"/>
                    <a:pt x="1410" y="1171"/>
                    <a:pt x="1409" y="1162"/>
                  </a:cubicBezTo>
                  <a:cubicBezTo>
                    <a:pt x="1425" y="1153"/>
                    <a:pt x="1443" y="1147"/>
                    <a:pt x="1462" y="1143"/>
                  </a:cubicBezTo>
                  <a:cubicBezTo>
                    <a:pt x="1462" y="1152"/>
                    <a:pt x="1462" y="1161"/>
                    <a:pt x="1463" y="1171"/>
                  </a:cubicBezTo>
                  <a:cubicBezTo>
                    <a:pt x="1446" y="1175"/>
                    <a:pt x="1429" y="1182"/>
                    <a:pt x="1413" y="1191"/>
                  </a:cubicBezTo>
                  <a:moveTo>
                    <a:pt x="1858" y="1210"/>
                  </a:moveTo>
                  <a:cubicBezTo>
                    <a:pt x="1856" y="1201"/>
                    <a:pt x="1850" y="1178"/>
                    <a:pt x="1845" y="1146"/>
                  </a:cubicBezTo>
                  <a:cubicBezTo>
                    <a:pt x="1846" y="1145"/>
                    <a:pt x="1847" y="1143"/>
                    <a:pt x="1848" y="1142"/>
                  </a:cubicBezTo>
                  <a:cubicBezTo>
                    <a:pt x="1853" y="1146"/>
                    <a:pt x="1858" y="1152"/>
                    <a:pt x="1862" y="1158"/>
                  </a:cubicBezTo>
                  <a:cubicBezTo>
                    <a:pt x="1863" y="1171"/>
                    <a:pt x="1864" y="1184"/>
                    <a:pt x="1866" y="1195"/>
                  </a:cubicBezTo>
                  <a:cubicBezTo>
                    <a:pt x="1863" y="1200"/>
                    <a:pt x="1861" y="1204"/>
                    <a:pt x="1858" y="1210"/>
                  </a:cubicBezTo>
                  <a:moveTo>
                    <a:pt x="1474" y="1168"/>
                  </a:moveTo>
                  <a:cubicBezTo>
                    <a:pt x="1473" y="1159"/>
                    <a:pt x="1473" y="1150"/>
                    <a:pt x="1473" y="1142"/>
                  </a:cubicBezTo>
                  <a:cubicBezTo>
                    <a:pt x="1480" y="1141"/>
                    <a:pt x="1488" y="1140"/>
                    <a:pt x="1496" y="1140"/>
                  </a:cubicBezTo>
                  <a:cubicBezTo>
                    <a:pt x="1508" y="1140"/>
                    <a:pt x="1521" y="1141"/>
                    <a:pt x="1533" y="1143"/>
                  </a:cubicBezTo>
                  <a:cubicBezTo>
                    <a:pt x="1533" y="1151"/>
                    <a:pt x="1533" y="1159"/>
                    <a:pt x="1532" y="1167"/>
                  </a:cubicBezTo>
                  <a:cubicBezTo>
                    <a:pt x="1528" y="1166"/>
                    <a:pt x="1523" y="1166"/>
                    <a:pt x="1518" y="1166"/>
                  </a:cubicBezTo>
                  <a:cubicBezTo>
                    <a:pt x="1514" y="1165"/>
                    <a:pt x="1511" y="1165"/>
                    <a:pt x="1507" y="1165"/>
                  </a:cubicBezTo>
                  <a:cubicBezTo>
                    <a:pt x="1496" y="1165"/>
                    <a:pt x="1485" y="1166"/>
                    <a:pt x="1474" y="1168"/>
                  </a:cubicBezTo>
                  <a:moveTo>
                    <a:pt x="1670" y="1182"/>
                  </a:moveTo>
                  <a:cubicBezTo>
                    <a:pt x="1652" y="1172"/>
                    <a:pt x="1633" y="1162"/>
                    <a:pt x="1614" y="1154"/>
                  </a:cubicBezTo>
                  <a:cubicBezTo>
                    <a:pt x="1615" y="1149"/>
                    <a:pt x="1616" y="1144"/>
                    <a:pt x="1617" y="1140"/>
                  </a:cubicBezTo>
                  <a:cubicBezTo>
                    <a:pt x="1635" y="1143"/>
                    <a:pt x="1652" y="1145"/>
                    <a:pt x="1668" y="1146"/>
                  </a:cubicBezTo>
                  <a:cubicBezTo>
                    <a:pt x="1671" y="1146"/>
                    <a:pt x="1675" y="1146"/>
                    <a:pt x="1679" y="1147"/>
                  </a:cubicBezTo>
                  <a:cubicBezTo>
                    <a:pt x="1676" y="1157"/>
                    <a:pt x="1673" y="1169"/>
                    <a:pt x="1670" y="1182"/>
                  </a:cubicBezTo>
                  <a:moveTo>
                    <a:pt x="1826" y="1153"/>
                  </a:moveTo>
                  <a:cubicBezTo>
                    <a:pt x="1825" y="1148"/>
                    <a:pt x="1823" y="1140"/>
                    <a:pt x="1820" y="1130"/>
                  </a:cubicBezTo>
                  <a:cubicBezTo>
                    <a:pt x="1824" y="1131"/>
                    <a:pt x="1828" y="1133"/>
                    <a:pt x="1832" y="1134"/>
                  </a:cubicBezTo>
                  <a:cubicBezTo>
                    <a:pt x="1832" y="1137"/>
                    <a:pt x="1833" y="1140"/>
                    <a:pt x="1833" y="1143"/>
                  </a:cubicBezTo>
                  <a:cubicBezTo>
                    <a:pt x="1831" y="1146"/>
                    <a:pt x="1829" y="1149"/>
                    <a:pt x="1826" y="1153"/>
                  </a:cubicBezTo>
                  <a:moveTo>
                    <a:pt x="1804" y="1190"/>
                  </a:moveTo>
                  <a:cubicBezTo>
                    <a:pt x="1790" y="1179"/>
                    <a:pt x="1776" y="1170"/>
                    <a:pt x="1762" y="1161"/>
                  </a:cubicBezTo>
                  <a:cubicBezTo>
                    <a:pt x="1768" y="1145"/>
                    <a:pt x="1774" y="1132"/>
                    <a:pt x="1777" y="1126"/>
                  </a:cubicBezTo>
                  <a:cubicBezTo>
                    <a:pt x="1786" y="1125"/>
                    <a:pt x="1795" y="1125"/>
                    <a:pt x="1804" y="1124"/>
                  </a:cubicBezTo>
                  <a:cubicBezTo>
                    <a:pt x="1806" y="1125"/>
                    <a:pt x="1807" y="1125"/>
                    <a:pt x="1808" y="1126"/>
                  </a:cubicBezTo>
                  <a:cubicBezTo>
                    <a:pt x="1813" y="1149"/>
                    <a:pt x="1818" y="1163"/>
                    <a:pt x="1818" y="1164"/>
                  </a:cubicBezTo>
                  <a:cubicBezTo>
                    <a:pt x="1820" y="1163"/>
                    <a:pt x="1820" y="1163"/>
                    <a:pt x="1820" y="1163"/>
                  </a:cubicBezTo>
                  <a:cubicBezTo>
                    <a:pt x="1815" y="1171"/>
                    <a:pt x="1809" y="1180"/>
                    <a:pt x="1804" y="1190"/>
                  </a:cubicBezTo>
                  <a:moveTo>
                    <a:pt x="1751" y="1156"/>
                  </a:moveTo>
                  <a:cubicBezTo>
                    <a:pt x="1733" y="1147"/>
                    <a:pt x="1714" y="1141"/>
                    <a:pt x="1694" y="1137"/>
                  </a:cubicBezTo>
                  <a:cubicBezTo>
                    <a:pt x="1696" y="1132"/>
                    <a:pt x="1697" y="1127"/>
                    <a:pt x="1698" y="1124"/>
                  </a:cubicBezTo>
                  <a:cubicBezTo>
                    <a:pt x="1718" y="1125"/>
                    <a:pt x="1738" y="1126"/>
                    <a:pt x="1758" y="1126"/>
                  </a:cubicBezTo>
                  <a:cubicBezTo>
                    <a:pt x="1760" y="1126"/>
                    <a:pt x="1762" y="1126"/>
                    <a:pt x="1765" y="1126"/>
                  </a:cubicBezTo>
                  <a:cubicBezTo>
                    <a:pt x="1761" y="1133"/>
                    <a:pt x="1757" y="1143"/>
                    <a:pt x="1751" y="1156"/>
                  </a:cubicBezTo>
                  <a:moveTo>
                    <a:pt x="1603" y="1150"/>
                  </a:moveTo>
                  <a:cubicBezTo>
                    <a:pt x="1587" y="1144"/>
                    <a:pt x="1571" y="1139"/>
                    <a:pt x="1554" y="1135"/>
                  </a:cubicBezTo>
                  <a:cubicBezTo>
                    <a:pt x="1551" y="1134"/>
                    <a:pt x="1548" y="1134"/>
                    <a:pt x="1545" y="1133"/>
                  </a:cubicBezTo>
                  <a:cubicBezTo>
                    <a:pt x="1545" y="1130"/>
                    <a:pt x="1546" y="1126"/>
                    <a:pt x="1546" y="1123"/>
                  </a:cubicBezTo>
                  <a:cubicBezTo>
                    <a:pt x="1566" y="1129"/>
                    <a:pt x="1586" y="1134"/>
                    <a:pt x="1606" y="1138"/>
                  </a:cubicBezTo>
                  <a:cubicBezTo>
                    <a:pt x="1605" y="1142"/>
                    <a:pt x="1604" y="1146"/>
                    <a:pt x="1603" y="1150"/>
                  </a:cubicBezTo>
                  <a:moveTo>
                    <a:pt x="1936" y="1222"/>
                  </a:moveTo>
                  <a:cubicBezTo>
                    <a:pt x="1927" y="1202"/>
                    <a:pt x="1918" y="1182"/>
                    <a:pt x="1910" y="1161"/>
                  </a:cubicBezTo>
                  <a:cubicBezTo>
                    <a:pt x="1911" y="1148"/>
                    <a:pt x="1913" y="1134"/>
                    <a:pt x="1915" y="1120"/>
                  </a:cubicBezTo>
                  <a:cubicBezTo>
                    <a:pt x="1923" y="1142"/>
                    <a:pt x="1930" y="1165"/>
                    <a:pt x="1939" y="1187"/>
                  </a:cubicBezTo>
                  <a:cubicBezTo>
                    <a:pt x="1939" y="1189"/>
                    <a:pt x="1940" y="1190"/>
                    <a:pt x="1941" y="1192"/>
                  </a:cubicBezTo>
                  <a:cubicBezTo>
                    <a:pt x="1938" y="1202"/>
                    <a:pt x="1937" y="1212"/>
                    <a:pt x="1936" y="1222"/>
                  </a:cubicBezTo>
                  <a:moveTo>
                    <a:pt x="1683" y="1135"/>
                  </a:moveTo>
                  <a:cubicBezTo>
                    <a:pt x="1678" y="1135"/>
                    <a:pt x="1673" y="1134"/>
                    <a:pt x="1668" y="1134"/>
                  </a:cubicBezTo>
                  <a:cubicBezTo>
                    <a:pt x="1653" y="1133"/>
                    <a:pt x="1636" y="1131"/>
                    <a:pt x="1619" y="1128"/>
                  </a:cubicBezTo>
                  <a:cubicBezTo>
                    <a:pt x="1620" y="1123"/>
                    <a:pt x="1621" y="1119"/>
                    <a:pt x="1622" y="1116"/>
                  </a:cubicBezTo>
                  <a:cubicBezTo>
                    <a:pt x="1643" y="1119"/>
                    <a:pt x="1665" y="1121"/>
                    <a:pt x="1687" y="1123"/>
                  </a:cubicBezTo>
                  <a:cubicBezTo>
                    <a:pt x="1685" y="1127"/>
                    <a:pt x="1684" y="1131"/>
                    <a:pt x="1683" y="1135"/>
                  </a:cubicBezTo>
                  <a:moveTo>
                    <a:pt x="1608" y="1126"/>
                  </a:moveTo>
                  <a:cubicBezTo>
                    <a:pt x="1588" y="1122"/>
                    <a:pt x="1567" y="1117"/>
                    <a:pt x="1546" y="1111"/>
                  </a:cubicBezTo>
                  <a:cubicBezTo>
                    <a:pt x="1547" y="1109"/>
                    <a:pt x="1547" y="1106"/>
                    <a:pt x="1547" y="1104"/>
                  </a:cubicBezTo>
                  <a:cubicBezTo>
                    <a:pt x="1567" y="1108"/>
                    <a:pt x="1589" y="1112"/>
                    <a:pt x="1611" y="1115"/>
                  </a:cubicBezTo>
                  <a:cubicBezTo>
                    <a:pt x="1610" y="1118"/>
                    <a:pt x="1609" y="1122"/>
                    <a:pt x="1608" y="1126"/>
                  </a:cubicBezTo>
                  <a:moveTo>
                    <a:pt x="1898" y="1175"/>
                  </a:moveTo>
                  <a:cubicBezTo>
                    <a:pt x="1893" y="1166"/>
                    <a:pt x="1888" y="1159"/>
                    <a:pt x="1882" y="1153"/>
                  </a:cubicBezTo>
                  <a:cubicBezTo>
                    <a:pt x="1879" y="1147"/>
                    <a:pt x="1876" y="1141"/>
                    <a:pt x="1873" y="1135"/>
                  </a:cubicBezTo>
                  <a:cubicBezTo>
                    <a:pt x="1872" y="1131"/>
                    <a:pt x="1872" y="1127"/>
                    <a:pt x="1872" y="1123"/>
                  </a:cubicBezTo>
                  <a:cubicBezTo>
                    <a:pt x="1872" y="1115"/>
                    <a:pt x="1873" y="1108"/>
                    <a:pt x="1873" y="1100"/>
                  </a:cubicBezTo>
                  <a:cubicBezTo>
                    <a:pt x="1881" y="1122"/>
                    <a:pt x="1889" y="1144"/>
                    <a:pt x="1898" y="1166"/>
                  </a:cubicBezTo>
                  <a:cubicBezTo>
                    <a:pt x="1898" y="1169"/>
                    <a:pt x="1898" y="1172"/>
                    <a:pt x="1898" y="1175"/>
                  </a:cubicBezTo>
                  <a:moveTo>
                    <a:pt x="1472" y="1130"/>
                  </a:moveTo>
                  <a:cubicBezTo>
                    <a:pt x="1472" y="1118"/>
                    <a:pt x="1471" y="1108"/>
                    <a:pt x="1471" y="1100"/>
                  </a:cubicBezTo>
                  <a:cubicBezTo>
                    <a:pt x="1490" y="1107"/>
                    <a:pt x="1512" y="1114"/>
                    <a:pt x="1535" y="1120"/>
                  </a:cubicBezTo>
                  <a:cubicBezTo>
                    <a:pt x="1535" y="1124"/>
                    <a:pt x="1534" y="1127"/>
                    <a:pt x="1534" y="1131"/>
                  </a:cubicBezTo>
                  <a:cubicBezTo>
                    <a:pt x="1521" y="1129"/>
                    <a:pt x="1509" y="1128"/>
                    <a:pt x="1496" y="1128"/>
                  </a:cubicBezTo>
                  <a:cubicBezTo>
                    <a:pt x="1488" y="1128"/>
                    <a:pt x="1480" y="1129"/>
                    <a:pt x="1472" y="1130"/>
                  </a:cubicBezTo>
                  <a:moveTo>
                    <a:pt x="1535" y="1108"/>
                  </a:moveTo>
                  <a:cubicBezTo>
                    <a:pt x="1519" y="1103"/>
                    <a:pt x="1502" y="1098"/>
                    <a:pt x="1487" y="1093"/>
                  </a:cubicBezTo>
                  <a:cubicBezTo>
                    <a:pt x="1497" y="1095"/>
                    <a:pt x="1508" y="1097"/>
                    <a:pt x="1519" y="1099"/>
                  </a:cubicBezTo>
                  <a:cubicBezTo>
                    <a:pt x="1519" y="1100"/>
                    <a:pt x="1520" y="1101"/>
                    <a:pt x="1521" y="1102"/>
                  </a:cubicBezTo>
                  <a:cubicBezTo>
                    <a:pt x="1522" y="1100"/>
                    <a:pt x="1522" y="1100"/>
                    <a:pt x="1522" y="1100"/>
                  </a:cubicBezTo>
                  <a:cubicBezTo>
                    <a:pt x="1527" y="1101"/>
                    <a:pt x="1531" y="1102"/>
                    <a:pt x="1536" y="1102"/>
                  </a:cubicBezTo>
                  <a:cubicBezTo>
                    <a:pt x="1536" y="1104"/>
                    <a:pt x="1536" y="1106"/>
                    <a:pt x="1535" y="1108"/>
                  </a:cubicBezTo>
                  <a:moveTo>
                    <a:pt x="1851" y="1119"/>
                  </a:moveTo>
                  <a:cubicBezTo>
                    <a:pt x="1848" y="1114"/>
                    <a:pt x="1843" y="1109"/>
                    <a:pt x="1839" y="1104"/>
                  </a:cubicBezTo>
                  <a:cubicBezTo>
                    <a:pt x="1839" y="1100"/>
                    <a:pt x="1838" y="1096"/>
                    <a:pt x="1838" y="1092"/>
                  </a:cubicBezTo>
                  <a:cubicBezTo>
                    <a:pt x="1843" y="1101"/>
                    <a:pt x="1847" y="1110"/>
                    <a:pt x="1851" y="1119"/>
                  </a:cubicBezTo>
                  <a:moveTo>
                    <a:pt x="1829" y="1116"/>
                  </a:moveTo>
                  <a:cubicBezTo>
                    <a:pt x="1825" y="1114"/>
                    <a:pt x="1821" y="1113"/>
                    <a:pt x="1816" y="1113"/>
                  </a:cubicBezTo>
                  <a:cubicBezTo>
                    <a:pt x="1815" y="1105"/>
                    <a:pt x="1813" y="1096"/>
                    <a:pt x="1811" y="1087"/>
                  </a:cubicBezTo>
                  <a:cubicBezTo>
                    <a:pt x="1817" y="1095"/>
                    <a:pt x="1823" y="1102"/>
                    <a:pt x="1829" y="1109"/>
                  </a:cubicBezTo>
                  <a:cubicBezTo>
                    <a:pt x="1829" y="1111"/>
                    <a:pt x="1829" y="1113"/>
                    <a:pt x="1829" y="1116"/>
                  </a:cubicBezTo>
                  <a:moveTo>
                    <a:pt x="1978" y="1257"/>
                  </a:moveTo>
                  <a:cubicBezTo>
                    <a:pt x="1969" y="1235"/>
                    <a:pt x="1960" y="1213"/>
                    <a:pt x="1952" y="1191"/>
                  </a:cubicBezTo>
                  <a:cubicBezTo>
                    <a:pt x="1960" y="1153"/>
                    <a:pt x="1974" y="1114"/>
                    <a:pt x="1997" y="1079"/>
                  </a:cubicBezTo>
                  <a:cubicBezTo>
                    <a:pt x="2006" y="1105"/>
                    <a:pt x="2014" y="1129"/>
                    <a:pt x="2023" y="1154"/>
                  </a:cubicBezTo>
                  <a:cubicBezTo>
                    <a:pt x="2001" y="1187"/>
                    <a:pt x="1987" y="1223"/>
                    <a:pt x="1978" y="1257"/>
                  </a:cubicBezTo>
                  <a:moveTo>
                    <a:pt x="1758" y="1114"/>
                  </a:moveTo>
                  <a:cubicBezTo>
                    <a:pt x="1748" y="1114"/>
                    <a:pt x="1737" y="1114"/>
                    <a:pt x="1726" y="1113"/>
                  </a:cubicBezTo>
                  <a:cubicBezTo>
                    <a:pt x="1720" y="1101"/>
                    <a:pt x="1715" y="1086"/>
                    <a:pt x="1710" y="1069"/>
                  </a:cubicBezTo>
                  <a:cubicBezTo>
                    <a:pt x="1725" y="1070"/>
                    <a:pt x="1740" y="1071"/>
                    <a:pt x="1755" y="1071"/>
                  </a:cubicBezTo>
                  <a:cubicBezTo>
                    <a:pt x="1764" y="1089"/>
                    <a:pt x="1774" y="1104"/>
                    <a:pt x="1785" y="1113"/>
                  </a:cubicBezTo>
                  <a:cubicBezTo>
                    <a:pt x="1776" y="1114"/>
                    <a:pt x="1767" y="1114"/>
                    <a:pt x="1758" y="1114"/>
                  </a:cubicBezTo>
                  <a:moveTo>
                    <a:pt x="1691" y="1111"/>
                  </a:moveTo>
                  <a:cubicBezTo>
                    <a:pt x="1686" y="1111"/>
                    <a:pt x="1682" y="1111"/>
                    <a:pt x="1678" y="1110"/>
                  </a:cubicBezTo>
                  <a:cubicBezTo>
                    <a:pt x="1670" y="1098"/>
                    <a:pt x="1663" y="1081"/>
                    <a:pt x="1656" y="1062"/>
                  </a:cubicBezTo>
                  <a:cubicBezTo>
                    <a:pt x="1670" y="1064"/>
                    <a:pt x="1684" y="1066"/>
                    <a:pt x="1698" y="1068"/>
                  </a:cubicBezTo>
                  <a:cubicBezTo>
                    <a:pt x="1703" y="1085"/>
                    <a:pt x="1708" y="1100"/>
                    <a:pt x="1714" y="1113"/>
                  </a:cubicBezTo>
                  <a:cubicBezTo>
                    <a:pt x="1710" y="1113"/>
                    <a:pt x="1706" y="1112"/>
                    <a:pt x="1702" y="1112"/>
                  </a:cubicBezTo>
                  <a:cubicBezTo>
                    <a:pt x="1702" y="1112"/>
                    <a:pt x="1702" y="1112"/>
                    <a:pt x="1702" y="1112"/>
                  </a:cubicBezTo>
                  <a:cubicBezTo>
                    <a:pt x="1692" y="1107"/>
                    <a:pt x="1692" y="1107"/>
                    <a:pt x="1692" y="1107"/>
                  </a:cubicBezTo>
                  <a:cubicBezTo>
                    <a:pt x="1692" y="1108"/>
                    <a:pt x="1691" y="1109"/>
                    <a:pt x="1691" y="1111"/>
                  </a:cubicBezTo>
                  <a:moveTo>
                    <a:pt x="1664" y="1109"/>
                  </a:moveTo>
                  <a:cubicBezTo>
                    <a:pt x="1652" y="1108"/>
                    <a:pt x="1640" y="1106"/>
                    <a:pt x="1628" y="1105"/>
                  </a:cubicBezTo>
                  <a:cubicBezTo>
                    <a:pt x="1619" y="1092"/>
                    <a:pt x="1610" y="1074"/>
                    <a:pt x="1602" y="1053"/>
                  </a:cubicBezTo>
                  <a:cubicBezTo>
                    <a:pt x="1615" y="1056"/>
                    <a:pt x="1629" y="1058"/>
                    <a:pt x="1643" y="1060"/>
                  </a:cubicBezTo>
                  <a:cubicBezTo>
                    <a:pt x="1650" y="1079"/>
                    <a:pt x="1657" y="1095"/>
                    <a:pt x="1664" y="1109"/>
                  </a:cubicBezTo>
                  <a:moveTo>
                    <a:pt x="1805" y="1112"/>
                  </a:moveTo>
                  <a:cubicBezTo>
                    <a:pt x="1802" y="1111"/>
                    <a:pt x="1799" y="1109"/>
                    <a:pt x="1796" y="1107"/>
                  </a:cubicBezTo>
                  <a:cubicBezTo>
                    <a:pt x="1798" y="1106"/>
                    <a:pt x="1798" y="1106"/>
                    <a:pt x="1798" y="1106"/>
                  </a:cubicBezTo>
                  <a:cubicBezTo>
                    <a:pt x="1797" y="1105"/>
                    <a:pt x="1790" y="1083"/>
                    <a:pt x="1782" y="1047"/>
                  </a:cubicBezTo>
                  <a:cubicBezTo>
                    <a:pt x="1787" y="1054"/>
                    <a:pt x="1792" y="1061"/>
                    <a:pt x="1797" y="1068"/>
                  </a:cubicBezTo>
                  <a:cubicBezTo>
                    <a:pt x="1799" y="1084"/>
                    <a:pt x="1802" y="1099"/>
                    <a:pt x="1805" y="1112"/>
                  </a:cubicBezTo>
                  <a:moveTo>
                    <a:pt x="1750" y="1059"/>
                  </a:moveTo>
                  <a:cubicBezTo>
                    <a:pt x="1735" y="1059"/>
                    <a:pt x="1721" y="1058"/>
                    <a:pt x="1706" y="1056"/>
                  </a:cubicBezTo>
                  <a:cubicBezTo>
                    <a:pt x="1704" y="1049"/>
                    <a:pt x="1702" y="1040"/>
                    <a:pt x="1700" y="1032"/>
                  </a:cubicBezTo>
                  <a:cubicBezTo>
                    <a:pt x="1713" y="1033"/>
                    <a:pt x="1727" y="1034"/>
                    <a:pt x="1740" y="1034"/>
                  </a:cubicBezTo>
                  <a:cubicBezTo>
                    <a:pt x="1743" y="1043"/>
                    <a:pt x="1746" y="1051"/>
                    <a:pt x="1750" y="1059"/>
                  </a:cubicBezTo>
                  <a:moveTo>
                    <a:pt x="1561" y="1095"/>
                  </a:moveTo>
                  <a:cubicBezTo>
                    <a:pt x="1549" y="1093"/>
                    <a:pt x="1536" y="1090"/>
                    <a:pt x="1525" y="1088"/>
                  </a:cubicBezTo>
                  <a:cubicBezTo>
                    <a:pt x="1514" y="1074"/>
                    <a:pt x="1502" y="1054"/>
                    <a:pt x="1491" y="1030"/>
                  </a:cubicBezTo>
                  <a:cubicBezTo>
                    <a:pt x="1504" y="1032"/>
                    <a:pt x="1518" y="1035"/>
                    <a:pt x="1532" y="1038"/>
                  </a:cubicBezTo>
                  <a:cubicBezTo>
                    <a:pt x="1542" y="1060"/>
                    <a:pt x="1552" y="1080"/>
                    <a:pt x="1561" y="1095"/>
                  </a:cubicBezTo>
                  <a:moveTo>
                    <a:pt x="1694" y="1055"/>
                  </a:moveTo>
                  <a:cubicBezTo>
                    <a:pt x="1680" y="1054"/>
                    <a:pt x="1665" y="1052"/>
                    <a:pt x="1651" y="1050"/>
                  </a:cubicBezTo>
                  <a:cubicBezTo>
                    <a:pt x="1648" y="1041"/>
                    <a:pt x="1646" y="1033"/>
                    <a:pt x="1643" y="1024"/>
                  </a:cubicBezTo>
                  <a:cubicBezTo>
                    <a:pt x="1658" y="1027"/>
                    <a:pt x="1673" y="1029"/>
                    <a:pt x="1688" y="1031"/>
                  </a:cubicBezTo>
                  <a:cubicBezTo>
                    <a:pt x="1690" y="1039"/>
                    <a:pt x="1692" y="1047"/>
                    <a:pt x="1694" y="1055"/>
                  </a:cubicBezTo>
                  <a:moveTo>
                    <a:pt x="1508" y="1085"/>
                  </a:moveTo>
                  <a:cubicBezTo>
                    <a:pt x="1495" y="1082"/>
                    <a:pt x="1482" y="1079"/>
                    <a:pt x="1470" y="1077"/>
                  </a:cubicBezTo>
                  <a:cubicBezTo>
                    <a:pt x="1459" y="1063"/>
                    <a:pt x="1447" y="1044"/>
                    <a:pt x="1436" y="1021"/>
                  </a:cubicBezTo>
                  <a:cubicBezTo>
                    <a:pt x="1448" y="1022"/>
                    <a:pt x="1462" y="1024"/>
                    <a:pt x="1477" y="1027"/>
                  </a:cubicBezTo>
                  <a:cubicBezTo>
                    <a:pt x="1487" y="1050"/>
                    <a:pt x="1498" y="1069"/>
                    <a:pt x="1508" y="1085"/>
                  </a:cubicBezTo>
                  <a:moveTo>
                    <a:pt x="1901" y="1139"/>
                  </a:moveTo>
                  <a:cubicBezTo>
                    <a:pt x="1892" y="1116"/>
                    <a:pt x="1883" y="1094"/>
                    <a:pt x="1875" y="1071"/>
                  </a:cubicBezTo>
                  <a:cubicBezTo>
                    <a:pt x="1877" y="1054"/>
                    <a:pt x="1879" y="1035"/>
                    <a:pt x="1884" y="1017"/>
                  </a:cubicBezTo>
                  <a:cubicBezTo>
                    <a:pt x="1891" y="1044"/>
                    <a:pt x="1899" y="1071"/>
                    <a:pt x="1908" y="1098"/>
                  </a:cubicBezTo>
                  <a:cubicBezTo>
                    <a:pt x="1905" y="1112"/>
                    <a:pt x="1903" y="1126"/>
                    <a:pt x="1901" y="1139"/>
                  </a:cubicBezTo>
                  <a:moveTo>
                    <a:pt x="1639" y="1048"/>
                  </a:moveTo>
                  <a:cubicBezTo>
                    <a:pt x="1624" y="1045"/>
                    <a:pt x="1610" y="1042"/>
                    <a:pt x="1596" y="1040"/>
                  </a:cubicBezTo>
                  <a:cubicBezTo>
                    <a:pt x="1593" y="1031"/>
                    <a:pt x="1589" y="1021"/>
                    <a:pt x="1586" y="1011"/>
                  </a:cubicBezTo>
                  <a:cubicBezTo>
                    <a:pt x="1600" y="1015"/>
                    <a:pt x="1615" y="1019"/>
                    <a:pt x="1630" y="1022"/>
                  </a:cubicBezTo>
                  <a:cubicBezTo>
                    <a:pt x="1633" y="1031"/>
                    <a:pt x="1636" y="1039"/>
                    <a:pt x="1639" y="1048"/>
                  </a:cubicBezTo>
                  <a:moveTo>
                    <a:pt x="1827" y="1088"/>
                  </a:moveTo>
                  <a:cubicBezTo>
                    <a:pt x="1820" y="1080"/>
                    <a:pt x="1814" y="1071"/>
                    <a:pt x="1807" y="1062"/>
                  </a:cubicBezTo>
                  <a:cubicBezTo>
                    <a:pt x="1805" y="1046"/>
                    <a:pt x="1803" y="1029"/>
                    <a:pt x="1801" y="1010"/>
                  </a:cubicBezTo>
                  <a:cubicBezTo>
                    <a:pt x="1809" y="1029"/>
                    <a:pt x="1817" y="1047"/>
                    <a:pt x="1825" y="1065"/>
                  </a:cubicBezTo>
                  <a:cubicBezTo>
                    <a:pt x="1826" y="1073"/>
                    <a:pt x="1826" y="1081"/>
                    <a:pt x="1827" y="1088"/>
                  </a:cubicBezTo>
                  <a:moveTo>
                    <a:pt x="2031" y="1143"/>
                  </a:moveTo>
                  <a:cubicBezTo>
                    <a:pt x="2022" y="1118"/>
                    <a:pt x="2014" y="1093"/>
                    <a:pt x="2006" y="1068"/>
                  </a:cubicBezTo>
                  <a:cubicBezTo>
                    <a:pt x="2022" y="1046"/>
                    <a:pt x="2042" y="1026"/>
                    <a:pt x="2067" y="1009"/>
                  </a:cubicBezTo>
                  <a:cubicBezTo>
                    <a:pt x="2068" y="1009"/>
                    <a:pt x="2069" y="1008"/>
                    <a:pt x="2070" y="1007"/>
                  </a:cubicBezTo>
                  <a:cubicBezTo>
                    <a:pt x="2078" y="1032"/>
                    <a:pt x="2086" y="1057"/>
                    <a:pt x="2094" y="1082"/>
                  </a:cubicBezTo>
                  <a:cubicBezTo>
                    <a:pt x="2069" y="1100"/>
                    <a:pt x="2048" y="1121"/>
                    <a:pt x="2031" y="1143"/>
                  </a:cubicBezTo>
                  <a:moveTo>
                    <a:pt x="1861" y="1114"/>
                  </a:moveTo>
                  <a:cubicBezTo>
                    <a:pt x="1853" y="1097"/>
                    <a:pt x="1844" y="1079"/>
                    <a:pt x="1836" y="1062"/>
                  </a:cubicBezTo>
                  <a:cubicBezTo>
                    <a:pt x="1836" y="1055"/>
                    <a:pt x="1836" y="1048"/>
                    <a:pt x="1836" y="1042"/>
                  </a:cubicBezTo>
                  <a:cubicBezTo>
                    <a:pt x="1836" y="1028"/>
                    <a:pt x="1836" y="1015"/>
                    <a:pt x="1837" y="1001"/>
                  </a:cubicBezTo>
                  <a:cubicBezTo>
                    <a:pt x="1846" y="1025"/>
                    <a:pt x="1854" y="1050"/>
                    <a:pt x="1863" y="1075"/>
                  </a:cubicBezTo>
                  <a:cubicBezTo>
                    <a:pt x="1862" y="1088"/>
                    <a:pt x="1862" y="1101"/>
                    <a:pt x="1861" y="1114"/>
                  </a:cubicBezTo>
                  <a:moveTo>
                    <a:pt x="1540" y="1041"/>
                  </a:moveTo>
                  <a:cubicBezTo>
                    <a:pt x="1536" y="1030"/>
                    <a:pt x="1531" y="1012"/>
                    <a:pt x="1526" y="1001"/>
                  </a:cubicBezTo>
                  <a:cubicBezTo>
                    <a:pt x="1541" y="1005"/>
                    <a:pt x="1557" y="1010"/>
                    <a:pt x="1573" y="1015"/>
                  </a:cubicBezTo>
                  <a:cubicBezTo>
                    <a:pt x="1576" y="1025"/>
                    <a:pt x="1580" y="1034"/>
                    <a:pt x="1583" y="1044"/>
                  </a:cubicBezTo>
                  <a:cubicBezTo>
                    <a:pt x="1582" y="1043"/>
                    <a:pt x="1580" y="1043"/>
                    <a:pt x="1578" y="1043"/>
                  </a:cubicBezTo>
                  <a:cubicBezTo>
                    <a:pt x="1574" y="1043"/>
                    <a:pt x="1570" y="1044"/>
                    <a:pt x="1566" y="1045"/>
                  </a:cubicBezTo>
                  <a:cubicBezTo>
                    <a:pt x="1566" y="1045"/>
                    <a:pt x="1565" y="1045"/>
                    <a:pt x="1564" y="1045"/>
                  </a:cubicBezTo>
                  <a:cubicBezTo>
                    <a:pt x="1572" y="1047"/>
                    <a:pt x="1580" y="1049"/>
                    <a:pt x="1588" y="1050"/>
                  </a:cubicBezTo>
                  <a:cubicBezTo>
                    <a:pt x="1596" y="1070"/>
                    <a:pt x="1605" y="1088"/>
                    <a:pt x="1613" y="1103"/>
                  </a:cubicBezTo>
                  <a:cubicBezTo>
                    <a:pt x="1613" y="1103"/>
                    <a:pt x="1613" y="1103"/>
                    <a:pt x="1613" y="1103"/>
                  </a:cubicBezTo>
                  <a:cubicBezTo>
                    <a:pt x="1601" y="1101"/>
                    <a:pt x="1589" y="1099"/>
                    <a:pt x="1577" y="1097"/>
                  </a:cubicBezTo>
                  <a:cubicBezTo>
                    <a:pt x="1567" y="1084"/>
                    <a:pt x="1557" y="1066"/>
                    <a:pt x="1548" y="1045"/>
                  </a:cubicBezTo>
                  <a:cubicBezTo>
                    <a:pt x="1545" y="1044"/>
                    <a:pt x="1543" y="1043"/>
                    <a:pt x="1540" y="1041"/>
                  </a:cubicBezTo>
                  <a:cubicBezTo>
                    <a:pt x="1540" y="1041"/>
                    <a:pt x="1540" y="1041"/>
                    <a:pt x="1540" y="1041"/>
                  </a:cubicBezTo>
                  <a:moveTo>
                    <a:pt x="1721" y="996"/>
                  </a:moveTo>
                  <a:cubicBezTo>
                    <a:pt x="1723" y="996"/>
                    <a:pt x="1725" y="996"/>
                    <a:pt x="1727" y="996"/>
                  </a:cubicBezTo>
                  <a:cubicBezTo>
                    <a:pt x="1727" y="989"/>
                    <a:pt x="1727" y="989"/>
                    <a:pt x="1727" y="989"/>
                  </a:cubicBezTo>
                  <a:cubicBezTo>
                    <a:pt x="1730" y="1000"/>
                    <a:pt x="1733" y="1011"/>
                    <a:pt x="1736" y="1022"/>
                  </a:cubicBezTo>
                  <a:cubicBezTo>
                    <a:pt x="1723" y="1022"/>
                    <a:pt x="1710" y="1021"/>
                    <a:pt x="1697" y="1020"/>
                  </a:cubicBezTo>
                  <a:cubicBezTo>
                    <a:pt x="1696" y="1012"/>
                    <a:pt x="1694" y="1004"/>
                    <a:pt x="1692" y="995"/>
                  </a:cubicBezTo>
                  <a:cubicBezTo>
                    <a:pt x="1702" y="996"/>
                    <a:pt x="1711" y="996"/>
                    <a:pt x="1721" y="996"/>
                  </a:cubicBezTo>
                  <a:moveTo>
                    <a:pt x="1686" y="1019"/>
                  </a:moveTo>
                  <a:cubicBezTo>
                    <a:pt x="1670" y="1017"/>
                    <a:pt x="1654" y="1014"/>
                    <a:pt x="1639" y="1012"/>
                  </a:cubicBezTo>
                  <a:cubicBezTo>
                    <a:pt x="1637" y="1004"/>
                    <a:pt x="1634" y="996"/>
                    <a:pt x="1632" y="988"/>
                  </a:cubicBezTo>
                  <a:cubicBezTo>
                    <a:pt x="1648" y="991"/>
                    <a:pt x="1664" y="993"/>
                    <a:pt x="1680" y="994"/>
                  </a:cubicBezTo>
                  <a:cubicBezTo>
                    <a:pt x="1682" y="1003"/>
                    <a:pt x="1684" y="1011"/>
                    <a:pt x="1686" y="1019"/>
                  </a:cubicBezTo>
                  <a:moveTo>
                    <a:pt x="1945" y="1172"/>
                  </a:moveTo>
                  <a:cubicBezTo>
                    <a:pt x="1936" y="1147"/>
                    <a:pt x="1928" y="1122"/>
                    <a:pt x="1920" y="1098"/>
                  </a:cubicBezTo>
                  <a:cubicBezTo>
                    <a:pt x="1929" y="1059"/>
                    <a:pt x="1944" y="1021"/>
                    <a:pt x="1970" y="987"/>
                  </a:cubicBezTo>
                  <a:cubicBezTo>
                    <a:pt x="1972" y="995"/>
                    <a:pt x="1974" y="1004"/>
                    <a:pt x="1977" y="1012"/>
                  </a:cubicBezTo>
                  <a:cubicBezTo>
                    <a:pt x="1982" y="1030"/>
                    <a:pt x="1987" y="1048"/>
                    <a:pt x="1993" y="1066"/>
                  </a:cubicBezTo>
                  <a:cubicBezTo>
                    <a:pt x="1969" y="1099"/>
                    <a:pt x="1954" y="1135"/>
                    <a:pt x="1945" y="1172"/>
                  </a:cubicBezTo>
                  <a:moveTo>
                    <a:pt x="1782" y="1094"/>
                  </a:moveTo>
                  <a:cubicBezTo>
                    <a:pt x="1762" y="1069"/>
                    <a:pt x="1747" y="1025"/>
                    <a:pt x="1737" y="984"/>
                  </a:cubicBezTo>
                  <a:cubicBezTo>
                    <a:pt x="1745" y="996"/>
                    <a:pt x="1755" y="1010"/>
                    <a:pt x="1766" y="1025"/>
                  </a:cubicBezTo>
                  <a:cubicBezTo>
                    <a:pt x="1772" y="1055"/>
                    <a:pt x="1778" y="1079"/>
                    <a:pt x="1782" y="1094"/>
                  </a:cubicBezTo>
                  <a:moveTo>
                    <a:pt x="1526" y="1025"/>
                  </a:moveTo>
                  <a:cubicBezTo>
                    <a:pt x="1512" y="1022"/>
                    <a:pt x="1498" y="1019"/>
                    <a:pt x="1485" y="1016"/>
                  </a:cubicBezTo>
                  <a:cubicBezTo>
                    <a:pt x="1479" y="1003"/>
                    <a:pt x="1473" y="989"/>
                    <a:pt x="1467" y="974"/>
                  </a:cubicBezTo>
                  <a:cubicBezTo>
                    <a:pt x="1476" y="977"/>
                    <a:pt x="1486" y="981"/>
                    <a:pt x="1496" y="984"/>
                  </a:cubicBezTo>
                  <a:cubicBezTo>
                    <a:pt x="1501" y="986"/>
                    <a:pt x="1507" y="988"/>
                    <a:pt x="1512" y="989"/>
                  </a:cubicBezTo>
                  <a:cubicBezTo>
                    <a:pt x="1517" y="1001"/>
                    <a:pt x="1522" y="1013"/>
                    <a:pt x="1526" y="1025"/>
                  </a:cubicBezTo>
                  <a:moveTo>
                    <a:pt x="1626" y="1009"/>
                  </a:moveTo>
                  <a:cubicBezTo>
                    <a:pt x="1611" y="1006"/>
                    <a:pt x="1596" y="1002"/>
                    <a:pt x="1581" y="998"/>
                  </a:cubicBezTo>
                  <a:cubicBezTo>
                    <a:pt x="1578" y="990"/>
                    <a:pt x="1576" y="981"/>
                    <a:pt x="1573" y="973"/>
                  </a:cubicBezTo>
                  <a:cubicBezTo>
                    <a:pt x="1588" y="977"/>
                    <a:pt x="1603" y="981"/>
                    <a:pt x="1619" y="985"/>
                  </a:cubicBezTo>
                  <a:cubicBezTo>
                    <a:pt x="1622" y="993"/>
                    <a:pt x="1624" y="1001"/>
                    <a:pt x="1626" y="1009"/>
                  </a:cubicBezTo>
                  <a:moveTo>
                    <a:pt x="2070" y="965"/>
                  </a:moveTo>
                  <a:cubicBezTo>
                    <a:pt x="2058" y="965"/>
                    <a:pt x="2058" y="965"/>
                    <a:pt x="2058" y="965"/>
                  </a:cubicBezTo>
                  <a:cubicBezTo>
                    <a:pt x="2060" y="972"/>
                    <a:pt x="2062" y="978"/>
                    <a:pt x="2064" y="984"/>
                  </a:cubicBezTo>
                  <a:cubicBezTo>
                    <a:pt x="2065" y="988"/>
                    <a:pt x="2066" y="992"/>
                    <a:pt x="2067" y="995"/>
                  </a:cubicBezTo>
                  <a:cubicBezTo>
                    <a:pt x="2065" y="997"/>
                    <a:pt x="2063" y="998"/>
                    <a:pt x="2061" y="999"/>
                  </a:cubicBezTo>
                  <a:cubicBezTo>
                    <a:pt x="2037" y="1016"/>
                    <a:pt x="2017" y="1034"/>
                    <a:pt x="2001" y="1055"/>
                  </a:cubicBezTo>
                  <a:cubicBezTo>
                    <a:pt x="1997" y="1039"/>
                    <a:pt x="1992" y="1024"/>
                    <a:pt x="1988" y="1009"/>
                  </a:cubicBezTo>
                  <a:cubicBezTo>
                    <a:pt x="1984" y="998"/>
                    <a:pt x="1981" y="987"/>
                    <a:pt x="1978" y="976"/>
                  </a:cubicBezTo>
                  <a:cubicBezTo>
                    <a:pt x="1981" y="972"/>
                    <a:pt x="1985" y="969"/>
                    <a:pt x="1988" y="965"/>
                  </a:cubicBezTo>
                  <a:cubicBezTo>
                    <a:pt x="1963" y="965"/>
                    <a:pt x="1963" y="965"/>
                    <a:pt x="1963" y="965"/>
                  </a:cubicBezTo>
                  <a:cubicBezTo>
                    <a:pt x="1964" y="968"/>
                    <a:pt x="1965" y="971"/>
                    <a:pt x="1966" y="973"/>
                  </a:cubicBezTo>
                  <a:cubicBezTo>
                    <a:pt x="1940" y="1005"/>
                    <a:pt x="1924" y="1041"/>
                    <a:pt x="1913" y="1078"/>
                  </a:cubicBezTo>
                  <a:cubicBezTo>
                    <a:pt x="1905" y="1050"/>
                    <a:pt x="1897" y="1023"/>
                    <a:pt x="1889" y="996"/>
                  </a:cubicBezTo>
                  <a:cubicBezTo>
                    <a:pt x="1892" y="986"/>
                    <a:pt x="1896" y="975"/>
                    <a:pt x="1900" y="965"/>
                  </a:cubicBezTo>
                  <a:cubicBezTo>
                    <a:pt x="1888" y="965"/>
                    <a:pt x="1888" y="965"/>
                    <a:pt x="1888" y="965"/>
                  </a:cubicBezTo>
                  <a:cubicBezTo>
                    <a:pt x="1886" y="969"/>
                    <a:pt x="1885" y="973"/>
                    <a:pt x="1884" y="976"/>
                  </a:cubicBezTo>
                  <a:cubicBezTo>
                    <a:pt x="1883" y="973"/>
                    <a:pt x="1882" y="969"/>
                    <a:pt x="1881" y="965"/>
                  </a:cubicBezTo>
                  <a:cubicBezTo>
                    <a:pt x="1869" y="965"/>
                    <a:pt x="1869" y="965"/>
                    <a:pt x="1869" y="965"/>
                  </a:cubicBezTo>
                  <a:cubicBezTo>
                    <a:pt x="1872" y="975"/>
                    <a:pt x="1875" y="986"/>
                    <a:pt x="1878" y="996"/>
                  </a:cubicBezTo>
                  <a:cubicBezTo>
                    <a:pt x="1873" y="1013"/>
                    <a:pt x="1869" y="1031"/>
                    <a:pt x="1866" y="1048"/>
                  </a:cubicBezTo>
                  <a:cubicBezTo>
                    <a:pt x="1857" y="1022"/>
                    <a:pt x="1848" y="997"/>
                    <a:pt x="1840" y="973"/>
                  </a:cubicBezTo>
                  <a:cubicBezTo>
                    <a:pt x="1841" y="970"/>
                    <a:pt x="1841" y="968"/>
                    <a:pt x="1841" y="965"/>
                  </a:cubicBezTo>
                  <a:cubicBezTo>
                    <a:pt x="1825" y="965"/>
                    <a:pt x="1825" y="965"/>
                    <a:pt x="1825" y="965"/>
                  </a:cubicBezTo>
                  <a:cubicBezTo>
                    <a:pt x="1827" y="969"/>
                    <a:pt x="1828" y="972"/>
                    <a:pt x="1829" y="976"/>
                  </a:cubicBezTo>
                  <a:cubicBezTo>
                    <a:pt x="1826" y="996"/>
                    <a:pt x="1825" y="1017"/>
                    <a:pt x="1825" y="1037"/>
                  </a:cubicBezTo>
                  <a:cubicBezTo>
                    <a:pt x="1816" y="1017"/>
                    <a:pt x="1807" y="996"/>
                    <a:pt x="1799" y="977"/>
                  </a:cubicBezTo>
                  <a:cubicBezTo>
                    <a:pt x="1799" y="973"/>
                    <a:pt x="1799" y="969"/>
                    <a:pt x="1799" y="965"/>
                  </a:cubicBezTo>
                  <a:cubicBezTo>
                    <a:pt x="1783" y="965"/>
                    <a:pt x="1783" y="965"/>
                    <a:pt x="1783" y="965"/>
                  </a:cubicBezTo>
                  <a:cubicBezTo>
                    <a:pt x="1784" y="970"/>
                    <a:pt x="1786" y="975"/>
                    <a:pt x="1788" y="980"/>
                  </a:cubicBezTo>
                  <a:cubicBezTo>
                    <a:pt x="1789" y="1002"/>
                    <a:pt x="1791" y="1024"/>
                    <a:pt x="1793" y="1044"/>
                  </a:cubicBezTo>
                  <a:cubicBezTo>
                    <a:pt x="1788" y="1035"/>
                    <a:pt x="1782" y="1027"/>
                    <a:pt x="1776" y="1019"/>
                  </a:cubicBezTo>
                  <a:cubicBezTo>
                    <a:pt x="1773" y="1003"/>
                    <a:pt x="1770" y="985"/>
                    <a:pt x="1767" y="965"/>
                  </a:cubicBezTo>
                  <a:cubicBezTo>
                    <a:pt x="1756" y="965"/>
                    <a:pt x="1756" y="965"/>
                    <a:pt x="1756" y="965"/>
                  </a:cubicBezTo>
                  <a:cubicBezTo>
                    <a:pt x="1758" y="977"/>
                    <a:pt x="1759" y="988"/>
                    <a:pt x="1761" y="998"/>
                  </a:cubicBezTo>
                  <a:cubicBezTo>
                    <a:pt x="1752" y="986"/>
                    <a:pt x="1744" y="974"/>
                    <a:pt x="1738" y="965"/>
                  </a:cubicBezTo>
                  <a:cubicBezTo>
                    <a:pt x="1721" y="965"/>
                    <a:pt x="1721" y="965"/>
                    <a:pt x="1721" y="965"/>
                  </a:cubicBezTo>
                  <a:cubicBezTo>
                    <a:pt x="1723" y="971"/>
                    <a:pt x="1724" y="978"/>
                    <a:pt x="1726" y="984"/>
                  </a:cubicBezTo>
                  <a:cubicBezTo>
                    <a:pt x="1724" y="984"/>
                    <a:pt x="1722" y="984"/>
                    <a:pt x="1721" y="984"/>
                  </a:cubicBezTo>
                  <a:cubicBezTo>
                    <a:pt x="1710" y="984"/>
                    <a:pt x="1700" y="984"/>
                    <a:pt x="1690" y="983"/>
                  </a:cubicBezTo>
                  <a:cubicBezTo>
                    <a:pt x="1689" y="977"/>
                    <a:pt x="1688" y="971"/>
                    <a:pt x="1686" y="965"/>
                  </a:cubicBezTo>
                  <a:cubicBezTo>
                    <a:pt x="1675" y="965"/>
                    <a:pt x="1675" y="965"/>
                    <a:pt x="1675" y="965"/>
                  </a:cubicBezTo>
                  <a:cubicBezTo>
                    <a:pt x="1676" y="971"/>
                    <a:pt x="1677" y="977"/>
                    <a:pt x="1678" y="982"/>
                  </a:cubicBezTo>
                  <a:cubicBezTo>
                    <a:pt x="1661" y="981"/>
                    <a:pt x="1644" y="978"/>
                    <a:pt x="1628" y="975"/>
                  </a:cubicBezTo>
                  <a:cubicBezTo>
                    <a:pt x="1628" y="972"/>
                    <a:pt x="1627" y="968"/>
                    <a:pt x="1626" y="965"/>
                  </a:cubicBezTo>
                  <a:cubicBezTo>
                    <a:pt x="1614" y="965"/>
                    <a:pt x="1614" y="965"/>
                    <a:pt x="1614" y="965"/>
                  </a:cubicBezTo>
                  <a:cubicBezTo>
                    <a:pt x="1615" y="968"/>
                    <a:pt x="1615" y="970"/>
                    <a:pt x="1616" y="972"/>
                  </a:cubicBezTo>
                  <a:cubicBezTo>
                    <a:pt x="1607" y="970"/>
                    <a:pt x="1598" y="968"/>
                    <a:pt x="1590" y="965"/>
                  </a:cubicBezTo>
                  <a:cubicBezTo>
                    <a:pt x="1550" y="965"/>
                    <a:pt x="1550" y="965"/>
                    <a:pt x="1550" y="965"/>
                  </a:cubicBezTo>
                  <a:cubicBezTo>
                    <a:pt x="1554" y="966"/>
                    <a:pt x="1557" y="967"/>
                    <a:pt x="1560" y="968"/>
                  </a:cubicBezTo>
                  <a:cubicBezTo>
                    <a:pt x="1562" y="977"/>
                    <a:pt x="1565" y="986"/>
                    <a:pt x="1568" y="994"/>
                  </a:cubicBezTo>
                  <a:cubicBezTo>
                    <a:pt x="1552" y="989"/>
                    <a:pt x="1536" y="984"/>
                    <a:pt x="1521" y="980"/>
                  </a:cubicBezTo>
                  <a:cubicBezTo>
                    <a:pt x="1519" y="975"/>
                    <a:pt x="1517" y="970"/>
                    <a:pt x="1516" y="965"/>
                  </a:cubicBezTo>
                  <a:cubicBezTo>
                    <a:pt x="1504" y="965"/>
                    <a:pt x="1504" y="965"/>
                    <a:pt x="1504" y="965"/>
                  </a:cubicBezTo>
                  <a:cubicBezTo>
                    <a:pt x="1505" y="969"/>
                    <a:pt x="1506" y="972"/>
                    <a:pt x="1507" y="975"/>
                  </a:cubicBezTo>
                  <a:cubicBezTo>
                    <a:pt x="1505" y="974"/>
                    <a:pt x="1502" y="973"/>
                    <a:pt x="1500" y="973"/>
                  </a:cubicBezTo>
                  <a:cubicBezTo>
                    <a:pt x="1492" y="970"/>
                    <a:pt x="1485" y="968"/>
                    <a:pt x="1477" y="965"/>
                  </a:cubicBezTo>
                  <a:cubicBezTo>
                    <a:pt x="1437" y="965"/>
                    <a:pt x="1437" y="965"/>
                    <a:pt x="1437" y="965"/>
                  </a:cubicBezTo>
                  <a:cubicBezTo>
                    <a:pt x="1442" y="967"/>
                    <a:pt x="1447" y="968"/>
                    <a:pt x="1453" y="970"/>
                  </a:cubicBezTo>
                  <a:cubicBezTo>
                    <a:pt x="1459" y="985"/>
                    <a:pt x="1465" y="1000"/>
                    <a:pt x="1471" y="1014"/>
                  </a:cubicBezTo>
                  <a:cubicBezTo>
                    <a:pt x="1456" y="1011"/>
                    <a:pt x="1442" y="1009"/>
                    <a:pt x="1430" y="1009"/>
                  </a:cubicBezTo>
                  <a:cubicBezTo>
                    <a:pt x="1423" y="995"/>
                    <a:pt x="1416" y="980"/>
                    <a:pt x="1410" y="965"/>
                  </a:cubicBezTo>
                  <a:cubicBezTo>
                    <a:pt x="1399" y="965"/>
                    <a:pt x="1399" y="965"/>
                    <a:pt x="1399" y="965"/>
                  </a:cubicBezTo>
                  <a:cubicBezTo>
                    <a:pt x="1399" y="969"/>
                    <a:pt x="1399" y="969"/>
                    <a:pt x="1399" y="969"/>
                  </a:cubicBezTo>
                  <a:cubicBezTo>
                    <a:pt x="1405" y="983"/>
                    <a:pt x="1411" y="996"/>
                    <a:pt x="1417" y="1008"/>
                  </a:cubicBezTo>
                  <a:cubicBezTo>
                    <a:pt x="1410" y="1008"/>
                    <a:pt x="1404" y="1009"/>
                    <a:pt x="1399" y="1010"/>
                  </a:cubicBezTo>
                  <a:cubicBezTo>
                    <a:pt x="1399" y="1022"/>
                    <a:pt x="1399" y="1022"/>
                    <a:pt x="1399" y="1022"/>
                  </a:cubicBezTo>
                  <a:cubicBezTo>
                    <a:pt x="1404" y="1021"/>
                    <a:pt x="1411" y="1020"/>
                    <a:pt x="1418" y="1020"/>
                  </a:cubicBezTo>
                  <a:cubicBezTo>
                    <a:pt x="1419" y="1020"/>
                    <a:pt x="1421" y="1020"/>
                    <a:pt x="1423" y="1020"/>
                  </a:cubicBezTo>
                  <a:cubicBezTo>
                    <a:pt x="1433" y="1040"/>
                    <a:pt x="1443" y="1058"/>
                    <a:pt x="1453" y="1073"/>
                  </a:cubicBezTo>
                  <a:cubicBezTo>
                    <a:pt x="1428" y="1067"/>
                    <a:pt x="1409" y="1062"/>
                    <a:pt x="1399" y="1060"/>
                  </a:cubicBezTo>
                  <a:cubicBezTo>
                    <a:pt x="1399" y="1073"/>
                    <a:pt x="1399" y="1073"/>
                    <a:pt x="1399" y="1073"/>
                  </a:cubicBezTo>
                  <a:cubicBezTo>
                    <a:pt x="1411" y="1078"/>
                    <a:pt x="1433" y="1087"/>
                    <a:pt x="1459" y="1096"/>
                  </a:cubicBezTo>
                  <a:cubicBezTo>
                    <a:pt x="1460" y="1104"/>
                    <a:pt x="1460" y="1116"/>
                    <a:pt x="1461" y="1131"/>
                  </a:cubicBezTo>
                  <a:cubicBezTo>
                    <a:pt x="1442" y="1135"/>
                    <a:pt x="1424" y="1141"/>
                    <a:pt x="1407" y="1149"/>
                  </a:cubicBezTo>
                  <a:cubicBezTo>
                    <a:pt x="1404" y="1133"/>
                    <a:pt x="1401" y="1119"/>
                    <a:pt x="1399" y="1107"/>
                  </a:cubicBezTo>
                  <a:cubicBezTo>
                    <a:pt x="1399" y="1173"/>
                    <a:pt x="1399" y="1173"/>
                    <a:pt x="1399" y="1173"/>
                  </a:cubicBezTo>
                  <a:cubicBezTo>
                    <a:pt x="1400" y="1181"/>
                    <a:pt x="1401" y="1189"/>
                    <a:pt x="1403" y="1197"/>
                  </a:cubicBezTo>
                  <a:cubicBezTo>
                    <a:pt x="1401" y="1198"/>
                    <a:pt x="1400" y="1199"/>
                    <a:pt x="1399" y="1200"/>
                  </a:cubicBezTo>
                  <a:cubicBezTo>
                    <a:pt x="1399" y="1214"/>
                    <a:pt x="1399" y="1214"/>
                    <a:pt x="1399" y="1214"/>
                  </a:cubicBezTo>
                  <a:cubicBezTo>
                    <a:pt x="1401" y="1213"/>
                    <a:pt x="1403" y="1212"/>
                    <a:pt x="1404" y="1210"/>
                  </a:cubicBezTo>
                  <a:cubicBezTo>
                    <a:pt x="1408" y="1236"/>
                    <a:pt x="1410" y="1262"/>
                    <a:pt x="1412" y="1287"/>
                  </a:cubicBezTo>
                  <a:cubicBezTo>
                    <a:pt x="1411" y="1288"/>
                    <a:pt x="1411" y="1288"/>
                    <a:pt x="1410" y="1288"/>
                  </a:cubicBezTo>
                  <a:cubicBezTo>
                    <a:pt x="1407" y="1290"/>
                    <a:pt x="1403" y="1293"/>
                    <a:pt x="1399" y="1295"/>
                  </a:cubicBezTo>
                  <a:cubicBezTo>
                    <a:pt x="1399" y="1308"/>
                    <a:pt x="1399" y="1308"/>
                    <a:pt x="1399" y="1308"/>
                  </a:cubicBezTo>
                  <a:cubicBezTo>
                    <a:pt x="1404" y="1306"/>
                    <a:pt x="1409" y="1303"/>
                    <a:pt x="1412" y="1301"/>
                  </a:cubicBezTo>
                  <a:cubicBezTo>
                    <a:pt x="1413" y="1307"/>
                    <a:pt x="1413" y="1312"/>
                    <a:pt x="1413" y="1317"/>
                  </a:cubicBezTo>
                  <a:cubicBezTo>
                    <a:pt x="1413" y="1336"/>
                    <a:pt x="1411" y="1353"/>
                    <a:pt x="1409" y="1367"/>
                  </a:cubicBezTo>
                  <a:cubicBezTo>
                    <a:pt x="1405" y="1367"/>
                    <a:pt x="1402" y="1368"/>
                    <a:pt x="1399" y="1368"/>
                  </a:cubicBezTo>
                  <a:cubicBezTo>
                    <a:pt x="1399" y="1380"/>
                    <a:pt x="1399" y="1380"/>
                    <a:pt x="1399" y="1380"/>
                  </a:cubicBezTo>
                  <a:cubicBezTo>
                    <a:pt x="1409" y="1379"/>
                    <a:pt x="1419" y="1379"/>
                    <a:pt x="1429" y="1379"/>
                  </a:cubicBezTo>
                  <a:cubicBezTo>
                    <a:pt x="1447" y="1379"/>
                    <a:pt x="1465" y="1380"/>
                    <a:pt x="1482" y="1381"/>
                  </a:cubicBezTo>
                  <a:cubicBezTo>
                    <a:pt x="1483" y="1393"/>
                    <a:pt x="1485" y="1421"/>
                    <a:pt x="1488" y="1460"/>
                  </a:cubicBezTo>
                  <a:cubicBezTo>
                    <a:pt x="1499" y="1460"/>
                    <a:pt x="1499" y="1460"/>
                    <a:pt x="1499" y="1460"/>
                  </a:cubicBezTo>
                  <a:cubicBezTo>
                    <a:pt x="1496" y="1422"/>
                    <a:pt x="1494" y="1394"/>
                    <a:pt x="1493" y="1381"/>
                  </a:cubicBezTo>
                  <a:cubicBezTo>
                    <a:pt x="1552" y="1386"/>
                    <a:pt x="1607" y="1397"/>
                    <a:pt x="1655" y="1413"/>
                  </a:cubicBezTo>
                  <a:cubicBezTo>
                    <a:pt x="1655" y="1423"/>
                    <a:pt x="1656" y="1439"/>
                    <a:pt x="1657" y="1460"/>
                  </a:cubicBezTo>
                  <a:cubicBezTo>
                    <a:pt x="1668" y="1460"/>
                    <a:pt x="1668" y="1460"/>
                    <a:pt x="1668" y="1460"/>
                  </a:cubicBezTo>
                  <a:cubicBezTo>
                    <a:pt x="1667" y="1441"/>
                    <a:pt x="1667" y="1427"/>
                    <a:pt x="1666" y="1417"/>
                  </a:cubicBezTo>
                  <a:cubicBezTo>
                    <a:pt x="1683" y="1424"/>
                    <a:pt x="1698" y="1431"/>
                    <a:pt x="1713" y="1438"/>
                  </a:cubicBezTo>
                  <a:cubicBezTo>
                    <a:pt x="1713" y="1439"/>
                    <a:pt x="1713" y="1439"/>
                    <a:pt x="1713" y="1439"/>
                  </a:cubicBezTo>
                  <a:cubicBezTo>
                    <a:pt x="1714" y="1439"/>
                    <a:pt x="1714" y="1439"/>
                    <a:pt x="1714" y="1439"/>
                  </a:cubicBezTo>
                  <a:cubicBezTo>
                    <a:pt x="1726" y="1445"/>
                    <a:pt x="1738" y="1452"/>
                    <a:pt x="1750" y="1460"/>
                  </a:cubicBezTo>
                  <a:cubicBezTo>
                    <a:pt x="1770" y="1460"/>
                    <a:pt x="1770" y="1460"/>
                    <a:pt x="1770" y="1460"/>
                  </a:cubicBezTo>
                  <a:cubicBezTo>
                    <a:pt x="1767" y="1457"/>
                    <a:pt x="1763" y="1454"/>
                    <a:pt x="1759" y="1452"/>
                  </a:cubicBezTo>
                  <a:cubicBezTo>
                    <a:pt x="1762" y="1451"/>
                    <a:pt x="1762" y="1451"/>
                    <a:pt x="1762" y="1451"/>
                  </a:cubicBezTo>
                  <a:cubicBezTo>
                    <a:pt x="1757" y="1433"/>
                    <a:pt x="1754" y="1414"/>
                    <a:pt x="1754" y="1395"/>
                  </a:cubicBezTo>
                  <a:cubicBezTo>
                    <a:pt x="1757" y="1400"/>
                    <a:pt x="1761" y="1406"/>
                    <a:pt x="1765" y="1412"/>
                  </a:cubicBezTo>
                  <a:cubicBezTo>
                    <a:pt x="1772" y="1423"/>
                    <a:pt x="1780" y="1435"/>
                    <a:pt x="1789" y="1448"/>
                  </a:cubicBezTo>
                  <a:cubicBezTo>
                    <a:pt x="1789" y="1452"/>
                    <a:pt x="1789" y="1456"/>
                    <a:pt x="1789" y="1460"/>
                  </a:cubicBezTo>
                  <a:cubicBezTo>
                    <a:pt x="1812" y="1460"/>
                    <a:pt x="1812" y="1460"/>
                    <a:pt x="1812" y="1460"/>
                  </a:cubicBezTo>
                  <a:cubicBezTo>
                    <a:pt x="1808" y="1455"/>
                    <a:pt x="1805" y="1449"/>
                    <a:pt x="1801" y="1444"/>
                  </a:cubicBezTo>
                  <a:cubicBezTo>
                    <a:pt x="1802" y="1426"/>
                    <a:pt x="1804" y="1408"/>
                    <a:pt x="1807" y="1391"/>
                  </a:cubicBezTo>
                  <a:cubicBezTo>
                    <a:pt x="1812" y="1398"/>
                    <a:pt x="1818" y="1407"/>
                    <a:pt x="1823" y="1416"/>
                  </a:cubicBezTo>
                  <a:cubicBezTo>
                    <a:pt x="1828" y="1422"/>
                    <a:pt x="1832" y="1429"/>
                    <a:pt x="1837" y="1436"/>
                  </a:cubicBezTo>
                  <a:cubicBezTo>
                    <a:pt x="1836" y="1444"/>
                    <a:pt x="1835" y="1452"/>
                    <a:pt x="1834" y="1460"/>
                  </a:cubicBezTo>
                  <a:cubicBezTo>
                    <a:pt x="1845" y="1460"/>
                    <a:pt x="1845" y="1460"/>
                    <a:pt x="1845" y="1460"/>
                  </a:cubicBezTo>
                  <a:cubicBezTo>
                    <a:pt x="1846" y="1457"/>
                    <a:pt x="1846" y="1454"/>
                    <a:pt x="1846" y="1451"/>
                  </a:cubicBezTo>
                  <a:cubicBezTo>
                    <a:pt x="1848" y="1454"/>
                    <a:pt x="1850" y="1457"/>
                    <a:pt x="1852" y="1460"/>
                  </a:cubicBezTo>
                  <a:cubicBezTo>
                    <a:pt x="1865" y="1460"/>
                    <a:pt x="1865" y="1460"/>
                    <a:pt x="1865" y="1460"/>
                  </a:cubicBezTo>
                  <a:cubicBezTo>
                    <a:pt x="1859" y="1451"/>
                    <a:pt x="1854" y="1442"/>
                    <a:pt x="1848" y="1433"/>
                  </a:cubicBezTo>
                  <a:cubicBezTo>
                    <a:pt x="1851" y="1413"/>
                    <a:pt x="1855" y="1393"/>
                    <a:pt x="1860" y="1375"/>
                  </a:cubicBezTo>
                  <a:cubicBezTo>
                    <a:pt x="1865" y="1384"/>
                    <a:pt x="1869" y="1392"/>
                    <a:pt x="1872" y="1399"/>
                  </a:cubicBezTo>
                  <a:cubicBezTo>
                    <a:pt x="1875" y="1406"/>
                    <a:pt x="1879" y="1415"/>
                    <a:pt x="1884" y="1425"/>
                  </a:cubicBezTo>
                  <a:cubicBezTo>
                    <a:pt x="1882" y="1436"/>
                    <a:pt x="1880" y="1448"/>
                    <a:pt x="1878" y="1460"/>
                  </a:cubicBezTo>
                  <a:cubicBezTo>
                    <a:pt x="1889" y="1460"/>
                    <a:pt x="1889" y="1460"/>
                    <a:pt x="1889" y="1460"/>
                  </a:cubicBezTo>
                  <a:cubicBezTo>
                    <a:pt x="1890" y="1454"/>
                    <a:pt x="1891" y="1448"/>
                    <a:pt x="1892" y="1443"/>
                  </a:cubicBezTo>
                  <a:cubicBezTo>
                    <a:pt x="1894" y="1448"/>
                    <a:pt x="1897" y="1454"/>
                    <a:pt x="1900" y="1460"/>
                  </a:cubicBezTo>
                  <a:cubicBezTo>
                    <a:pt x="1913" y="1460"/>
                    <a:pt x="1913" y="1460"/>
                    <a:pt x="1913" y="1460"/>
                  </a:cubicBezTo>
                  <a:cubicBezTo>
                    <a:pt x="1906" y="1446"/>
                    <a:pt x="1900" y="1434"/>
                    <a:pt x="1895" y="1424"/>
                  </a:cubicBezTo>
                  <a:cubicBezTo>
                    <a:pt x="1899" y="1403"/>
                    <a:pt x="1904" y="1385"/>
                    <a:pt x="1909" y="1369"/>
                  </a:cubicBezTo>
                  <a:cubicBezTo>
                    <a:pt x="1912" y="1376"/>
                    <a:pt x="1915" y="1384"/>
                    <a:pt x="1918" y="1392"/>
                  </a:cubicBezTo>
                  <a:cubicBezTo>
                    <a:pt x="1922" y="1401"/>
                    <a:pt x="1925" y="1410"/>
                    <a:pt x="1929" y="1420"/>
                  </a:cubicBezTo>
                  <a:cubicBezTo>
                    <a:pt x="1926" y="1432"/>
                    <a:pt x="1923" y="1445"/>
                    <a:pt x="1921" y="1460"/>
                  </a:cubicBezTo>
                  <a:cubicBezTo>
                    <a:pt x="1932" y="1460"/>
                    <a:pt x="1932" y="1460"/>
                    <a:pt x="1932" y="1460"/>
                  </a:cubicBezTo>
                  <a:cubicBezTo>
                    <a:pt x="1933" y="1452"/>
                    <a:pt x="1934" y="1445"/>
                    <a:pt x="1936" y="1439"/>
                  </a:cubicBezTo>
                  <a:cubicBezTo>
                    <a:pt x="1939" y="1446"/>
                    <a:pt x="1941" y="1453"/>
                    <a:pt x="1944" y="1460"/>
                  </a:cubicBezTo>
                  <a:cubicBezTo>
                    <a:pt x="1956" y="1460"/>
                    <a:pt x="1956" y="1460"/>
                    <a:pt x="1956" y="1460"/>
                  </a:cubicBezTo>
                  <a:cubicBezTo>
                    <a:pt x="1951" y="1446"/>
                    <a:pt x="1945" y="1432"/>
                    <a:pt x="1940" y="1419"/>
                  </a:cubicBezTo>
                  <a:cubicBezTo>
                    <a:pt x="1944" y="1404"/>
                    <a:pt x="1948" y="1391"/>
                    <a:pt x="1951" y="1382"/>
                  </a:cubicBezTo>
                  <a:cubicBezTo>
                    <a:pt x="1956" y="1397"/>
                    <a:pt x="1962" y="1414"/>
                    <a:pt x="1968" y="1431"/>
                  </a:cubicBezTo>
                  <a:cubicBezTo>
                    <a:pt x="1966" y="1437"/>
                    <a:pt x="1963" y="1447"/>
                    <a:pt x="1961" y="1460"/>
                  </a:cubicBezTo>
                  <a:cubicBezTo>
                    <a:pt x="1972" y="1460"/>
                    <a:pt x="1972" y="1460"/>
                    <a:pt x="1972" y="1460"/>
                  </a:cubicBezTo>
                  <a:cubicBezTo>
                    <a:pt x="1973" y="1456"/>
                    <a:pt x="1974" y="1453"/>
                    <a:pt x="1974" y="1450"/>
                  </a:cubicBezTo>
                  <a:cubicBezTo>
                    <a:pt x="1976" y="1453"/>
                    <a:pt x="1977" y="1456"/>
                    <a:pt x="1978" y="1460"/>
                  </a:cubicBezTo>
                  <a:cubicBezTo>
                    <a:pt x="1991" y="1460"/>
                    <a:pt x="1991" y="1460"/>
                    <a:pt x="1991" y="1460"/>
                  </a:cubicBezTo>
                  <a:cubicBezTo>
                    <a:pt x="1988" y="1450"/>
                    <a:pt x="1985" y="1440"/>
                    <a:pt x="1981" y="1431"/>
                  </a:cubicBezTo>
                  <a:cubicBezTo>
                    <a:pt x="1982" y="1430"/>
                    <a:pt x="1982" y="1430"/>
                    <a:pt x="1982" y="1430"/>
                  </a:cubicBezTo>
                  <a:cubicBezTo>
                    <a:pt x="1982" y="1430"/>
                    <a:pt x="1981" y="1426"/>
                    <a:pt x="1980" y="1419"/>
                  </a:cubicBezTo>
                  <a:cubicBezTo>
                    <a:pt x="1987" y="1432"/>
                    <a:pt x="1995" y="1446"/>
                    <a:pt x="2003" y="1460"/>
                  </a:cubicBezTo>
                  <a:cubicBezTo>
                    <a:pt x="2018" y="1460"/>
                    <a:pt x="2018" y="1460"/>
                    <a:pt x="2018" y="1460"/>
                  </a:cubicBezTo>
                  <a:cubicBezTo>
                    <a:pt x="2017" y="1457"/>
                    <a:pt x="2014" y="1439"/>
                    <a:pt x="2014" y="1414"/>
                  </a:cubicBezTo>
                  <a:cubicBezTo>
                    <a:pt x="2014" y="1411"/>
                    <a:pt x="2014" y="1409"/>
                    <a:pt x="2014" y="1407"/>
                  </a:cubicBezTo>
                  <a:cubicBezTo>
                    <a:pt x="2022" y="1421"/>
                    <a:pt x="2030" y="1434"/>
                    <a:pt x="2038" y="1447"/>
                  </a:cubicBezTo>
                  <a:cubicBezTo>
                    <a:pt x="2038" y="1452"/>
                    <a:pt x="2037" y="1456"/>
                    <a:pt x="2037" y="1460"/>
                  </a:cubicBezTo>
                  <a:cubicBezTo>
                    <a:pt x="2061" y="1460"/>
                    <a:pt x="2061" y="1460"/>
                    <a:pt x="2061" y="1460"/>
                  </a:cubicBezTo>
                  <a:cubicBezTo>
                    <a:pt x="2057" y="1454"/>
                    <a:pt x="2053" y="1448"/>
                    <a:pt x="2050" y="1443"/>
                  </a:cubicBezTo>
                  <a:cubicBezTo>
                    <a:pt x="2050" y="1439"/>
                    <a:pt x="2051" y="1435"/>
                    <a:pt x="2052" y="1432"/>
                  </a:cubicBezTo>
                  <a:cubicBezTo>
                    <a:pt x="2057" y="1441"/>
                    <a:pt x="2063" y="1451"/>
                    <a:pt x="2069" y="1460"/>
                  </a:cubicBezTo>
                  <a:cubicBezTo>
                    <a:pt x="2083" y="1460"/>
                    <a:pt x="2083" y="1460"/>
                    <a:pt x="2083" y="1460"/>
                  </a:cubicBezTo>
                  <a:cubicBezTo>
                    <a:pt x="2073" y="1445"/>
                    <a:pt x="2064" y="1430"/>
                    <a:pt x="2056" y="1415"/>
                  </a:cubicBezTo>
                  <a:cubicBezTo>
                    <a:pt x="2056" y="1414"/>
                    <a:pt x="2056" y="1414"/>
                    <a:pt x="2056" y="1414"/>
                  </a:cubicBezTo>
                  <a:cubicBezTo>
                    <a:pt x="2064" y="1382"/>
                    <a:pt x="2078" y="1352"/>
                    <a:pt x="2096" y="1326"/>
                  </a:cubicBezTo>
                  <a:cubicBezTo>
                    <a:pt x="2097" y="1327"/>
                    <a:pt x="2097" y="1327"/>
                    <a:pt x="2097" y="1328"/>
                  </a:cubicBezTo>
                  <a:cubicBezTo>
                    <a:pt x="2097" y="1302"/>
                    <a:pt x="2097" y="1302"/>
                    <a:pt x="2097" y="1302"/>
                  </a:cubicBezTo>
                  <a:cubicBezTo>
                    <a:pt x="2087" y="1281"/>
                    <a:pt x="2078" y="1259"/>
                    <a:pt x="2068" y="1238"/>
                  </a:cubicBezTo>
                  <a:cubicBezTo>
                    <a:pt x="2077" y="1226"/>
                    <a:pt x="2086" y="1215"/>
                    <a:pt x="2097" y="1204"/>
                  </a:cubicBezTo>
                  <a:cubicBezTo>
                    <a:pt x="2097" y="1188"/>
                    <a:pt x="2097" y="1188"/>
                    <a:pt x="2097" y="1188"/>
                  </a:cubicBezTo>
                  <a:cubicBezTo>
                    <a:pt x="2084" y="1200"/>
                    <a:pt x="2073" y="1212"/>
                    <a:pt x="2063" y="1225"/>
                  </a:cubicBezTo>
                  <a:cubicBezTo>
                    <a:pt x="2054" y="1202"/>
                    <a:pt x="2045" y="1179"/>
                    <a:pt x="2036" y="1156"/>
                  </a:cubicBezTo>
                  <a:cubicBezTo>
                    <a:pt x="2052" y="1133"/>
                    <a:pt x="2072" y="1112"/>
                    <a:pt x="2097" y="1094"/>
                  </a:cubicBezTo>
                  <a:cubicBezTo>
                    <a:pt x="2097" y="1056"/>
                    <a:pt x="2097" y="1056"/>
                    <a:pt x="2097" y="1056"/>
                  </a:cubicBezTo>
                  <a:cubicBezTo>
                    <a:pt x="2091" y="1038"/>
                    <a:pt x="2086" y="1019"/>
                    <a:pt x="2080" y="1001"/>
                  </a:cubicBezTo>
                  <a:cubicBezTo>
                    <a:pt x="2086" y="997"/>
                    <a:pt x="2092" y="994"/>
                    <a:pt x="2097" y="990"/>
                  </a:cubicBezTo>
                  <a:cubicBezTo>
                    <a:pt x="2097" y="977"/>
                    <a:pt x="2097" y="977"/>
                    <a:pt x="2097" y="977"/>
                  </a:cubicBezTo>
                  <a:cubicBezTo>
                    <a:pt x="2090" y="981"/>
                    <a:pt x="2083" y="985"/>
                    <a:pt x="2077" y="989"/>
                  </a:cubicBezTo>
                  <a:cubicBezTo>
                    <a:pt x="2076" y="986"/>
                    <a:pt x="2075" y="984"/>
                    <a:pt x="2074" y="981"/>
                  </a:cubicBezTo>
                  <a:cubicBezTo>
                    <a:pt x="2073" y="976"/>
                    <a:pt x="2071" y="970"/>
                    <a:pt x="2070" y="965"/>
                  </a:cubicBezTo>
                  <a:moveTo>
                    <a:pt x="1184" y="469"/>
                  </a:moveTo>
                  <a:cubicBezTo>
                    <a:pt x="1180" y="469"/>
                    <a:pt x="1180" y="469"/>
                    <a:pt x="1180" y="469"/>
                  </a:cubicBezTo>
                  <a:cubicBezTo>
                    <a:pt x="1183" y="471"/>
                    <a:pt x="1183" y="471"/>
                    <a:pt x="1183" y="471"/>
                  </a:cubicBezTo>
                  <a:cubicBezTo>
                    <a:pt x="1183" y="470"/>
                    <a:pt x="1183" y="470"/>
                    <a:pt x="1184" y="469"/>
                  </a:cubicBezTo>
                  <a:moveTo>
                    <a:pt x="947" y="941"/>
                  </a:moveTo>
                  <a:cubicBezTo>
                    <a:pt x="944" y="934"/>
                    <a:pt x="940" y="927"/>
                    <a:pt x="935" y="920"/>
                  </a:cubicBezTo>
                  <a:cubicBezTo>
                    <a:pt x="942" y="914"/>
                    <a:pt x="942" y="914"/>
                    <a:pt x="942" y="914"/>
                  </a:cubicBezTo>
                  <a:cubicBezTo>
                    <a:pt x="945" y="922"/>
                    <a:pt x="949" y="930"/>
                    <a:pt x="951" y="938"/>
                  </a:cubicBezTo>
                  <a:cubicBezTo>
                    <a:pt x="950" y="939"/>
                    <a:pt x="948" y="940"/>
                    <a:pt x="947" y="941"/>
                  </a:cubicBezTo>
                  <a:moveTo>
                    <a:pt x="960" y="930"/>
                  </a:moveTo>
                  <a:cubicBezTo>
                    <a:pt x="957" y="919"/>
                    <a:pt x="952" y="909"/>
                    <a:pt x="946" y="898"/>
                  </a:cubicBezTo>
                  <a:cubicBezTo>
                    <a:pt x="952" y="890"/>
                    <a:pt x="959" y="882"/>
                    <a:pt x="965" y="873"/>
                  </a:cubicBezTo>
                  <a:cubicBezTo>
                    <a:pt x="968" y="888"/>
                    <a:pt x="971" y="903"/>
                    <a:pt x="972" y="919"/>
                  </a:cubicBezTo>
                  <a:cubicBezTo>
                    <a:pt x="968" y="923"/>
                    <a:pt x="964" y="927"/>
                    <a:pt x="960" y="930"/>
                  </a:cubicBezTo>
                  <a:moveTo>
                    <a:pt x="779" y="956"/>
                  </a:moveTo>
                  <a:cubicBezTo>
                    <a:pt x="761" y="949"/>
                    <a:pt x="740" y="945"/>
                    <a:pt x="716" y="945"/>
                  </a:cubicBezTo>
                  <a:cubicBezTo>
                    <a:pt x="728" y="922"/>
                    <a:pt x="740" y="898"/>
                    <a:pt x="753" y="873"/>
                  </a:cubicBezTo>
                  <a:cubicBezTo>
                    <a:pt x="757" y="872"/>
                    <a:pt x="762" y="872"/>
                    <a:pt x="767" y="872"/>
                  </a:cubicBezTo>
                  <a:cubicBezTo>
                    <a:pt x="793" y="872"/>
                    <a:pt x="817" y="875"/>
                    <a:pt x="839" y="879"/>
                  </a:cubicBezTo>
                  <a:cubicBezTo>
                    <a:pt x="819" y="907"/>
                    <a:pt x="799" y="933"/>
                    <a:pt x="779" y="956"/>
                  </a:cubicBezTo>
                  <a:moveTo>
                    <a:pt x="924" y="907"/>
                  </a:moveTo>
                  <a:cubicBezTo>
                    <a:pt x="908" y="892"/>
                    <a:pt x="886" y="880"/>
                    <a:pt x="859" y="872"/>
                  </a:cubicBezTo>
                  <a:cubicBezTo>
                    <a:pt x="862" y="868"/>
                    <a:pt x="865" y="864"/>
                    <a:pt x="868" y="860"/>
                  </a:cubicBezTo>
                  <a:cubicBezTo>
                    <a:pt x="889" y="873"/>
                    <a:pt x="908" y="888"/>
                    <a:pt x="924" y="907"/>
                  </a:cubicBezTo>
                  <a:cubicBezTo>
                    <a:pt x="924" y="907"/>
                    <a:pt x="924" y="907"/>
                    <a:pt x="924" y="907"/>
                  </a:cubicBezTo>
                  <a:moveTo>
                    <a:pt x="1007" y="956"/>
                  </a:moveTo>
                  <a:cubicBezTo>
                    <a:pt x="1012" y="938"/>
                    <a:pt x="1016" y="923"/>
                    <a:pt x="1018" y="898"/>
                  </a:cubicBezTo>
                  <a:cubicBezTo>
                    <a:pt x="1035" y="880"/>
                    <a:pt x="1052" y="870"/>
                    <a:pt x="1066" y="847"/>
                  </a:cubicBezTo>
                  <a:cubicBezTo>
                    <a:pt x="1066" y="847"/>
                    <a:pt x="1066" y="847"/>
                    <a:pt x="1066" y="847"/>
                  </a:cubicBezTo>
                  <a:cubicBezTo>
                    <a:pt x="1064" y="893"/>
                    <a:pt x="1051" y="913"/>
                    <a:pt x="1049" y="916"/>
                  </a:cubicBezTo>
                  <a:cubicBezTo>
                    <a:pt x="1050" y="909"/>
                    <a:pt x="1050" y="909"/>
                    <a:pt x="1050" y="909"/>
                  </a:cubicBezTo>
                  <a:cubicBezTo>
                    <a:pt x="1046" y="914"/>
                    <a:pt x="1042" y="920"/>
                    <a:pt x="1038" y="925"/>
                  </a:cubicBezTo>
                  <a:cubicBezTo>
                    <a:pt x="1028" y="936"/>
                    <a:pt x="1018" y="946"/>
                    <a:pt x="1007" y="956"/>
                  </a:cubicBezTo>
                  <a:moveTo>
                    <a:pt x="931" y="897"/>
                  </a:moveTo>
                  <a:cubicBezTo>
                    <a:pt x="915" y="879"/>
                    <a:pt x="896" y="863"/>
                    <a:pt x="874" y="850"/>
                  </a:cubicBezTo>
                  <a:cubicBezTo>
                    <a:pt x="877" y="846"/>
                    <a:pt x="879" y="843"/>
                    <a:pt x="882" y="839"/>
                  </a:cubicBezTo>
                  <a:cubicBezTo>
                    <a:pt x="893" y="848"/>
                    <a:pt x="903" y="858"/>
                    <a:pt x="911" y="869"/>
                  </a:cubicBezTo>
                  <a:cubicBezTo>
                    <a:pt x="919" y="878"/>
                    <a:pt x="926" y="887"/>
                    <a:pt x="932" y="897"/>
                  </a:cubicBezTo>
                  <a:cubicBezTo>
                    <a:pt x="931" y="897"/>
                    <a:pt x="931" y="897"/>
                    <a:pt x="931" y="897"/>
                  </a:cubicBezTo>
                  <a:moveTo>
                    <a:pt x="1310" y="894"/>
                  </a:moveTo>
                  <a:cubicBezTo>
                    <a:pt x="1302" y="873"/>
                    <a:pt x="1295" y="853"/>
                    <a:pt x="1288" y="834"/>
                  </a:cubicBezTo>
                  <a:cubicBezTo>
                    <a:pt x="1295" y="828"/>
                    <a:pt x="1304" y="825"/>
                    <a:pt x="1314" y="825"/>
                  </a:cubicBezTo>
                  <a:cubicBezTo>
                    <a:pt x="1323" y="825"/>
                    <a:pt x="1334" y="828"/>
                    <a:pt x="1346" y="832"/>
                  </a:cubicBezTo>
                  <a:cubicBezTo>
                    <a:pt x="1351" y="848"/>
                    <a:pt x="1357" y="864"/>
                    <a:pt x="1363" y="880"/>
                  </a:cubicBezTo>
                  <a:cubicBezTo>
                    <a:pt x="1358" y="880"/>
                    <a:pt x="1354" y="879"/>
                    <a:pt x="1349" y="879"/>
                  </a:cubicBezTo>
                  <a:cubicBezTo>
                    <a:pt x="1334" y="879"/>
                    <a:pt x="1321" y="884"/>
                    <a:pt x="1310" y="894"/>
                  </a:cubicBezTo>
                  <a:moveTo>
                    <a:pt x="759" y="860"/>
                  </a:moveTo>
                  <a:cubicBezTo>
                    <a:pt x="765" y="848"/>
                    <a:pt x="770" y="836"/>
                    <a:pt x="776" y="824"/>
                  </a:cubicBezTo>
                  <a:cubicBezTo>
                    <a:pt x="805" y="830"/>
                    <a:pt x="833" y="840"/>
                    <a:pt x="857" y="853"/>
                  </a:cubicBezTo>
                  <a:cubicBezTo>
                    <a:pt x="854" y="859"/>
                    <a:pt x="850" y="864"/>
                    <a:pt x="846" y="869"/>
                  </a:cubicBezTo>
                  <a:cubicBezTo>
                    <a:pt x="823" y="863"/>
                    <a:pt x="796" y="860"/>
                    <a:pt x="767" y="860"/>
                  </a:cubicBezTo>
                  <a:cubicBezTo>
                    <a:pt x="765" y="860"/>
                    <a:pt x="762" y="860"/>
                    <a:pt x="759" y="860"/>
                  </a:cubicBezTo>
                  <a:moveTo>
                    <a:pt x="1136" y="948"/>
                  </a:moveTo>
                  <a:cubicBezTo>
                    <a:pt x="1131" y="933"/>
                    <a:pt x="1126" y="919"/>
                    <a:pt x="1122" y="906"/>
                  </a:cubicBezTo>
                  <a:cubicBezTo>
                    <a:pt x="1138" y="879"/>
                    <a:pt x="1153" y="850"/>
                    <a:pt x="1166" y="820"/>
                  </a:cubicBezTo>
                  <a:cubicBezTo>
                    <a:pt x="1172" y="836"/>
                    <a:pt x="1178" y="853"/>
                    <a:pt x="1185" y="872"/>
                  </a:cubicBezTo>
                  <a:cubicBezTo>
                    <a:pt x="1170" y="899"/>
                    <a:pt x="1153" y="925"/>
                    <a:pt x="1136" y="948"/>
                  </a:cubicBezTo>
                  <a:moveTo>
                    <a:pt x="983" y="910"/>
                  </a:moveTo>
                  <a:cubicBezTo>
                    <a:pt x="981" y="893"/>
                    <a:pt x="978" y="877"/>
                    <a:pt x="973" y="861"/>
                  </a:cubicBezTo>
                  <a:cubicBezTo>
                    <a:pt x="984" y="846"/>
                    <a:pt x="995" y="830"/>
                    <a:pt x="1005" y="814"/>
                  </a:cubicBezTo>
                  <a:cubicBezTo>
                    <a:pt x="1007" y="829"/>
                    <a:pt x="1008" y="845"/>
                    <a:pt x="1008" y="860"/>
                  </a:cubicBezTo>
                  <a:cubicBezTo>
                    <a:pt x="1008" y="869"/>
                    <a:pt x="1008" y="877"/>
                    <a:pt x="1007" y="885"/>
                  </a:cubicBezTo>
                  <a:cubicBezTo>
                    <a:pt x="999" y="894"/>
                    <a:pt x="991" y="902"/>
                    <a:pt x="983" y="910"/>
                  </a:cubicBezTo>
                  <a:moveTo>
                    <a:pt x="864" y="844"/>
                  </a:moveTo>
                  <a:cubicBezTo>
                    <a:pt x="839" y="830"/>
                    <a:pt x="811" y="819"/>
                    <a:pt x="781" y="813"/>
                  </a:cubicBezTo>
                  <a:cubicBezTo>
                    <a:pt x="785" y="803"/>
                    <a:pt x="790" y="794"/>
                    <a:pt x="794" y="785"/>
                  </a:cubicBezTo>
                  <a:cubicBezTo>
                    <a:pt x="823" y="798"/>
                    <a:pt x="850" y="813"/>
                    <a:pt x="872" y="831"/>
                  </a:cubicBezTo>
                  <a:cubicBezTo>
                    <a:pt x="869" y="835"/>
                    <a:pt x="866" y="840"/>
                    <a:pt x="864" y="844"/>
                  </a:cubicBezTo>
                  <a:moveTo>
                    <a:pt x="939" y="887"/>
                  </a:moveTo>
                  <a:cubicBezTo>
                    <a:pt x="934" y="878"/>
                    <a:pt x="927" y="869"/>
                    <a:pt x="920" y="861"/>
                  </a:cubicBezTo>
                  <a:cubicBezTo>
                    <a:pt x="910" y="849"/>
                    <a:pt x="899" y="839"/>
                    <a:pt x="888" y="829"/>
                  </a:cubicBezTo>
                  <a:cubicBezTo>
                    <a:pt x="898" y="813"/>
                    <a:pt x="908" y="797"/>
                    <a:pt x="918" y="780"/>
                  </a:cubicBezTo>
                  <a:cubicBezTo>
                    <a:pt x="937" y="802"/>
                    <a:pt x="951" y="829"/>
                    <a:pt x="961" y="859"/>
                  </a:cubicBezTo>
                  <a:cubicBezTo>
                    <a:pt x="954" y="869"/>
                    <a:pt x="947" y="878"/>
                    <a:pt x="939" y="887"/>
                  </a:cubicBezTo>
                  <a:moveTo>
                    <a:pt x="1215" y="926"/>
                  </a:moveTo>
                  <a:cubicBezTo>
                    <a:pt x="1209" y="908"/>
                    <a:pt x="1203" y="890"/>
                    <a:pt x="1197" y="872"/>
                  </a:cubicBezTo>
                  <a:cubicBezTo>
                    <a:pt x="1210" y="848"/>
                    <a:pt x="1222" y="823"/>
                    <a:pt x="1233" y="795"/>
                  </a:cubicBezTo>
                  <a:cubicBezTo>
                    <a:pt x="1239" y="782"/>
                    <a:pt x="1245" y="774"/>
                    <a:pt x="1252" y="768"/>
                  </a:cubicBezTo>
                  <a:cubicBezTo>
                    <a:pt x="1259" y="787"/>
                    <a:pt x="1267" y="808"/>
                    <a:pt x="1275" y="830"/>
                  </a:cubicBezTo>
                  <a:cubicBezTo>
                    <a:pt x="1270" y="835"/>
                    <a:pt x="1266" y="842"/>
                    <a:pt x="1261" y="850"/>
                  </a:cubicBezTo>
                  <a:cubicBezTo>
                    <a:pt x="1247" y="877"/>
                    <a:pt x="1232" y="902"/>
                    <a:pt x="1215" y="926"/>
                  </a:cubicBezTo>
                  <a:moveTo>
                    <a:pt x="770" y="810"/>
                  </a:moveTo>
                  <a:cubicBezTo>
                    <a:pt x="751" y="807"/>
                    <a:pt x="732" y="804"/>
                    <a:pt x="713" y="803"/>
                  </a:cubicBezTo>
                  <a:cubicBezTo>
                    <a:pt x="717" y="789"/>
                    <a:pt x="721" y="775"/>
                    <a:pt x="725" y="761"/>
                  </a:cubicBezTo>
                  <a:cubicBezTo>
                    <a:pt x="746" y="766"/>
                    <a:pt x="765" y="773"/>
                    <a:pt x="783" y="780"/>
                  </a:cubicBezTo>
                  <a:cubicBezTo>
                    <a:pt x="779" y="790"/>
                    <a:pt x="774" y="800"/>
                    <a:pt x="770" y="810"/>
                  </a:cubicBezTo>
                  <a:moveTo>
                    <a:pt x="1284" y="822"/>
                  </a:moveTo>
                  <a:cubicBezTo>
                    <a:pt x="1278" y="806"/>
                    <a:pt x="1272" y="791"/>
                    <a:pt x="1267" y="777"/>
                  </a:cubicBezTo>
                  <a:cubicBezTo>
                    <a:pt x="1270" y="776"/>
                    <a:pt x="1270" y="776"/>
                    <a:pt x="1270" y="776"/>
                  </a:cubicBezTo>
                  <a:cubicBezTo>
                    <a:pt x="1269" y="771"/>
                    <a:pt x="1267" y="766"/>
                    <a:pt x="1265" y="761"/>
                  </a:cubicBezTo>
                  <a:cubicBezTo>
                    <a:pt x="1269" y="760"/>
                    <a:pt x="1273" y="760"/>
                    <a:pt x="1277" y="760"/>
                  </a:cubicBezTo>
                  <a:cubicBezTo>
                    <a:pt x="1291" y="760"/>
                    <a:pt x="1308" y="766"/>
                    <a:pt x="1327" y="776"/>
                  </a:cubicBezTo>
                  <a:cubicBezTo>
                    <a:pt x="1331" y="789"/>
                    <a:pt x="1336" y="803"/>
                    <a:pt x="1341" y="818"/>
                  </a:cubicBezTo>
                  <a:cubicBezTo>
                    <a:pt x="1331" y="815"/>
                    <a:pt x="1322" y="814"/>
                    <a:pt x="1313" y="814"/>
                  </a:cubicBezTo>
                  <a:cubicBezTo>
                    <a:pt x="1303" y="814"/>
                    <a:pt x="1293" y="816"/>
                    <a:pt x="1284" y="822"/>
                  </a:cubicBezTo>
                  <a:moveTo>
                    <a:pt x="1099" y="851"/>
                  </a:moveTo>
                  <a:cubicBezTo>
                    <a:pt x="1116" y="818"/>
                    <a:pt x="1131" y="783"/>
                    <a:pt x="1140" y="746"/>
                  </a:cubicBezTo>
                  <a:cubicBezTo>
                    <a:pt x="1144" y="758"/>
                    <a:pt x="1152" y="778"/>
                    <a:pt x="1161" y="804"/>
                  </a:cubicBezTo>
                  <a:cubicBezTo>
                    <a:pt x="1148" y="835"/>
                    <a:pt x="1133" y="864"/>
                    <a:pt x="1117" y="892"/>
                  </a:cubicBezTo>
                  <a:cubicBezTo>
                    <a:pt x="1108" y="866"/>
                    <a:pt x="1103" y="850"/>
                    <a:pt x="1102" y="850"/>
                  </a:cubicBezTo>
                  <a:cubicBezTo>
                    <a:pt x="1099" y="851"/>
                    <a:pt x="1099" y="851"/>
                    <a:pt x="1099" y="851"/>
                  </a:cubicBezTo>
                  <a:moveTo>
                    <a:pt x="1397" y="805"/>
                  </a:moveTo>
                  <a:cubicBezTo>
                    <a:pt x="1394" y="803"/>
                    <a:pt x="1390" y="801"/>
                    <a:pt x="1387" y="799"/>
                  </a:cubicBezTo>
                  <a:cubicBezTo>
                    <a:pt x="1368" y="787"/>
                    <a:pt x="1351" y="776"/>
                    <a:pt x="1336" y="767"/>
                  </a:cubicBezTo>
                  <a:cubicBezTo>
                    <a:pt x="1331" y="754"/>
                    <a:pt x="1327" y="742"/>
                    <a:pt x="1324" y="733"/>
                  </a:cubicBezTo>
                  <a:cubicBezTo>
                    <a:pt x="1332" y="738"/>
                    <a:pt x="1340" y="744"/>
                    <a:pt x="1349" y="750"/>
                  </a:cubicBezTo>
                  <a:cubicBezTo>
                    <a:pt x="1361" y="758"/>
                    <a:pt x="1374" y="767"/>
                    <a:pt x="1388" y="776"/>
                  </a:cubicBezTo>
                  <a:cubicBezTo>
                    <a:pt x="1391" y="785"/>
                    <a:pt x="1394" y="794"/>
                    <a:pt x="1397" y="805"/>
                  </a:cubicBezTo>
                  <a:moveTo>
                    <a:pt x="1019" y="872"/>
                  </a:moveTo>
                  <a:cubicBezTo>
                    <a:pt x="1019" y="869"/>
                    <a:pt x="1019" y="865"/>
                    <a:pt x="1019" y="860"/>
                  </a:cubicBezTo>
                  <a:cubicBezTo>
                    <a:pt x="1019" y="841"/>
                    <a:pt x="1018" y="820"/>
                    <a:pt x="1013" y="799"/>
                  </a:cubicBezTo>
                  <a:cubicBezTo>
                    <a:pt x="1027" y="776"/>
                    <a:pt x="1039" y="753"/>
                    <a:pt x="1051" y="729"/>
                  </a:cubicBezTo>
                  <a:cubicBezTo>
                    <a:pt x="1059" y="749"/>
                    <a:pt x="1064" y="769"/>
                    <a:pt x="1066" y="788"/>
                  </a:cubicBezTo>
                  <a:cubicBezTo>
                    <a:pt x="1064" y="797"/>
                    <a:pt x="1063" y="805"/>
                    <a:pt x="1062" y="811"/>
                  </a:cubicBezTo>
                  <a:cubicBezTo>
                    <a:pt x="1061" y="816"/>
                    <a:pt x="1060" y="819"/>
                    <a:pt x="1060" y="822"/>
                  </a:cubicBezTo>
                  <a:cubicBezTo>
                    <a:pt x="1047" y="840"/>
                    <a:pt x="1033" y="857"/>
                    <a:pt x="1019" y="872"/>
                  </a:cubicBezTo>
                  <a:moveTo>
                    <a:pt x="879" y="821"/>
                  </a:moveTo>
                  <a:cubicBezTo>
                    <a:pt x="854" y="802"/>
                    <a:pt x="827" y="786"/>
                    <a:pt x="799" y="773"/>
                  </a:cubicBezTo>
                  <a:cubicBezTo>
                    <a:pt x="807" y="754"/>
                    <a:pt x="816" y="733"/>
                    <a:pt x="824" y="712"/>
                  </a:cubicBezTo>
                  <a:cubicBezTo>
                    <a:pt x="856" y="726"/>
                    <a:pt x="884" y="744"/>
                    <a:pt x="906" y="766"/>
                  </a:cubicBezTo>
                  <a:cubicBezTo>
                    <a:pt x="907" y="768"/>
                    <a:pt x="909" y="769"/>
                    <a:pt x="910" y="770"/>
                  </a:cubicBezTo>
                  <a:cubicBezTo>
                    <a:pt x="899" y="788"/>
                    <a:pt x="889" y="805"/>
                    <a:pt x="879" y="821"/>
                  </a:cubicBezTo>
                  <a:moveTo>
                    <a:pt x="969" y="847"/>
                  </a:moveTo>
                  <a:cubicBezTo>
                    <a:pt x="959" y="818"/>
                    <a:pt x="944" y="792"/>
                    <a:pt x="924" y="769"/>
                  </a:cubicBezTo>
                  <a:cubicBezTo>
                    <a:pt x="936" y="749"/>
                    <a:pt x="947" y="729"/>
                    <a:pt x="958" y="707"/>
                  </a:cubicBezTo>
                  <a:cubicBezTo>
                    <a:pt x="974" y="726"/>
                    <a:pt x="987" y="748"/>
                    <a:pt x="995" y="773"/>
                  </a:cubicBezTo>
                  <a:cubicBezTo>
                    <a:pt x="998" y="781"/>
                    <a:pt x="1000" y="789"/>
                    <a:pt x="1001" y="796"/>
                  </a:cubicBezTo>
                  <a:cubicBezTo>
                    <a:pt x="991" y="814"/>
                    <a:pt x="980" y="831"/>
                    <a:pt x="969" y="847"/>
                  </a:cubicBezTo>
                  <a:moveTo>
                    <a:pt x="1070" y="879"/>
                  </a:moveTo>
                  <a:cubicBezTo>
                    <a:pt x="1074" y="862"/>
                    <a:pt x="1077" y="841"/>
                    <a:pt x="1077" y="817"/>
                  </a:cubicBezTo>
                  <a:cubicBezTo>
                    <a:pt x="1101" y="782"/>
                    <a:pt x="1121" y="745"/>
                    <a:pt x="1136" y="703"/>
                  </a:cubicBezTo>
                  <a:cubicBezTo>
                    <a:pt x="1127" y="768"/>
                    <a:pt x="1102" y="828"/>
                    <a:pt x="1070" y="879"/>
                  </a:cubicBezTo>
                  <a:moveTo>
                    <a:pt x="1192" y="859"/>
                  </a:moveTo>
                  <a:cubicBezTo>
                    <a:pt x="1185" y="839"/>
                    <a:pt x="1179" y="821"/>
                    <a:pt x="1173" y="804"/>
                  </a:cubicBezTo>
                  <a:cubicBezTo>
                    <a:pt x="1181" y="784"/>
                    <a:pt x="1189" y="763"/>
                    <a:pt x="1196" y="741"/>
                  </a:cubicBezTo>
                  <a:cubicBezTo>
                    <a:pt x="1203" y="717"/>
                    <a:pt x="1213" y="703"/>
                    <a:pt x="1225" y="697"/>
                  </a:cubicBezTo>
                  <a:cubicBezTo>
                    <a:pt x="1229" y="707"/>
                    <a:pt x="1237" y="729"/>
                    <a:pt x="1248" y="757"/>
                  </a:cubicBezTo>
                  <a:cubicBezTo>
                    <a:pt x="1238" y="764"/>
                    <a:pt x="1230" y="776"/>
                    <a:pt x="1223" y="792"/>
                  </a:cubicBezTo>
                  <a:cubicBezTo>
                    <a:pt x="1214" y="815"/>
                    <a:pt x="1203" y="838"/>
                    <a:pt x="1192" y="859"/>
                  </a:cubicBezTo>
                  <a:moveTo>
                    <a:pt x="1069" y="752"/>
                  </a:moveTo>
                  <a:cubicBezTo>
                    <a:pt x="1066" y="740"/>
                    <a:pt x="1062" y="728"/>
                    <a:pt x="1057" y="717"/>
                  </a:cubicBezTo>
                  <a:cubicBezTo>
                    <a:pt x="1060" y="710"/>
                    <a:pt x="1063" y="702"/>
                    <a:pt x="1067" y="695"/>
                  </a:cubicBezTo>
                  <a:cubicBezTo>
                    <a:pt x="1067" y="701"/>
                    <a:pt x="1068" y="706"/>
                    <a:pt x="1069" y="711"/>
                  </a:cubicBezTo>
                  <a:cubicBezTo>
                    <a:pt x="1068" y="719"/>
                    <a:pt x="1067" y="726"/>
                    <a:pt x="1067" y="732"/>
                  </a:cubicBezTo>
                  <a:cubicBezTo>
                    <a:pt x="1067" y="737"/>
                    <a:pt x="1068" y="741"/>
                    <a:pt x="1069" y="744"/>
                  </a:cubicBezTo>
                  <a:cubicBezTo>
                    <a:pt x="1070" y="743"/>
                    <a:pt x="1070" y="743"/>
                    <a:pt x="1070" y="743"/>
                  </a:cubicBezTo>
                  <a:cubicBezTo>
                    <a:pt x="1070" y="746"/>
                    <a:pt x="1070" y="749"/>
                    <a:pt x="1069" y="752"/>
                  </a:cubicBezTo>
                  <a:moveTo>
                    <a:pt x="1261" y="750"/>
                  </a:moveTo>
                  <a:cubicBezTo>
                    <a:pt x="1254" y="731"/>
                    <a:pt x="1246" y="712"/>
                    <a:pt x="1238" y="693"/>
                  </a:cubicBezTo>
                  <a:cubicBezTo>
                    <a:pt x="1238" y="693"/>
                    <a:pt x="1239" y="693"/>
                    <a:pt x="1240" y="693"/>
                  </a:cubicBezTo>
                  <a:cubicBezTo>
                    <a:pt x="1257" y="693"/>
                    <a:pt x="1279" y="704"/>
                    <a:pt x="1305" y="720"/>
                  </a:cubicBezTo>
                  <a:cubicBezTo>
                    <a:pt x="1309" y="730"/>
                    <a:pt x="1312" y="740"/>
                    <a:pt x="1316" y="748"/>
                  </a:cubicBezTo>
                  <a:cubicBezTo>
                    <a:pt x="1317" y="748"/>
                    <a:pt x="1317" y="748"/>
                    <a:pt x="1317" y="748"/>
                  </a:cubicBezTo>
                  <a:cubicBezTo>
                    <a:pt x="1319" y="751"/>
                    <a:pt x="1320" y="755"/>
                    <a:pt x="1321" y="760"/>
                  </a:cubicBezTo>
                  <a:cubicBezTo>
                    <a:pt x="1305" y="752"/>
                    <a:pt x="1290" y="747"/>
                    <a:pt x="1277" y="747"/>
                  </a:cubicBezTo>
                  <a:cubicBezTo>
                    <a:pt x="1271" y="747"/>
                    <a:pt x="1266" y="748"/>
                    <a:pt x="1261" y="749"/>
                  </a:cubicBezTo>
                  <a:cubicBezTo>
                    <a:pt x="1261" y="750"/>
                    <a:pt x="1261" y="750"/>
                    <a:pt x="1261" y="750"/>
                  </a:cubicBezTo>
                  <a:moveTo>
                    <a:pt x="1313" y="710"/>
                  </a:moveTo>
                  <a:cubicBezTo>
                    <a:pt x="1310" y="704"/>
                    <a:pt x="1307" y="697"/>
                    <a:pt x="1304" y="690"/>
                  </a:cubicBezTo>
                  <a:cubicBezTo>
                    <a:pt x="1321" y="703"/>
                    <a:pt x="1347" y="723"/>
                    <a:pt x="1379" y="743"/>
                  </a:cubicBezTo>
                  <a:cubicBezTo>
                    <a:pt x="1380" y="747"/>
                    <a:pt x="1381" y="753"/>
                    <a:pt x="1383" y="759"/>
                  </a:cubicBezTo>
                  <a:cubicBezTo>
                    <a:pt x="1373" y="752"/>
                    <a:pt x="1364" y="746"/>
                    <a:pt x="1355" y="739"/>
                  </a:cubicBezTo>
                  <a:cubicBezTo>
                    <a:pt x="1342" y="731"/>
                    <a:pt x="1330" y="722"/>
                    <a:pt x="1319" y="715"/>
                  </a:cubicBezTo>
                  <a:cubicBezTo>
                    <a:pt x="1318" y="711"/>
                    <a:pt x="1317" y="709"/>
                    <a:pt x="1317" y="709"/>
                  </a:cubicBezTo>
                  <a:cubicBezTo>
                    <a:pt x="1313" y="710"/>
                    <a:pt x="1313" y="710"/>
                    <a:pt x="1313" y="710"/>
                  </a:cubicBezTo>
                  <a:moveTo>
                    <a:pt x="788" y="769"/>
                  </a:moveTo>
                  <a:cubicBezTo>
                    <a:pt x="769" y="761"/>
                    <a:pt x="749" y="755"/>
                    <a:pt x="728" y="750"/>
                  </a:cubicBezTo>
                  <a:cubicBezTo>
                    <a:pt x="734" y="730"/>
                    <a:pt x="740" y="710"/>
                    <a:pt x="745" y="690"/>
                  </a:cubicBezTo>
                  <a:cubicBezTo>
                    <a:pt x="770" y="694"/>
                    <a:pt x="793" y="700"/>
                    <a:pt x="814" y="708"/>
                  </a:cubicBezTo>
                  <a:cubicBezTo>
                    <a:pt x="805" y="729"/>
                    <a:pt x="797" y="749"/>
                    <a:pt x="788" y="769"/>
                  </a:cubicBezTo>
                  <a:moveTo>
                    <a:pt x="1143" y="730"/>
                  </a:moveTo>
                  <a:cubicBezTo>
                    <a:pt x="1145" y="720"/>
                    <a:pt x="1147" y="710"/>
                    <a:pt x="1148" y="699"/>
                  </a:cubicBezTo>
                  <a:cubicBezTo>
                    <a:pt x="1158" y="690"/>
                    <a:pt x="1181" y="671"/>
                    <a:pt x="1210" y="659"/>
                  </a:cubicBezTo>
                  <a:cubicBezTo>
                    <a:pt x="1214" y="668"/>
                    <a:pt x="1218" y="676"/>
                    <a:pt x="1222" y="685"/>
                  </a:cubicBezTo>
                  <a:cubicBezTo>
                    <a:pt x="1206" y="692"/>
                    <a:pt x="1194" y="709"/>
                    <a:pt x="1185" y="737"/>
                  </a:cubicBezTo>
                  <a:cubicBezTo>
                    <a:pt x="1180" y="755"/>
                    <a:pt x="1174" y="772"/>
                    <a:pt x="1167" y="788"/>
                  </a:cubicBezTo>
                  <a:cubicBezTo>
                    <a:pt x="1154" y="753"/>
                    <a:pt x="1146" y="730"/>
                    <a:pt x="1146" y="729"/>
                  </a:cubicBezTo>
                  <a:cubicBezTo>
                    <a:pt x="1143" y="730"/>
                    <a:pt x="1143" y="730"/>
                    <a:pt x="1143" y="730"/>
                  </a:cubicBezTo>
                  <a:moveTo>
                    <a:pt x="1374" y="726"/>
                  </a:moveTo>
                  <a:cubicBezTo>
                    <a:pt x="1328" y="695"/>
                    <a:pt x="1295" y="668"/>
                    <a:pt x="1294" y="667"/>
                  </a:cubicBezTo>
                  <a:cubicBezTo>
                    <a:pt x="1291" y="661"/>
                    <a:pt x="1289" y="656"/>
                    <a:pt x="1286" y="650"/>
                  </a:cubicBezTo>
                  <a:cubicBezTo>
                    <a:pt x="1296" y="652"/>
                    <a:pt x="1305" y="655"/>
                    <a:pt x="1314" y="660"/>
                  </a:cubicBezTo>
                  <a:cubicBezTo>
                    <a:pt x="1331" y="681"/>
                    <a:pt x="1355" y="705"/>
                    <a:pt x="1381" y="724"/>
                  </a:cubicBezTo>
                  <a:cubicBezTo>
                    <a:pt x="1374" y="726"/>
                    <a:pt x="1374" y="726"/>
                    <a:pt x="1374" y="726"/>
                  </a:cubicBezTo>
                  <a:moveTo>
                    <a:pt x="1232" y="682"/>
                  </a:moveTo>
                  <a:cubicBezTo>
                    <a:pt x="1228" y="673"/>
                    <a:pt x="1224" y="664"/>
                    <a:pt x="1220" y="655"/>
                  </a:cubicBezTo>
                  <a:cubicBezTo>
                    <a:pt x="1234" y="651"/>
                    <a:pt x="1248" y="648"/>
                    <a:pt x="1264" y="648"/>
                  </a:cubicBezTo>
                  <a:cubicBezTo>
                    <a:pt x="1267" y="648"/>
                    <a:pt x="1270" y="648"/>
                    <a:pt x="1273" y="648"/>
                  </a:cubicBezTo>
                  <a:cubicBezTo>
                    <a:pt x="1281" y="667"/>
                    <a:pt x="1290" y="684"/>
                    <a:pt x="1297" y="701"/>
                  </a:cubicBezTo>
                  <a:cubicBezTo>
                    <a:pt x="1275" y="689"/>
                    <a:pt x="1257" y="681"/>
                    <a:pt x="1240" y="681"/>
                  </a:cubicBezTo>
                  <a:cubicBezTo>
                    <a:pt x="1238" y="681"/>
                    <a:pt x="1235" y="681"/>
                    <a:pt x="1232" y="682"/>
                  </a:cubicBezTo>
                  <a:moveTo>
                    <a:pt x="1010" y="782"/>
                  </a:moveTo>
                  <a:cubicBezTo>
                    <a:pt x="1000" y="748"/>
                    <a:pt x="985" y="719"/>
                    <a:pt x="963" y="696"/>
                  </a:cubicBezTo>
                  <a:cubicBezTo>
                    <a:pt x="971" y="680"/>
                    <a:pt x="979" y="664"/>
                    <a:pt x="986" y="647"/>
                  </a:cubicBezTo>
                  <a:cubicBezTo>
                    <a:pt x="1013" y="668"/>
                    <a:pt x="1032" y="692"/>
                    <a:pt x="1044" y="716"/>
                  </a:cubicBezTo>
                  <a:cubicBezTo>
                    <a:pt x="1033" y="740"/>
                    <a:pt x="1022" y="762"/>
                    <a:pt x="1010" y="782"/>
                  </a:cubicBezTo>
                  <a:moveTo>
                    <a:pt x="916" y="760"/>
                  </a:moveTo>
                  <a:cubicBezTo>
                    <a:pt x="915" y="759"/>
                    <a:pt x="914" y="758"/>
                    <a:pt x="914" y="758"/>
                  </a:cubicBezTo>
                  <a:cubicBezTo>
                    <a:pt x="891" y="734"/>
                    <a:pt x="862" y="716"/>
                    <a:pt x="829" y="702"/>
                  </a:cubicBezTo>
                  <a:cubicBezTo>
                    <a:pt x="836" y="682"/>
                    <a:pt x="844" y="663"/>
                    <a:pt x="851" y="643"/>
                  </a:cubicBezTo>
                  <a:cubicBezTo>
                    <a:pt x="892" y="654"/>
                    <a:pt x="924" y="673"/>
                    <a:pt x="949" y="698"/>
                  </a:cubicBezTo>
                  <a:cubicBezTo>
                    <a:pt x="938" y="719"/>
                    <a:pt x="927" y="740"/>
                    <a:pt x="916" y="760"/>
                  </a:cubicBezTo>
                  <a:moveTo>
                    <a:pt x="818" y="697"/>
                  </a:moveTo>
                  <a:cubicBezTo>
                    <a:pt x="797" y="689"/>
                    <a:pt x="774" y="683"/>
                    <a:pt x="749" y="678"/>
                  </a:cubicBezTo>
                  <a:cubicBezTo>
                    <a:pt x="753" y="661"/>
                    <a:pt x="758" y="644"/>
                    <a:pt x="762" y="626"/>
                  </a:cubicBezTo>
                  <a:cubicBezTo>
                    <a:pt x="782" y="629"/>
                    <a:pt x="802" y="632"/>
                    <a:pt x="822" y="636"/>
                  </a:cubicBezTo>
                  <a:cubicBezTo>
                    <a:pt x="829" y="637"/>
                    <a:pt x="834" y="638"/>
                    <a:pt x="840" y="640"/>
                  </a:cubicBezTo>
                  <a:cubicBezTo>
                    <a:pt x="833" y="659"/>
                    <a:pt x="826" y="679"/>
                    <a:pt x="818" y="697"/>
                  </a:cubicBezTo>
                  <a:moveTo>
                    <a:pt x="1165" y="621"/>
                  </a:moveTo>
                  <a:cubicBezTo>
                    <a:pt x="1170" y="621"/>
                    <a:pt x="1176" y="621"/>
                    <a:pt x="1182" y="620"/>
                  </a:cubicBezTo>
                  <a:cubicBezTo>
                    <a:pt x="1185" y="620"/>
                    <a:pt x="1187" y="619"/>
                    <a:pt x="1190" y="618"/>
                  </a:cubicBezTo>
                  <a:cubicBezTo>
                    <a:pt x="1195" y="628"/>
                    <a:pt x="1200" y="638"/>
                    <a:pt x="1205" y="649"/>
                  </a:cubicBezTo>
                  <a:cubicBezTo>
                    <a:pt x="1181" y="659"/>
                    <a:pt x="1162" y="672"/>
                    <a:pt x="1150" y="683"/>
                  </a:cubicBezTo>
                  <a:cubicBezTo>
                    <a:pt x="1151" y="673"/>
                    <a:pt x="1151" y="664"/>
                    <a:pt x="1151" y="654"/>
                  </a:cubicBezTo>
                  <a:cubicBezTo>
                    <a:pt x="1152" y="651"/>
                    <a:pt x="1153" y="648"/>
                    <a:pt x="1153" y="645"/>
                  </a:cubicBezTo>
                  <a:cubicBezTo>
                    <a:pt x="1151" y="645"/>
                    <a:pt x="1151" y="645"/>
                    <a:pt x="1151" y="645"/>
                  </a:cubicBezTo>
                  <a:cubicBezTo>
                    <a:pt x="1151" y="637"/>
                    <a:pt x="1150" y="628"/>
                    <a:pt x="1149" y="620"/>
                  </a:cubicBezTo>
                  <a:cubicBezTo>
                    <a:pt x="1153" y="621"/>
                    <a:pt x="1159" y="621"/>
                    <a:pt x="1165" y="621"/>
                  </a:cubicBezTo>
                  <a:moveTo>
                    <a:pt x="1215" y="645"/>
                  </a:moveTo>
                  <a:cubicBezTo>
                    <a:pt x="1211" y="635"/>
                    <a:pt x="1206" y="625"/>
                    <a:pt x="1201" y="615"/>
                  </a:cubicBezTo>
                  <a:cubicBezTo>
                    <a:pt x="1215" y="611"/>
                    <a:pt x="1230" y="605"/>
                    <a:pt x="1247" y="594"/>
                  </a:cubicBezTo>
                  <a:cubicBezTo>
                    <a:pt x="1254" y="608"/>
                    <a:pt x="1261" y="622"/>
                    <a:pt x="1267" y="636"/>
                  </a:cubicBezTo>
                  <a:cubicBezTo>
                    <a:pt x="1266" y="636"/>
                    <a:pt x="1265" y="636"/>
                    <a:pt x="1264" y="636"/>
                  </a:cubicBezTo>
                  <a:cubicBezTo>
                    <a:pt x="1247" y="636"/>
                    <a:pt x="1230" y="639"/>
                    <a:pt x="1215" y="645"/>
                  </a:cubicBezTo>
                  <a:moveTo>
                    <a:pt x="1050" y="704"/>
                  </a:moveTo>
                  <a:cubicBezTo>
                    <a:pt x="1037" y="680"/>
                    <a:pt x="1018" y="657"/>
                    <a:pt x="991" y="636"/>
                  </a:cubicBezTo>
                  <a:cubicBezTo>
                    <a:pt x="998" y="621"/>
                    <a:pt x="1005" y="605"/>
                    <a:pt x="1011" y="588"/>
                  </a:cubicBezTo>
                  <a:cubicBezTo>
                    <a:pt x="1039" y="615"/>
                    <a:pt x="1055" y="646"/>
                    <a:pt x="1062" y="676"/>
                  </a:cubicBezTo>
                  <a:cubicBezTo>
                    <a:pt x="1058" y="686"/>
                    <a:pt x="1054" y="695"/>
                    <a:pt x="1050" y="704"/>
                  </a:cubicBezTo>
                  <a:moveTo>
                    <a:pt x="955" y="687"/>
                  </a:moveTo>
                  <a:cubicBezTo>
                    <a:pt x="929" y="662"/>
                    <a:pt x="896" y="643"/>
                    <a:pt x="855" y="631"/>
                  </a:cubicBezTo>
                  <a:cubicBezTo>
                    <a:pt x="861" y="616"/>
                    <a:pt x="866" y="600"/>
                    <a:pt x="872" y="585"/>
                  </a:cubicBezTo>
                  <a:cubicBezTo>
                    <a:pt x="900" y="596"/>
                    <a:pt x="928" y="610"/>
                    <a:pt x="957" y="628"/>
                  </a:cubicBezTo>
                  <a:cubicBezTo>
                    <a:pt x="964" y="632"/>
                    <a:pt x="971" y="636"/>
                    <a:pt x="977" y="640"/>
                  </a:cubicBezTo>
                  <a:cubicBezTo>
                    <a:pt x="969" y="656"/>
                    <a:pt x="962" y="671"/>
                    <a:pt x="955" y="687"/>
                  </a:cubicBezTo>
                  <a:moveTo>
                    <a:pt x="1301" y="642"/>
                  </a:moveTo>
                  <a:cubicBezTo>
                    <a:pt x="1294" y="639"/>
                    <a:pt x="1287" y="638"/>
                    <a:pt x="1280" y="637"/>
                  </a:cubicBezTo>
                  <a:cubicBezTo>
                    <a:pt x="1272" y="620"/>
                    <a:pt x="1264" y="604"/>
                    <a:pt x="1256" y="587"/>
                  </a:cubicBezTo>
                  <a:cubicBezTo>
                    <a:pt x="1262" y="584"/>
                    <a:pt x="1267" y="580"/>
                    <a:pt x="1272" y="576"/>
                  </a:cubicBezTo>
                  <a:cubicBezTo>
                    <a:pt x="1278" y="593"/>
                    <a:pt x="1283" y="608"/>
                    <a:pt x="1288" y="619"/>
                  </a:cubicBezTo>
                  <a:cubicBezTo>
                    <a:pt x="1291" y="625"/>
                    <a:pt x="1295" y="633"/>
                    <a:pt x="1301" y="642"/>
                  </a:cubicBezTo>
                  <a:moveTo>
                    <a:pt x="1164" y="609"/>
                  </a:moveTo>
                  <a:cubicBezTo>
                    <a:pt x="1156" y="609"/>
                    <a:pt x="1151" y="608"/>
                    <a:pt x="1148" y="607"/>
                  </a:cubicBezTo>
                  <a:cubicBezTo>
                    <a:pt x="1146" y="596"/>
                    <a:pt x="1145" y="584"/>
                    <a:pt x="1142" y="572"/>
                  </a:cubicBezTo>
                  <a:cubicBezTo>
                    <a:pt x="1146" y="571"/>
                    <a:pt x="1153" y="568"/>
                    <a:pt x="1162" y="563"/>
                  </a:cubicBezTo>
                  <a:cubicBezTo>
                    <a:pt x="1169" y="576"/>
                    <a:pt x="1177" y="591"/>
                    <a:pt x="1185" y="607"/>
                  </a:cubicBezTo>
                  <a:cubicBezTo>
                    <a:pt x="1177" y="609"/>
                    <a:pt x="1170" y="609"/>
                    <a:pt x="1164" y="609"/>
                  </a:cubicBezTo>
                  <a:moveTo>
                    <a:pt x="844" y="628"/>
                  </a:moveTo>
                  <a:cubicBezTo>
                    <a:pt x="838" y="627"/>
                    <a:pt x="831" y="625"/>
                    <a:pt x="824" y="624"/>
                  </a:cubicBezTo>
                  <a:cubicBezTo>
                    <a:pt x="804" y="620"/>
                    <a:pt x="785" y="617"/>
                    <a:pt x="765" y="614"/>
                  </a:cubicBezTo>
                  <a:cubicBezTo>
                    <a:pt x="770" y="595"/>
                    <a:pt x="775" y="575"/>
                    <a:pt x="780" y="555"/>
                  </a:cubicBezTo>
                  <a:cubicBezTo>
                    <a:pt x="806" y="561"/>
                    <a:pt x="833" y="569"/>
                    <a:pt x="861" y="580"/>
                  </a:cubicBezTo>
                  <a:cubicBezTo>
                    <a:pt x="856" y="597"/>
                    <a:pt x="850" y="613"/>
                    <a:pt x="844" y="628"/>
                  </a:cubicBezTo>
                  <a:moveTo>
                    <a:pt x="1077" y="797"/>
                  </a:moveTo>
                  <a:cubicBezTo>
                    <a:pt x="1077" y="795"/>
                    <a:pt x="1077" y="793"/>
                    <a:pt x="1077" y="791"/>
                  </a:cubicBezTo>
                  <a:cubicBezTo>
                    <a:pt x="1079" y="776"/>
                    <a:pt x="1081" y="757"/>
                    <a:pt x="1081" y="736"/>
                  </a:cubicBezTo>
                  <a:cubicBezTo>
                    <a:pt x="1081" y="728"/>
                    <a:pt x="1081" y="719"/>
                    <a:pt x="1080" y="710"/>
                  </a:cubicBezTo>
                  <a:cubicBezTo>
                    <a:pt x="1080" y="709"/>
                    <a:pt x="1080" y="708"/>
                    <a:pt x="1080" y="707"/>
                  </a:cubicBezTo>
                  <a:cubicBezTo>
                    <a:pt x="1082" y="692"/>
                    <a:pt x="1084" y="673"/>
                    <a:pt x="1084" y="653"/>
                  </a:cubicBezTo>
                  <a:cubicBezTo>
                    <a:pt x="1085" y="650"/>
                    <a:pt x="1086" y="648"/>
                    <a:pt x="1087" y="645"/>
                  </a:cubicBezTo>
                  <a:cubicBezTo>
                    <a:pt x="1092" y="643"/>
                    <a:pt x="1092" y="643"/>
                    <a:pt x="1092" y="643"/>
                  </a:cubicBezTo>
                  <a:cubicBezTo>
                    <a:pt x="1091" y="642"/>
                    <a:pt x="1091" y="640"/>
                    <a:pt x="1090" y="638"/>
                  </a:cubicBezTo>
                  <a:cubicBezTo>
                    <a:pt x="1102" y="606"/>
                    <a:pt x="1112" y="575"/>
                    <a:pt x="1121" y="543"/>
                  </a:cubicBezTo>
                  <a:cubicBezTo>
                    <a:pt x="1122" y="547"/>
                    <a:pt x="1124" y="550"/>
                    <a:pt x="1125" y="553"/>
                  </a:cubicBezTo>
                  <a:cubicBezTo>
                    <a:pt x="1125" y="553"/>
                    <a:pt x="1125" y="553"/>
                    <a:pt x="1125" y="553"/>
                  </a:cubicBezTo>
                  <a:cubicBezTo>
                    <a:pt x="1135" y="588"/>
                    <a:pt x="1140" y="621"/>
                    <a:pt x="1140" y="653"/>
                  </a:cubicBezTo>
                  <a:cubicBezTo>
                    <a:pt x="1126" y="706"/>
                    <a:pt x="1104" y="754"/>
                    <a:pt x="1077" y="797"/>
                  </a:cubicBezTo>
                  <a:moveTo>
                    <a:pt x="1069" y="660"/>
                  </a:moveTo>
                  <a:cubicBezTo>
                    <a:pt x="1060" y="631"/>
                    <a:pt x="1043" y="602"/>
                    <a:pt x="1016" y="577"/>
                  </a:cubicBezTo>
                  <a:cubicBezTo>
                    <a:pt x="1022" y="561"/>
                    <a:pt x="1028" y="546"/>
                    <a:pt x="1033" y="529"/>
                  </a:cubicBezTo>
                  <a:cubicBezTo>
                    <a:pt x="1065" y="568"/>
                    <a:pt x="1073" y="613"/>
                    <a:pt x="1073" y="651"/>
                  </a:cubicBezTo>
                  <a:cubicBezTo>
                    <a:pt x="1072" y="654"/>
                    <a:pt x="1071" y="657"/>
                    <a:pt x="1069" y="660"/>
                  </a:cubicBezTo>
                  <a:moveTo>
                    <a:pt x="1196" y="604"/>
                  </a:moveTo>
                  <a:cubicBezTo>
                    <a:pt x="1187" y="587"/>
                    <a:pt x="1179" y="572"/>
                    <a:pt x="1172" y="557"/>
                  </a:cubicBezTo>
                  <a:cubicBezTo>
                    <a:pt x="1184" y="550"/>
                    <a:pt x="1198" y="540"/>
                    <a:pt x="1212" y="524"/>
                  </a:cubicBezTo>
                  <a:cubicBezTo>
                    <a:pt x="1221" y="542"/>
                    <a:pt x="1231" y="562"/>
                    <a:pt x="1242" y="583"/>
                  </a:cubicBezTo>
                  <a:cubicBezTo>
                    <a:pt x="1224" y="594"/>
                    <a:pt x="1209" y="601"/>
                    <a:pt x="1196" y="604"/>
                  </a:cubicBezTo>
                  <a:moveTo>
                    <a:pt x="981" y="629"/>
                  </a:moveTo>
                  <a:cubicBezTo>
                    <a:pt x="976" y="625"/>
                    <a:pt x="969" y="621"/>
                    <a:pt x="963" y="617"/>
                  </a:cubicBezTo>
                  <a:cubicBezTo>
                    <a:pt x="933" y="599"/>
                    <a:pt x="904" y="585"/>
                    <a:pt x="875" y="573"/>
                  </a:cubicBezTo>
                  <a:cubicBezTo>
                    <a:pt x="882" y="555"/>
                    <a:pt x="887" y="537"/>
                    <a:pt x="893" y="518"/>
                  </a:cubicBezTo>
                  <a:cubicBezTo>
                    <a:pt x="918" y="529"/>
                    <a:pt x="944" y="541"/>
                    <a:pt x="970" y="557"/>
                  </a:cubicBezTo>
                  <a:cubicBezTo>
                    <a:pt x="982" y="564"/>
                    <a:pt x="993" y="572"/>
                    <a:pt x="1002" y="580"/>
                  </a:cubicBezTo>
                  <a:cubicBezTo>
                    <a:pt x="995" y="597"/>
                    <a:pt x="989" y="613"/>
                    <a:pt x="981" y="629"/>
                  </a:cubicBezTo>
                  <a:moveTo>
                    <a:pt x="1139" y="560"/>
                  </a:moveTo>
                  <a:cubicBezTo>
                    <a:pt x="1136" y="548"/>
                    <a:pt x="1132" y="535"/>
                    <a:pt x="1127" y="522"/>
                  </a:cubicBezTo>
                  <a:cubicBezTo>
                    <a:pt x="1128" y="519"/>
                    <a:pt x="1129" y="516"/>
                    <a:pt x="1130" y="514"/>
                  </a:cubicBezTo>
                  <a:cubicBezTo>
                    <a:pt x="1131" y="512"/>
                    <a:pt x="1132" y="511"/>
                    <a:pt x="1134" y="510"/>
                  </a:cubicBezTo>
                  <a:cubicBezTo>
                    <a:pt x="1139" y="518"/>
                    <a:pt x="1147" y="533"/>
                    <a:pt x="1157" y="553"/>
                  </a:cubicBezTo>
                  <a:cubicBezTo>
                    <a:pt x="1149" y="557"/>
                    <a:pt x="1142" y="559"/>
                    <a:pt x="1139" y="560"/>
                  </a:cubicBezTo>
                  <a:moveTo>
                    <a:pt x="865" y="569"/>
                  </a:moveTo>
                  <a:cubicBezTo>
                    <a:pt x="837" y="558"/>
                    <a:pt x="809" y="549"/>
                    <a:pt x="783" y="543"/>
                  </a:cubicBezTo>
                  <a:cubicBezTo>
                    <a:pt x="787" y="525"/>
                    <a:pt x="791" y="506"/>
                    <a:pt x="796" y="487"/>
                  </a:cubicBezTo>
                  <a:cubicBezTo>
                    <a:pt x="824" y="493"/>
                    <a:pt x="853" y="502"/>
                    <a:pt x="883" y="514"/>
                  </a:cubicBezTo>
                  <a:cubicBezTo>
                    <a:pt x="877" y="532"/>
                    <a:pt x="871" y="551"/>
                    <a:pt x="865" y="569"/>
                  </a:cubicBezTo>
                  <a:moveTo>
                    <a:pt x="1251" y="577"/>
                  </a:moveTo>
                  <a:cubicBezTo>
                    <a:pt x="1240" y="555"/>
                    <a:pt x="1230" y="534"/>
                    <a:pt x="1221" y="515"/>
                  </a:cubicBezTo>
                  <a:cubicBezTo>
                    <a:pt x="1228" y="507"/>
                    <a:pt x="1235" y="497"/>
                    <a:pt x="1242" y="486"/>
                  </a:cubicBezTo>
                  <a:cubicBezTo>
                    <a:pt x="1247" y="499"/>
                    <a:pt x="1251" y="513"/>
                    <a:pt x="1256" y="526"/>
                  </a:cubicBezTo>
                  <a:cubicBezTo>
                    <a:pt x="1260" y="540"/>
                    <a:pt x="1265" y="553"/>
                    <a:pt x="1269" y="566"/>
                  </a:cubicBezTo>
                  <a:cubicBezTo>
                    <a:pt x="1268" y="565"/>
                    <a:pt x="1268" y="565"/>
                    <a:pt x="1268" y="565"/>
                  </a:cubicBezTo>
                  <a:cubicBezTo>
                    <a:pt x="1262" y="569"/>
                    <a:pt x="1257" y="573"/>
                    <a:pt x="1251" y="577"/>
                  </a:cubicBezTo>
                  <a:moveTo>
                    <a:pt x="1078" y="594"/>
                  </a:moveTo>
                  <a:cubicBezTo>
                    <a:pt x="1071" y="568"/>
                    <a:pt x="1059" y="541"/>
                    <a:pt x="1038" y="517"/>
                  </a:cubicBezTo>
                  <a:cubicBezTo>
                    <a:pt x="1043" y="502"/>
                    <a:pt x="1048" y="486"/>
                    <a:pt x="1053" y="470"/>
                  </a:cubicBezTo>
                  <a:cubicBezTo>
                    <a:pt x="1074" y="504"/>
                    <a:pt x="1078" y="541"/>
                    <a:pt x="1078" y="573"/>
                  </a:cubicBezTo>
                  <a:cubicBezTo>
                    <a:pt x="1078" y="580"/>
                    <a:pt x="1078" y="587"/>
                    <a:pt x="1078" y="594"/>
                  </a:cubicBezTo>
                  <a:moveTo>
                    <a:pt x="1249" y="469"/>
                  </a:moveTo>
                  <a:cubicBezTo>
                    <a:pt x="1237" y="469"/>
                    <a:pt x="1237" y="469"/>
                    <a:pt x="1237" y="469"/>
                  </a:cubicBezTo>
                  <a:cubicBezTo>
                    <a:pt x="1237" y="470"/>
                    <a:pt x="1237" y="471"/>
                    <a:pt x="1238" y="472"/>
                  </a:cubicBezTo>
                  <a:cubicBezTo>
                    <a:pt x="1230" y="485"/>
                    <a:pt x="1223" y="495"/>
                    <a:pt x="1215" y="504"/>
                  </a:cubicBezTo>
                  <a:cubicBezTo>
                    <a:pt x="1208" y="490"/>
                    <a:pt x="1202" y="478"/>
                    <a:pt x="1197" y="469"/>
                  </a:cubicBezTo>
                  <a:cubicBezTo>
                    <a:pt x="1184" y="469"/>
                    <a:pt x="1184" y="469"/>
                    <a:pt x="1184" y="469"/>
                  </a:cubicBezTo>
                  <a:cubicBezTo>
                    <a:pt x="1189" y="479"/>
                    <a:pt x="1197" y="495"/>
                    <a:pt x="1207" y="513"/>
                  </a:cubicBezTo>
                  <a:cubicBezTo>
                    <a:pt x="1192" y="529"/>
                    <a:pt x="1178" y="540"/>
                    <a:pt x="1167" y="547"/>
                  </a:cubicBezTo>
                  <a:cubicBezTo>
                    <a:pt x="1156" y="526"/>
                    <a:pt x="1147" y="511"/>
                    <a:pt x="1143" y="502"/>
                  </a:cubicBezTo>
                  <a:cubicBezTo>
                    <a:pt x="1145" y="500"/>
                    <a:pt x="1147" y="498"/>
                    <a:pt x="1150" y="496"/>
                  </a:cubicBezTo>
                  <a:cubicBezTo>
                    <a:pt x="1150" y="496"/>
                    <a:pt x="1150" y="496"/>
                    <a:pt x="1150" y="496"/>
                  </a:cubicBezTo>
                  <a:cubicBezTo>
                    <a:pt x="1150" y="496"/>
                    <a:pt x="1150" y="496"/>
                    <a:pt x="1151" y="495"/>
                  </a:cubicBezTo>
                  <a:cubicBezTo>
                    <a:pt x="1158" y="488"/>
                    <a:pt x="1167" y="479"/>
                    <a:pt x="1176" y="469"/>
                  </a:cubicBezTo>
                  <a:cubicBezTo>
                    <a:pt x="1160" y="469"/>
                    <a:pt x="1160" y="469"/>
                    <a:pt x="1160" y="469"/>
                  </a:cubicBezTo>
                  <a:cubicBezTo>
                    <a:pt x="1159" y="470"/>
                    <a:pt x="1159" y="470"/>
                    <a:pt x="1159" y="471"/>
                  </a:cubicBezTo>
                  <a:cubicBezTo>
                    <a:pt x="1159" y="470"/>
                    <a:pt x="1159" y="470"/>
                    <a:pt x="1159" y="469"/>
                  </a:cubicBezTo>
                  <a:cubicBezTo>
                    <a:pt x="1147" y="469"/>
                    <a:pt x="1147" y="469"/>
                    <a:pt x="1147" y="469"/>
                  </a:cubicBezTo>
                  <a:cubicBezTo>
                    <a:pt x="1145" y="478"/>
                    <a:pt x="1143" y="484"/>
                    <a:pt x="1141" y="488"/>
                  </a:cubicBezTo>
                  <a:cubicBezTo>
                    <a:pt x="1139" y="490"/>
                    <a:pt x="1137" y="492"/>
                    <a:pt x="1135" y="494"/>
                  </a:cubicBezTo>
                  <a:cubicBezTo>
                    <a:pt x="1137" y="486"/>
                    <a:pt x="1139" y="477"/>
                    <a:pt x="1140" y="469"/>
                  </a:cubicBezTo>
                  <a:cubicBezTo>
                    <a:pt x="1129" y="469"/>
                    <a:pt x="1129" y="469"/>
                    <a:pt x="1129" y="469"/>
                  </a:cubicBezTo>
                  <a:cubicBezTo>
                    <a:pt x="1127" y="480"/>
                    <a:pt x="1124" y="490"/>
                    <a:pt x="1122" y="500"/>
                  </a:cubicBezTo>
                  <a:cubicBezTo>
                    <a:pt x="1119" y="490"/>
                    <a:pt x="1117" y="480"/>
                    <a:pt x="1114" y="469"/>
                  </a:cubicBezTo>
                  <a:cubicBezTo>
                    <a:pt x="1102" y="469"/>
                    <a:pt x="1102" y="469"/>
                    <a:pt x="1102" y="469"/>
                  </a:cubicBezTo>
                  <a:cubicBezTo>
                    <a:pt x="1106" y="483"/>
                    <a:pt x="1109" y="496"/>
                    <a:pt x="1112" y="508"/>
                  </a:cubicBezTo>
                  <a:cubicBezTo>
                    <a:pt x="1112" y="509"/>
                    <a:pt x="1113" y="511"/>
                    <a:pt x="1113" y="512"/>
                  </a:cubicBezTo>
                  <a:cubicBezTo>
                    <a:pt x="1112" y="512"/>
                    <a:pt x="1112" y="512"/>
                    <a:pt x="1112" y="512"/>
                  </a:cubicBezTo>
                  <a:cubicBezTo>
                    <a:pt x="1114" y="517"/>
                    <a:pt x="1114" y="517"/>
                    <a:pt x="1114" y="517"/>
                  </a:cubicBezTo>
                  <a:cubicBezTo>
                    <a:pt x="1114" y="518"/>
                    <a:pt x="1115" y="520"/>
                    <a:pt x="1115" y="521"/>
                  </a:cubicBezTo>
                  <a:cubicBezTo>
                    <a:pt x="1115" y="522"/>
                    <a:pt x="1115" y="522"/>
                    <a:pt x="1116" y="523"/>
                  </a:cubicBezTo>
                  <a:cubicBezTo>
                    <a:pt x="1107" y="553"/>
                    <a:pt x="1098" y="582"/>
                    <a:pt x="1089" y="609"/>
                  </a:cubicBezTo>
                  <a:cubicBezTo>
                    <a:pt x="1089" y="606"/>
                    <a:pt x="1089" y="603"/>
                    <a:pt x="1089" y="599"/>
                  </a:cubicBezTo>
                  <a:cubicBezTo>
                    <a:pt x="1089" y="591"/>
                    <a:pt x="1089" y="583"/>
                    <a:pt x="1089" y="574"/>
                  </a:cubicBezTo>
                  <a:cubicBezTo>
                    <a:pt x="1089" y="542"/>
                    <a:pt x="1086" y="505"/>
                    <a:pt x="1065" y="469"/>
                  </a:cubicBezTo>
                  <a:cubicBezTo>
                    <a:pt x="1041" y="469"/>
                    <a:pt x="1041" y="469"/>
                    <a:pt x="1041" y="469"/>
                  </a:cubicBezTo>
                  <a:cubicBezTo>
                    <a:pt x="1037" y="482"/>
                    <a:pt x="1033" y="495"/>
                    <a:pt x="1029" y="507"/>
                  </a:cubicBezTo>
                  <a:cubicBezTo>
                    <a:pt x="1017" y="496"/>
                    <a:pt x="1004" y="486"/>
                    <a:pt x="988" y="476"/>
                  </a:cubicBezTo>
                  <a:cubicBezTo>
                    <a:pt x="984" y="474"/>
                    <a:pt x="980" y="471"/>
                    <a:pt x="977" y="469"/>
                  </a:cubicBezTo>
                  <a:cubicBezTo>
                    <a:pt x="953" y="469"/>
                    <a:pt x="953" y="469"/>
                    <a:pt x="953" y="469"/>
                  </a:cubicBezTo>
                  <a:cubicBezTo>
                    <a:pt x="962" y="475"/>
                    <a:pt x="972" y="480"/>
                    <a:pt x="982" y="486"/>
                  </a:cubicBezTo>
                  <a:cubicBezTo>
                    <a:pt x="999" y="497"/>
                    <a:pt x="1013" y="508"/>
                    <a:pt x="1025" y="520"/>
                  </a:cubicBezTo>
                  <a:cubicBezTo>
                    <a:pt x="1019" y="536"/>
                    <a:pt x="1013" y="553"/>
                    <a:pt x="1007" y="569"/>
                  </a:cubicBezTo>
                  <a:cubicBezTo>
                    <a:pt x="997" y="561"/>
                    <a:pt x="987" y="553"/>
                    <a:pt x="975" y="547"/>
                  </a:cubicBezTo>
                  <a:cubicBezTo>
                    <a:pt x="949" y="531"/>
                    <a:pt x="922" y="517"/>
                    <a:pt x="897" y="506"/>
                  </a:cubicBezTo>
                  <a:cubicBezTo>
                    <a:pt x="900" y="494"/>
                    <a:pt x="904" y="482"/>
                    <a:pt x="907" y="469"/>
                  </a:cubicBezTo>
                  <a:cubicBezTo>
                    <a:pt x="896" y="469"/>
                    <a:pt x="896" y="469"/>
                    <a:pt x="896" y="469"/>
                  </a:cubicBezTo>
                  <a:cubicBezTo>
                    <a:pt x="893" y="480"/>
                    <a:pt x="889" y="491"/>
                    <a:pt x="886" y="502"/>
                  </a:cubicBezTo>
                  <a:cubicBezTo>
                    <a:pt x="856" y="490"/>
                    <a:pt x="827" y="481"/>
                    <a:pt x="798" y="475"/>
                  </a:cubicBezTo>
                  <a:cubicBezTo>
                    <a:pt x="798" y="473"/>
                    <a:pt x="799" y="471"/>
                    <a:pt x="799" y="469"/>
                  </a:cubicBezTo>
                  <a:cubicBezTo>
                    <a:pt x="788" y="469"/>
                    <a:pt x="788" y="469"/>
                    <a:pt x="788" y="469"/>
                  </a:cubicBezTo>
                  <a:cubicBezTo>
                    <a:pt x="788" y="471"/>
                    <a:pt x="787" y="472"/>
                    <a:pt x="787" y="473"/>
                  </a:cubicBezTo>
                  <a:cubicBezTo>
                    <a:pt x="779" y="472"/>
                    <a:pt x="770" y="470"/>
                    <a:pt x="762" y="469"/>
                  </a:cubicBezTo>
                  <a:cubicBezTo>
                    <a:pt x="698" y="469"/>
                    <a:pt x="698" y="469"/>
                    <a:pt x="698" y="469"/>
                  </a:cubicBezTo>
                  <a:cubicBezTo>
                    <a:pt x="698" y="477"/>
                    <a:pt x="698" y="477"/>
                    <a:pt x="698" y="477"/>
                  </a:cubicBezTo>
                  <a:cubicBezTo>
                    <a:pt x="699" y="477"/>
                    <a:pt x="700" y="477"/>
                    <a:pt x="701" y="477"/>
                  </a:cubicBezTo>
                  <a:cubicBezTo>
                    <a:pt x="728" y="477"/>
                    <a:pt x="756" y="480"/>
                    <a:pt x="785" y="485"/>
                  </a:cubicBezTo>
                  <a:cubicBezTo>
                    <a:pt x="780" y="504"/>
                    <a:pt x="776" y="523"/>
                    <a:pt x="772" y="541"/>
                  </a:cubicBezTo>
                  <a:cubicBezTo>
                    <a:pt x="747" y="536"/>
                    <a:pt x="722" y="533"/>
                    <a:pt x="698" y="531"/>
                  </a:cubicBezTo>
                  <a:cubicBezTo>
                    <a:pt x="698" y="544"/>
                    <a:pt x="698" y="544"/>
                    <a:pt x="698" y="544"/>
                  </a:cubicBezTo>
                  <a:cubicBezTo>
                    <a:pt x="721" y="545"/>
                    <a:pt x="745" y="548"/>
                    <a:pt x="769" y="553"/>
                  </a:cubicBezTo>
                  <a:cubicBezTo>
                    <a:pt x="764" y="573"/>
                    <a:pt x="759" y="593"/>
                    <a:pt x="754" y="613"/>
                  </a:cubicBezTo>
                  <a:cubicBezTo>
                    <a:pt x="735" y="610"/>
                    <a:pt x="716" y="609"/>
                    <a:pt x="698" y="608"/>
                  </a:cubicBezTo>
                  <a:cubicBezTo>
                    <a:pt x="698" y="620"/>
                    <a:pt x="698" y="620"/>
                    <a:pt x="698" y="620"/>
                  </a:cubicBezTo>
                  <a:cubicBezTo>
                    <a:pt x="716" y="621"/>
                    <a:pt x="733" y="622"/>
                    <a:pt x="751" y="624"/>
                  </a:cubicBezTo>
                  <a:cubicBezTo>
                    <a:pt x="747" y="642"/>
                    <a:pt x="742" y="659"/>
                    <a:pt x="738" y="676"/>
                  </a:cubicBezTo>
                  <a:cubicBezTo>
                    <a:pt x="725" y="674"/>
                    <a:pt x="712" y="673"/>
                    <a:pt x="698" y="672"/>
                  </a:cubicBezTo>
                  <a:cubicBezTo>
                    <a:pt x="698" y="684"/>
                    <a:pt x="698" y="684"/>
                    <a:pt x="698" y="684"/>
                  </a:cubicBezTo>
                  <a:cubicBezTo>
                    <a:pt x="711" y="685"/>
                    <a:pt x="723" y="686"/>
                    <a:pt x="734" y="688"/>
                  </a:cubicBezTo>
                  <a:cubicBezTo>
                    <a:pt x="729" y="708"/>
                    <a:pt x="723" y="728"/>
                    <a:pt x="717" y="747"/>
                  </a:cubicBezTo>
                  <a:cubicBezTo>
                    <a:pt x="711" y="746"/>
                    <a:pt x="705" y="745"/>
                    <a:pt x="698" y="744"/>
                  </a:cubicBezTo>
                  <a:cubicBezTo>
                    <a:pt x="698" y="755"/>
                    <a:pt x="698" y="755"/>
                    <a:pt x="698" y="755"/>
                  </a:cubicBezTo>
                  <a:cubicBezTo>
                    <a:pt x="704" y="756"/>
                    <a:pt x="709" y="757"/>
                    <a:pt x="714" y="758"/>
                  </a:cubicBezTo>
                  <a:cubicBezTo>
                    <a:pt x="710" y="774"/>
                    <a:pt x="705" y="788"/>
                    <a:pt x="701" y="803"/>
                  </a:cubicBezTo>
                  <a:cubicBezTo>
                    <a:pt x="700" y="803"/>
                    <a:pt x="699" y="803"/>
                    <a:pt x="698" y="803"/>
                  </a:cubicBezTo>
                  <a:cubicBezTo>
                    <a:pt x="698" y="849"/>
                    <a:pt x="698" y="849"/>
                    <a:pt x="698" y="849"/>
                  </a:cubicBezTo>
                  <a:cubicBezTo>
                    <a:pt x="702" y="838"/>
                    <a:pt x="705" y="826"/>
                    <a:pt x="709" y="815"/>
                  </a:cubicBezTo>
                  <a:cubicBezTo>
                    <a:pt x="728" y="816"/>
                    <a:pt x="747" y="818"/>
                    <a:pt x="765" y="821"/>
                  </a:cubicBezTo>
                  <a:cubicBezTo>
                    <a:pt x="759" y="835"/>
                    <a:pt x="752" y="848"/>
                    <a:pt x="746" y="861"/>
                  </a:cubicBezTo>
                  <a:cubicBezTo>
                    <a:pt x="731" y="862"/>
                    <a:pt x="715" y="863"/>
                    <a:pt x="698" y="865"/>
                  </a:cubicBezTo>
                  <a:cubicBezTo>
                    <a:pt x="698" y="877"/>
                    <a:pt x="698" y="877"/>
                    <a:pt x="698" y="877"/>
                  </a:cubicBezTo>
                  <a:cubicBezTo>
                    <a:pt x="713" y="875"/>
                    <a:pt x="726" y="874"/>
                    <a:pt x="740" y="873"/>
                  </a:cubicBezTo>
                  <a:cubicBezTo>
                    <a:pt x="727" y="899"/>
                    <a:pt x="715" y="922"/>
                    <a:pt x="703" y="944"/>
                  </a:cubicBezTo>
                  <a:cubicBezTo>
                    <a:pt x="701" y="944"/>
                    <a:pt x="700" y="944"/>
                    <a:pt x="698" y="944"/>
                  </a:cubicBezTo>
                  <a:cubicBezTo>
                    <a:pt x="698" y="965"/>
                    <a:pt x="698" y="965"/>
                    <a:pt x="698" y="965"/>
                  </a:cubicBezTo>
                  <a:cubicBezTo>
                    <a:pt x="704" y="965"/>
                    <a:pt x="704" y="965"/>
                    <a:pt x="704" y="965"/>
                  </a:cubicBezTo>
                  <a:cubicBezTo>
                    <a:pt x="706" y="962"/>
                    <a:pt x="707" y="959"/>
                    <a:pt x="709" y="956"/>
                  </a:cubicBezTo>
                  <a:cubicBezTo>
                    <a:pt x="732" y="957"/>
                    <a:pt x="753" y="960"/>
                    <a:pt x="770" y="965"/>
                  </a:cubicBezTo>
                  <a:cubicBezTo>
                    <a:pt x="801" y="965"/>
                    <a:pt x="801" y="965"/>
                    <a:pt x="801" y="965"/>
                  </a:cubicBezTo>
                  <a:cubicBezTo>
                    <a:pt x="798" y="964"/>
                    <a:pt x="795" y="962"/>
                    <a:pt x="791" y="960"/>
                  </a:cubicBezTo>
                  <a:cubicBezTo>
                    <a:pt x="805" y="944"/>
                    <a:pt x="819" y="927"/>
                    <a:pt x="833" y="909"/>
                  </a:cubicBezTo>
                  <a:cubicBezTo>
                    <a:pt x="839" y="900"/>
                    <a:pt x="845" y="892"/>
                    <a:pt x="852" y="883"/>
                  </a:cubicBezTo>
                  <a:cubicBezTo>
                    <a:pt x="879" y="890"/>
                    <a:pt x="901" y="901"/>
                    <a:pt x="916" y="916"/>
                  </a:cubicBezTo>
                  <a:cubicBezTo>
                    <a:pt x="901" y="934"/>
                    <a:pt x="885" y="950"/>
                    <a:pt x="870" y="965"/>
                  </a:cubicBezTo>
                  <a:cubicBezTo>
                    <a:pt x="887" y="965"/>
                    <a:pt x="887" y="965"/>
                    <a:pt x="887" y="965"/>
                  </a:cubicBezTo>
                  <a:cubicBezTo>
                    <a:pt x="900" y="952"/>
                    <a:pt x="912" y="938"/>
                    <a:pt x="924" y="924"/>
                  </a:cubicBezTo>
                  <a:cubicBezTo>
                    <a:pt x="930" y="932"/>
                    <a:pt x="935" y="940"/>
                    <a:pt x="938" y="949"/>
                  </a:cubicBezTo>
                  <a:cubicBezTo>
                    <a:pt x="931" y="955"/>
                    <a:pt x="924" y="960"/>
                    <a:pt x="917" y="965"/>
                  </a:cubicBezTo>
                  <a:cubicBezTo>
                    <a:pt x="936" y="965"/>
                    <a:pt x="936" y="965"/>
                    <a:pt x="936" y="965"/>
                  </a:cubicBezTo>
                  <a:cubicBezTo>
                    <a:pt x="938" y="964"/>
                    <a:pt x="939" y="963"/>
                    <a:pt x="941" y="961"/>
                  </a:cubicBezTo>
                  <a:cubicBezTo>
                    <a:pt x="941" y="963"/>
                    <a:pt x="941" y="964"/>
                    <a:pt x="942" y="965"/>
                  </a:cubicBezTo>
                  <a:cubicBezTo>
                    <a:pt x="953" y="965"/>
                    <a:pt x="953" y="965"/>
                    <a:pt x="953" y="965"/>
                  </a:cubicBezTo>
                  <a:cubicBezTo>
                    <a:pt x="952" y="961"/>
                    <a:pt x="952" y="957"/>
                    <a:pt x="951" y="953"/>
                  </a:cubicBezTo>
                  <a:cubicBezTo>
                    <a:pt x="952" y="952"/>
                    <a:pt x="953" y="951"/>
                    <a:pt x="954" y="950"/>
                  </a:cubicBezTo>
                  <a:cubicBezTo>
                    <a:pt x="955" y="955"/>
                    <a:pt x="956" y="960"/>
                    <a:pt x="957" y="965"/>
                  </a:cubicBezTo>
                  <a:cubicBezTo>
                    <a:pt x="968" y="965"/>
                    <a:pt x="968" y="965"/>
                    <a:pt x="968" y="965"/>
                  </a:cubicBezTo>
                  <a:cubicBezTo>
                    <a:pt x="967" y="958"/>
                    <a:pt x="966" y="950"/>
                    <a:pt x="964" y="942"/>
                  </a:cubicBezTo>
                  <a:cubicBezTo>
                    <a:pt x="967" y="940"/>
                    <a:pt x="970" y="937"/>
                    <a:pt x="973" y="934"/>
                  </a:cubicBezTo>
                  <a:cubicBezTo>
                    <a:pt x="974" y="940"/>
                    <a:pt x="974" y="946"/>
                    <a:pt x="974" y="952"/>
                  </a:cubicBezTo>
                  <a:cubicBezTo>
                    <a:pt x="974" y="956"/>
                    <a:pt x="974" y="961"/>
                    <a:pt x="973" y="965"/>
                  </a:cubicBezTo>
                  <a:cubicBezTo>
                    <a:pt x="985" y="965"/>
                    <a:pt x="985" y="965"/>
                    <a:pt x="985" y="965"/>
                  </a:cubicBezTo>
                  <a:cubicBezTo>
                    <a:pt x="985" y="961"/>
                    <a:pt x="985" y="957"/>
                    <a:pt x="985" y="953"/>
                  </a:cubicBezTo>
                  <a:cubicBezTo>
                    <a:pt x="985" y="943"/>
                    <a:pt x="985" y="934"/>
                    <a:pt x="984" y="924"/>
                  </a:cubicBezTo>
                  <a:cubicBezTo>
                    <a:pt x="991" y="918"/>
                    <a:pt x="998" y="911"/>
                    <a:pt x="1006" y="904"/>
                  </a:cubicBezTo>
                  <a:cubicBezTo>
                    <a:pt x="1003" y="929"/>
                    <a:pt x="998" y="950"/>
                    <a:pt x="993" y="965"/>
                  </a:cubicBezTo>
                  <a:cubicBezTo>
                    <a:pt x="1021" y="965"/>
                    <a:pt x="1021" y="965"/>
                    <a:pt x="1021" y="965"/>
                  </a:cubicBezTo>
                  <a:cubicBezTo>
                    <a:pt x="1025" y="960"/>
                    <a:pt x="1029" y="955"/>
                    <a:pt x="1034" y="950"/>
                  </a:cubicBezTo>
                  <a:cubicBezTo>
                    <a:pt x="1035" y="954"/>
                    <a:pt x="1038" y="959"/>
                    <a:pt x="1040" y="965"/>
                  </a:cubicBezTo>
                  <a:cubicBezTo>
                    <a:pt x="1053" y="965"/>
                    <a:pt x="1053" y="965"/>
                    <a:pt x="1053" y="965"/>
                  </a:cubicBezTo>
                  <a:cubicBezTo>
                    <a:pt x="1048" y="954"/>
                    <a:pt x="1044" y="946"/>
                    <a:pt x="1041" y="940"/>
                  </a:cubicBezTo>
                  <a:cubicBezTo>
                    <a:pt x="1043" y="938"/>
                    <a:pt x="1045" y="936"/>
                    <a:pt x="1047" y="933"/>
                  </a:cubicBezTo>
                  <a:cubicBezTo>
                    <a:pt x="1055" y="924"/>
                    <a:pt x="1063" y="915"/>
                    <a:pt x="1071" y="905"/>
                  </a:cubicBezTo>
                  <a:cubicBezTo>
                    <a:pt x="1068" y="903"/>
                    <a:pt x="1068" y="903"/>
                    <a:pt x="1068" y="903"/>
                  </a:cubicBezTo>
                  <a:cubicBezTo>
                    <a:pt x="1077" y="889"/>
                    <a:pt x="1086" y="875"/>
                    <a:pt x="1094" y="861"/>
                  </a:cubicBezTo>
                  <a:cubicBezTo>
                    <a:pt x="1097" y="869"/>
                    <a:pt x="1102" y="884"/>
                    <a:pt x="1109" y="905"/>
                  </a:cubicBezTo>
                  <a:cubicBezTo>
                    <a:pt x="1096" y="926"/>
                    <a:pt x="1082" y="946"/>
                    <a:pt x="1068" y="965"/>
                  </a:cubicBezTo>
                  <a:cubicBezTo>
                    <a:pt x="1082" y="965"/>
                    <a:pt x="1082" y="965"/>
                    <a:pt x="1082" y="965"/>
                  </a:cubicBezTo>
                  <a:cubicBezTo>
                    <a:pt x="1093" y="950"/>
                    <a:pt x="1104" y="935"/>
                    <a:pt x="1114" y="919"/>
                  </a:cubicBezTo>
                  <a:cubicBezTo>
                    <a:pt x="1118" y="931"/>
                    <a:pt x="1123" y="945"/>
                    <a:pt x="1128" y="959"/>
                  </a:cubicBezTo>
                  <a:cubicBezTo>
                    <a:pt x="1126" y="961"/>
                    <a:pt x="1124" y="963"/>
                    <a:pt x="1123" y="965"/>
                  </a:cubicBezTo>
                  <a:cubicBezTo>
                    <a:pt x="1141" y="965"/>
                    <a:pt x="1141" y="965"/>
                    <a:pt x="1141" y="965"/>
                  </a:cubicBezTo>
                  <a:cubicBezTo>
                    <a:pt x="1141" y="964"/>
                    <a:pt x="1140" y="962"/>
                    <a:pt x="1140" y="960"/>
                  </a:cubicBezTo>
                  <a:cubicBezTo>
                    <a:pt x="1157" y="937"/>
                    <a:pt x="1174" y="912"/>
                    <a:pt x="1189" y="885"/>
                  </a:cubicBezTo>
                  <a:cubicBezTo>
                    <a:pt x="1195" y="902"/>
                    <a:pt x="1201" y="920"/>
                    <a:pt x="1207" y="938"/>
                  </a:cubicBezTo>
                  <a:cubicBezTo>
                    <a:pt x="1200" y="947"/>
                    <a:pt x="1193" y="956"/>
                    <a:pt x="1186" y="965"/>
                  </a:cubicBezTo>
                  <a:cubicBezTo>
                    <a:pt x="1201" y="965"/>
                    <a:pt x="1201" y="965"/>
                    <a:pt x="1201" y="965"/>
                  </a:cubicBezTo>
                  <a:cubicBezTo>
                    <a:pt x="1204" y="961"/>
                    <a:pt x="1208" y="956"/>
                    <a:pt x="1211" y="951"/>
                  </a:cubicBezTo>
                  <a:cubicBezTo>
                    <a:pt x="1213" y="956"/>
                    <a:pt x="1215" y="960"/>
                    <a:pt x="1216" y="965"/>
                  </a:cubicBezTo>
                  <a:cubicBezTo>
                    <a:pt x="1228" y="965"/>
                    <a:pt x="1228" y="965"/>
                    <a:pt x="1228" y="965"/>
                  </a:cubicBezTo>
                  <a:cubicBezTo>
                    <a:pt x="1225" y="957"/>
                    <a:pt x="1222" y="948"/>
                    <a:pt x="1220" y="940"/>
                  </a:cubicBezTo>
                  <a:cubicBezTo>
                    <a:pt x="1238" y="914"/>
                    <a:pt x="1255" y="886"/>
                    <a:pt x="1271" y="855"/>
                  </a:cubicBezTo>
                  <a:cubicBezTo>
                    <a:pt x="1274" y="851"/>
                    <a:pt x="1276" y="846"/>
                    <a:pt x="1279" y="843"/>
                  </a:cubicBezTo>
                  <a:cubicBezTo>
                    <a:pt x="1286" y="862"/>
                    <a:pt x="1294" y="883"/>
                    <a:pt x="1301" y="904"/>
                  </a:cubicBezTo>
                  <a:cubicBezTo>
                    <a:pt x="1301" y="905"/>
                    <a:pt x="1300" y="905"/>
                    <a:pt x="1300" y="906"/>
                  </a:cubicBezTo>
                  <a:cubicBezTo>
                    <a:pt x="1285" y="927"/>
                    <a:pt x="1270" y="947"/>
                    <a:pt x="1255" y="965"/>
                  </a:cubicBezTo>
                  <a:cubicBezTo>
                    <a:pt x="1270" y="965"/>
                    <a:pt x="1270" y="965"/>
                    <a:pt x="1270" y="965"/>
                  </a:cubicBezTo>
                  <a:cubicBezTo>
                    <a:pt x="1282" y="950"/>
                    <a:pt x="1294" y="934"/>
                    <a:pt x="1306" y="917"/>
                  </a:cubicBezTo>
                  <a:cubicBezTo>
                    <a:pt x="1311" y="933"/>
                    <a:pt x="1317" y="949"/>
                    <a:pt x="1322" y="965"/>
                  </a:cubicBezTo>
                  <a:cubicBezTo>
                    <a:pt x="1334" y="965"/>
                    <a:pt x="1334" y="965"/>
                    <a:pt x="1334" y="965"/>
                  </a:cubicBezTo>
                  <a:cubicBezTo>
                    <a:pt x="1327" y="946"/>
                    <a:pt x="1320" y="926"/>
                    <a:pt x="1314" y="906"/>
                  </a:cubicBezTo>
                  <a:cubicBezTo>
                    <a:pt x="1323" y="896"/>
                    <a:pt x="1335" y="891"/>
                    <a:pt x="1350" y="891"/>
                  </a:cubicBezTo>
                  <a:cubicBezTo>
                    <a:pt x="1355" y="891"/>
                    <a:pt x="1362" y="892"/>
                    <a:pt x="1368" y="893"/>
                  </a:cubicBezTo>
                  <a:cubicBezTo>
                    <a:pt x="1375" y="910"/>
                    <a:pt x="1381" y="928"/>
                    <a:pt x="1388" y="944"/>
                  </a:cubicBezTo>
                  <a:cubicBezTo>
                    <a:pt x="1387" y="944"/>
                    <a:pt x="1385" y="944"/>
                    <a:pt x="1384" y="944"/>
                  </a:cubicBezTo>
                  <a:cubicBezTo>
                    <a:pt x="1365" y="944"/>
                    <a:pt x="1349" y="949"/>
                    <a:pt x="1338" y="962"/>
                  </a:cubicBezTo>
                  <a:cubicBezTo>
                    <a:pt x="1337" y="963"/>
                    <a:pt x="1336" y="964"/>
                    <a:pt x="1335" y="965"/>
                  </a:cubicBezTo>
                  <a:cubicBezTo>
                    <a:pt x="1352" y="965"/>
                    <a:pt x="1352" y="965"/>
                    <a:pt x="1352" y="965"/>
                  </a:cubicBezTo>
                  <a:cubicBezTo>
                    <a:pt x="1360" y="959"/>
                    <a:pt x="1371" y="956"/>
                    <a:pt x="1384" y="956"/>
                  </a:cubicBezTo>
                  <a:cubicBezTo>
                    <a:pt x="1387" y="956"/>
                    <a:pt x="1390" y="956"/>
                    <a:pt x="1394" y="957"/>
                  </a:cubicBezTo>
                  <a:cubicBezTo>
                    <a:pt x="1395" y="960"/>
                    <a:pt x="1396" y="962"/>
                    <a:pt x="1397" y="965"/>
                  </a:cubicBezTo>
                  <a:cubicBezTo>
                    <a:pt x="1399" y="965"/>
                    <a:pt x="1399" y="965"/>
                    <a:pt x="1399" y="965"/>
                  </a:cubicBezTo>
                  <a:cubicBezTo>
                    <a:pt x="1399" y="940"/>
                    <a:pt x="1399" y="940"/>
                    <a:pt x="1399" y="940"/>
                  </a:cubicBezTo>
                  <a:cubicBezTo>
                    <a:pt x="1393" y="926"/>
                    <a:pt x="1387" y="911"/>
                    <a:pt x="1382" y="897"/>
                  </a:cubicBezTo>
                  <a:cubicBezTo>
                    <a:pt x="1387" y="898"/>
                    <a:pt x="1393" y="900"/>
                    <a:pt x="1399" y="903"/>
                  </a:cubicBezTo>
                  <a:cubicBezTo>
                    <a:pt x="1399" y="890"/>
                    <a:pt x="1399" y="890"/>
                    <a:pt x="1399" y="890"/>
                  </a:cubicBezTo>
                  <a:cubicBezTo>
                    <a:pt x="1391" y="887"/>
                    <a:pt x="1384" y="885"/>
                    <a:pt x="1377" y="883"/>
                  </a:cubicBezTo>
                  <a:cubicBezTo>
                    <a:pt x="1371" y="868"/>
                    <a:pt x="1365" y="853"/>
                    <a:pt x="1360" y="838"/>
                  </a:cubicBezTo>
                  <a:cubicBezTo>
                    <a:pt x="1372" y="843"/>
                    <a:pt x="1385" y="850"/>
                    <a:pt x="1399" y="857"/>
                  </a:cubicBezTo>
                  <a:cubicBezTo>
                    <a:pt x="1399" y="844"/>
                    <a:pt x="1399" y="844"/>
                    <a:pt x="1399" y="844"/>
                  </a:cubicBezTo>
                  <a:cubicBezTo>
                    <a:pt x="1383" y="836"/>
                    <a:pt x="1368" y="828"/>
                    <a:pt x="1355" y="823"/>
                  </a:cubicBezTo>
                  <a:cubicBezTo>
                    <a:pt x="1350" y="809"/>
                    <a:pt x="1345" y="796"/>
                    <a:pt x="1341" y="784"/>
                  </a:cubicBezTo>
                  <a:cubicBezTo>
                    <a:pt x="1354" y="792"/>
                    <a:pt x="1367" y="800"/>
                    <a:pt x="1382" y="809"/>
                  </a:cubicBezTo>
                  <a:cubicBezTo>
                    <a:pt x="1387" y="813"/>
                    <a:pt x="1393" y="816"/>
                    <a:pt x="1399" y="820"/>
                  </a:cubicBezTo>
                  <a:cubicBezTo>
                    <a:pt x="1399" y="769"/>
                    <a:pt x="1399" y="769"/>
                    <a:pt x="1399" y="769"/>
                  </a:cubicBezTo>
                  <a:cubicBezTo>
                    <a:pt x="1399" y="769"/>
                    <a:pt x="1398" y="769"/>
                    <a:pt x="1398" y="768"/>
                  </a:cubicBezTo>
                  <a:cubicBezTo>
                    <a:pt x="1396" y="762"/>
                    <a:pt x="1394" y="757"/>
                    <a:pt x="1393" y="752"/>
                  </a:cubicBezTo>
                  <a:cubicBezTo>
                    <a:pt x="1395" y="753"/>
                    <a:pt x="1397" y="754"/>
                    <a:pt x="1399" y="755"/>
                  </a:cubicBezTo>
                  <a:cubicBezTo>
                    <a:pt x="1399" y="741"/>
                    <a:pt x="1399" y="741"/>
                    <a:pt x="1399" y="741"/>
                  </a:cubicBezTo>
                  <a:cubicBezTo>
                    <a:pt x="1395" y="739"/>
                    <a:pt x="1392" y="737"/>
                    <a:pt x="1388" y="735"/>
                  </a:cubicBezTo>
                  <a:cubicBezTo>
                    <a:pt x="1387" y="732"/>
                    <a:pt x="1387" y="729"/>
                    <a:pt x="1386" y="728"/>
                  </a:cubicBezTo>
                  <a:cubicBezTo>
                    <a:pt x="1390" y="731"/>
                    <a:pt x="1395" y="733"/>
                    <a:pt x="1399" y="736"/>
                  </a:cubicBezTo>
                  <a:cubicBezTo>
                    <a:pt x="1399" y="722"/>
                    <a:pt x="1399" y="722"/>
                    <a:pt x="1399" y="722"/>
                  </a:cubicBezTo>
                  <a:cubicBezTo>
                    <a:pt x="1350" y="691"/>
                    <a:pt x="1308" y="636"/>
                    <a:pt x="1298" y="614"/>
                  </a:cubicBezTo>
                  <a:cubicBezTo>
                    <a:pt x="1289" y="593"/>
                    <a:pt x="1278" y="557"/>
                    <a:pt x="1266" y="522"/>
                  </a:cubicBezTo>
                  <a:cubicBezTo>
                    <a:pt x="1260" y="504"/>
                    <a:pt x="1254" y="486"/>
                    <a:pt x="1249" y="469"/>
                  </a:cubicBezTo>
                  <a:moveTo>
                    <a:pt x="2097" y="416"/>
                  </a:moveTo>
                  <a:cubicBezTo>
                    <a:pt x="2037" y="428"/>
                    <a:pt x="1984" y="446"/>
                    <a:pt x="1937" y="469"/>
                  </a:cubicBezTo>
                  <a:cubicBezTo>
                    <a:pt x="1966" y="469"/>
                    <a:pt x="1966" y="469"/>
                    <a:pt x="1966" y="469"/>
                  </a:cubicBezTo>
                  <a:cubicBezTo>
                    <a:pt x="1967" y="469"/>
                    <a:pt x="1969" y="468"/>
                    <a:pt x="1970" y="467"/>
                  </a:cubicBezTo>
                  <a:cubicBezTo>
                    <a:pt x="1970" y="468"/>
                    <a:pt x="1971" y="469"/>
                    <a:pt x="1971" y="469"/>
                  </a:cubicBezTo>
                  <a:cubicBezTo>
                    <a:pt x="1983" y="469"/>
                    <a:pt x="1983" y="469"/>
                    <a:pt x="1983" y="469"/>
                  </a:cubicBezTo>
                  <a:cubicBezTo>
                    <a:pt x="1982" y="467"/>
                    <a:pt x="1981" y="465"/>
                    <a:pt x="1981" y="463"/>
                  </a:cubicBezTo>
                  <a:cubicBezTo>
                    <a:pt x="1998" y="456"/>
                    <a:pt x="2017" y="449"/>
                    <a:pt x="2036" y="444"/>
                  </a:cubicBezTo>
                  <a:cubicBezTo>
                    <a:pt x="2038" y="446"/>
                    <a:pt x="2042" y="455"/>
                    <a:pt x="2049" y="467"/>
                  </a:cubicBezTo>
                  <a:cubicBezTo>
                    <a:pt x="2046" y="468"/>
                    <a:pt x="2044" y="469"/>
                    <a:pt x="2041" y="469"/>
                  </a:cubicBezTo>
                  <a:cubicBezTo>
                    <a:pt x="2093" y="469"/>
                    <a:pt x="2093" y="469"/>
                    <a:pt x="2093" y="469"/>
                  </a:cubicBezTo>
                  <a:cubicBezTo>
                    <a:pt x="2095" y="469"/>
                    <a:pt x="2096" y="469"/>
                    <a:pt x="2097" y="469"/>
                  </a:cubicBezTo>
                  <a:cubicBezTo>
                    <a:pt x="2097" y="456"/>
                    <a:pt x="2097" y="456"/>
                    <a:pt x="2097" y="456"/>
                  </a:cubicBezTo>
                  <a:cubicBezTo>
                    <a:pt x="2088" y="458"/>
                    <a:pt x="2079" y="460"/>
                    <a:pt x="2069" y="462"/>
                  </a:cubicBezTo>
                  <a:cubicBezTo>
                    <a:pt x="2066" y="463"/>
                    <a:pt x="2063" y="464"/>
                    <a:pt x="2060" y="464"/>
                  </a:cubicBezTo>
                  <a:cubicBezTo>
                    <a:pt x="2054" y="453"/>
                    <a:pt x="2050" y="445"/>
                    <a:pt x="2047" y="440"/>
                  </a:cubicBezTo>
                  <a:cubicBezTo>
                    <a:pt x="2064" y="436"/>
                    <a:pt x="2080" y="432"/>
                    <a:pt x="2097" y="428"/>
                  </a:cubicBezTo>
                  <a:cubicBezTo>
                    <a:pt x="2097" y="416"/>
                    <a:pt x="2097" y="416"/>
                    <a:pt x="2097" y="416"/>
                  </a:cubicBezTo>
                  <a:moveTo>
                    <a:pt x="386" y="465"/>
                  </a:moveTo>
                  <a:cubicBezTo>
                    <a:pt x="386" y="463"/>
                    <a:pt x="386" y="461"/>
                    <a:pt x="386" y="458"/>
                  </a:cubicBezTo>
                  <a:cubicBezTo>
                    <a:pt x="389" y="444"/>
                    <a:pt x="392" y="430"/>
                    <a:pt x="396" y="417"/>
                  </a:cubicBezTo>
                  <a:cubicBezTo>
                    <a:pt x="406" y="408"/>
                    <a:pt x="419" y="398"/>
                    <a:pt x="435" y="387"/>
                  </a:cubicBezTo>
                  <a:cubicBezTo>
                    <a:pt x="435" y="400"/>
                    <a:pt x="435" y="413"/>
                    <a:pt x="436" y="427"/>
                  </a:cubicBezTo>
                  <a:cubicBezTo>
                    <a:pt x="417" y="440"/>
                    <a:pt x="400" y="453"/>
                    <a:pt x="386" y="465"/>
                  </a:cubicBezTo>
                  <a:moveTo>
                    <a:pt x="536" y="429"/>
                  </a:moveTo>
                  <a:cubicBezTo>
                    <a:pt x="535" y="414"/>
                    <a:pt x="535" y="398"/>
                    <a:pt x="535" y="383"/>
                  </a:cubicBezTo>
                  <a:cubicBezTo>
                    <a:pt x="555" y="374"/>
                    <a:pt x="577" y="366"/>
                    <a:pt x="599" y="359"/>
                  </a:cubicBezTo>
                  <a:cubicBezTo>
                    <a:pt x="599" y="376"/>
                    <a:pt x="598" y="393"/>
                    <a:pt x="597" y="409"/>
                  </a:cubicBezTo>
                  <a:cubicBezTo>
                    <a:pt x="576" y="415"/>
                    <a:pt x="555" y="421"/>
                    <a:pt x="536" y="429"/>
                  </a:cubicBezTo>
                  <a:moveTo>
                    <a:pt x="387" y="408"/>
                  </a:moveTo>
                  <a:cubicBezTo>
                    <a:pt x="387" y="398"/>
                    <a:pt x="387" y="388"/>
                    <a:pt x="388" y="378"/>
                  </a:cubicBezTo>
                  <a:cubicBezTo>
                    <a:pt x="385" y="378"/>
                    <a:pt x="385" y="378"/>
                    <a:pt x="385" y="378"/>
                  </a:cubicBezTo>
                  <a:cubicBezTo>
                    <a:pt x="387" y="368"/>
                    <a:pt x="390" y="357"/>
                    <a:pt x="392" y="347"/>
                  </a:cubicBezTo>
                  <a:cubicBezTo>
                    <a:pt x="396" y="344"/>
                    <a:pt x="402" y="340"/>
                    <a:pt x="411" y="334"/>
                  </a:cubicBezTo>
                  <a:cubicBezTo>
                    <a:pt x="402" y="357"/>
                    <a:pt x="394" y="382"/>
                    <a:pt x="387" y="408"/>
                  </a:cubicBezTo>
                  <a:moveTo>
                    <a:pt x="447" y="419"/>
                  </a:moveTo>
                  <a:cubicBezTo>
                    <a:pt x="446" y="406"/>
                    <a:pt x="446" y="393"/>
                    <a:pt x="446" y="379"/>
                  </a:cubicBezTo>
                  <a:cubicBezTo>
                    <a:pt x="468" y="364"/>
                    <a:pt x="495" y="348"/>
                    <a:pt x="524" y="333"/>
                  </a:cubicBezTo>
                  <a:cubicBezTo>
                    <a:pt x="524" y="347"/>
                    <a:pt x="524" y="361"/>
                    <a:pt x="524" y="375"/>
                  </a:cubicBezTo>
                  <a:cubicBezTo>
                    <a:pt x="496" y="389"/>
                    <a:pt x="470" y="404"/>
                    <a:pt x="447" y="419"/>
                  </a:cubicBezTo>
                  <a:moveTo>
                    <a:pt x="402" y="397"/>
                  </a:moveTo>
                  <a:cubicBezTo>
                    <a:pt x="409" y="371"/>
                    <a:pt x="418" y="346"/>
                    <a:pt x="427" y="323"/>
                  </a:cubicBezTo>
                  <a:cubicBezTo>
                    <a:pt x="430" y="321"/>
                    <a:pt x="432" y="319"/>
                    <a:pt x="435" y="317"/>
                  </a:cubicBezTo>
                  <a:cubicBezTo>
                    <a:pt x="435" y="333"/>
                    <a:pt x="435" y="349"/>
                    <a:pt x="435" y="364"/>
                  </a:cubicBezTo>
                  <a:cubicBezTo>
                    <a:pt x="435" y="367"/>
                    <a:pt x="435" y="370"/>
                    <a:pt x="435" y="373"/>
                  </a:cubicBezTo>
                  <a:cubicBezTo>
                    <a:pt x="422" y="381"/>
                    <a:pt x="411" y="390"/>
                    <a:pt x="402" y="397"/>
                  </a:cubicBezTo>
                  <a:moveTo>
                    <a:pt x="434" y="304"/>
                  </a:moveTo>
                  <a:cubicBezTo>
                    <a:pt x="435" y="303"/>
                    <a:pt x="435" y="302"/>
                    <a:pt x="436" y="300"/>
                  </a:cubicBezTo>
                  <a:cubicBezTo>
                    <a:pt x="436" y="301"/>
                    <a:pt x="436" y="302"/>
                    <a:pt x="436" y="303"/>
                  </a:cubicBezTo>
                  <a:cubicBezTo>
                    <a:pt x="435" y="304"/>
                    <a:pt x="435" y="304"/>
                    <a:pt x="434" y="304"/>
                  </a:cubicBezTo>
                  <a:moveTo>
                    <a:pt x="535" y="370"/>
                  </a:moveTo>
                  <a:cubicBezTo>
                    <a:pt x="535" y="356"/>
                    <a:pt x="535" y="342"/>
                    <a:pt x="536" y="328"/>
                  </a:cubicBezTo>
                  <a:cubicBezTo>
                    <a:pt x="556" y="318"/>
                    <a:pt x="579" y="308"/>
                    <a:pt x="603" y="300"/>
                  </a:cubicBezTo>
                  <a:cubicBezTo>
                    <a:pt x="602" y="315"/>
                    <a:pt x="601" y="331"/>
                    <a:pt x="600" y="346"/>
                  </a:cubicBezTo>
                  <a:cubicBezTo>
                    <a:pt x="577" y="353"/>
                    <a:pt x="556" y="361"/>
                    <a:pt x="535" y="370"/>
                  </a:cubicBezTo>
                  <a:moveTo>
                    <a:pt x="446" y="365"/>
                  </a:moveTo>
                  <a:cubicBezTo>
                    <a:pt x="446" y="347"/>
                    <a:pt x="446" y="329"/>
                    <a:pt x="447" y="310"/>
                  </a:cubicBezTo>
                  <a:cubicBezTo>
                    <a:pt x="468" y="297"/>
                    <a:pt x="495" y="282"/>
                    <a:pt x="525" y="268"/>
                  </a:cubicBezTo>
                  <a:cubicBezTo>
                    <a:pt x="525" y="285"/>
                    <a:pt x="525" y="303"/>
                    <a:pt x="524" y="320"/>
                  </a:cubicBezTo>
                  <a:cubicBezTo>
                    <a:pt x="495" y="334"/>
                    <a:pt x="468" y="350"/>
                    <a:pt x="446" y="365"/>
                  </a:cubicBezTo>
                  <a:moveTo>
                    <a:pt x="426" y="254"/>
                  </a:moveTo>
                  <a:cubicBezTo>
                    <a:pt x="426" y="253"/>
                    <a:pt x="431" y="250"/>
                    <a:pt x="439" y="246"/>
                  </a:cubicBezTo>
                  <a:cubicBezTo>
                    <a:pt x="438" y="253"/>
                    <a:pt x="438" y="261"/>
                    <a:pt x="437" y="269"/>
                  </a:cubicBezTo>
                  <a:cubicBezTo>
                    <a:pt x="431" y="284"/>
                    <a:pt x="424" y="299"/>
                    <a:pt x="418" y="315"/>
                  </a:cubicBezTo>
                  <a:cubicBezTo>
                    <a:pt x="410" y="320"/>
                    <a:pt x="403" y="325"/>
                    <a:pt x="397" y="329"/>
                  </a:cubicBezTo>
                  <a:cubicBezTo>
                    <a:pt x="404" y="303"/>
                    <a:pt x="413" y="276"/>
                    <a:pt x="424" y="250"/>
                  </a:cubicBezTo>
                  <a:cubicBezTo>
                    <a:pt x="426" y="254"/>
                    <a:pt x="426" y="254"/>
                    <a:pt x="426" y="254"/>
                  </a:cubicBezTo>
                  <a:moveTo>
                    <a:pt x="450" y="242"/>
                  </a:moveTo>
                  <a:cubicBezTo>
                    <a:pt x="450" y="241"/>
                    <a:pt x="450" y="240"/>
                    <a:pt x="450" y="239"/>
                  </a:cubicBezTo>
                  <a:cubicBezTo>
                    <a:pt x="451" y="239"/>
                    <a:pt x="452" y="238"/>
                    <a:pt x="452" y="238"/>
                  </a:cubicBezTo>
                  <a:cubicBezTo>
                    <a:pt x="451" y="239"/>
                    <a:pt x="451" y="241"/>
                    <a:pt x="450" y="242"/>
                  </a:cubicBezTo>
                  <a:moveTo>
                    <a:pt x="536" y="314"/>
                  </a:moveTo>
                  <a:cubicBezTo>
                    <a:pt x="536" y="297"/>
                    <a:pt x="536" y="280"/>
                    <a:pt x="537" y="263"/>
                  </a:cubicBezTo>
                  <a:cubicBezTo>
                    <a:pt x="558" y="253"/>
                    <a:pt x="581" y="244"/>
                    <a:pt x="606" y="236"/>
                  </a:cubicBezTo>
                  <a:cubicBezTo>
                    <a:pt x="605" y="253"/>
                    <a:pt x="604" y="270"/>
                    <a:pt x="603" y="287"/>
                  </a:cubicBezTo>
                  <a:cubicBezTo>
                    <a:pt x="579" y="295"/>
                    <a:pt x="557" y="304"/>
                    <a:pt x="536" y="314"/>
                  </a:cubicBezTo>
                  <a:moveTo>
                    <a:pt x="429" y="238"/>
                  </a:moveTo>
                  <a:cubicBezTo>
                    <a:pt x="433" y="229"/>
                    <a:pt x="437" y="220"/>
                    <a:pt x="441" y="211"/>
                  </a:cubicBezTo>
                  <a:cubicBezTo>
                    <a:pt x="441" y="218"/>
                    <a:pt x="440" y="225"/>
                    <a:pt x="440" y="231"/>
                  </a:cubicBezTo>
                  <a:cubicBezTo>
                    <a:pt x="435" y="234"/>
                    <a:pt x="432" y="236"/>
                    <a:pt x="429" y="238"/>
                  </a:cubicBezTo>
                  <a:moveTo>
                    <a:pt x="447" y="296"/>
                  </a:moveTo>
                  <a:cubicBezTo>
                    <a:pt x="447" y="288"/>
                    <a:pt x="448" y="280"/>
                    <a:pt x="448" y="272"/>
                  </a:cubicBezTo>
                  <a:cubicBezTo>
                    <a:pt x="455" y="257"/>
                    <a:pt x="463" y="242"/>
                    <a:pt x="470" y="228"/>
                  </a:cubicBezTo>
                  <a:cubicBezTo>
                    <a:pt x="485" y="220"/>
                    <a:pt x="505" y="210"/>
                    <a:pt x="527" y="200"/>
                  </a:cubicBezTo>
                  <a:cubicBezTo>
                    <a:pt x="527" y="219"/>
                    <a:pt x="526" y="237"/>
                    <a:pt x="526" y="255"/>
                  </a:cubicBezTo>
                  <a:cubicBezTo>
                    <a:pt x="495" y="269"/>
                    <a:pt x="469" y="283"/>
                    <a:pt x="447" y="296"/>
                  </a:cubicBezTo>
                  <a:moveTo>
                    <a:pt x="537" y="250"/>
                  </a:moveTo>
                  <a:cubicBezTo>
                    <a:pt x="537" y="232"/>
                    <a:pt x="538" y="214"/>
                    <a:pt x="539" y="195"/>
                  </a:cubicBezTo>
                  <a:cubicBezTo>
                    <a:pt x="560" y="186"/>
                    <a:pt x="584" y="177"/>
                    <a:pt x="610" y="169"/>
                  </a:cubicBezTo>
                  <a:cubicBezTo>
                    <a:pt x="609" y="187"/>
                    <a:pt x="608" y="205"/>
                    <a:pt x="607" y="223"/>
                  </a:cubicBezTo>
                  <a:cubicBezTo>
                    <a:pt x="582" y="231"/>
                    <a:pt x="559" y="240"/>
                    <a:pt x="537" y="250"/>
                  </a:cubicBezTo>
                  <a:moveTo>
                    <a:pt x="477" y="159"/>
                  </a:moveTo>
                  <a:cubicBezTo>
                    <a:pt x="478" y="158"/>
                    <a:pt x="489" y="152"/>
                    <a:pt x="508" y="142"/>
                  </a:cubicBezTo>
                  <a:cubicBezTo>
                    <a:pt x="493" y="164"/>
                    <a:pt x="477" y="190"/>
                    <a:pt x="462" y="219"/>
                  </a:cubicBezTo>
                  <a:cubicBezTo>
                    <a:pt x="458" y="221"/>
                    <a:pt x="455" y="223"/>
                    <a:pt x="451" y="225"/>
                  </a:cubicBezTo>
                  <a:cubicBezTo>
                    <a:pt x="452" y="212"/>
                    <a:pt x="453" y="199"/>
                    <a:pt x="455" y="187"/>
                  </a:cubicBezTo>
                  <a:cubicBezTo>
                    <a:pt x="461" y="176"/>
                    <a:pt x="468" y="165"/>
                    <a:pt x="475" y="155"/>
                  </a:cubicBezTo>
                  <a:cubicBezTo>
                    <a:pt x="477" y="159"/>
                    <a:pt x="477" y="159"/>
                    <a:pt x="477" y="159"/>
                  </a:cubicBezTo>
                  <a:moveTo>
                    <a:pt x="480" y="210"/>
                  </a:moveTo>
                  <a:cubicBezTo>
                    <a:pt x="496" y="179"/>
                    <a:pt x="513" y="153"/>
                    <a:pt x="529" y="131"/>
                  </a:cubicBezTo>
                  <a:cubicBezTo>
                    <a:pt x="529" y="131"/>
                    <a:pt x="530" y="131"/>
                    <a:pt x="530" y="130"/>
                  </a:cubicBezTo>
                  <a:cubicBezTo>
                    <a:pt x="529" y="149"/>
                    <a:pt x="528" y="168"/>
                    <a:pt x="528" y="187"/>
                  </a:cubicBezTo>
                  <a:cubicBezTo>
                    <a:pt x="510" y="195"/>
                    <a:pt x="494" y="203"/>
                    <a:pt x="480" y="210"/>
                  </a:cubicBezTo>
                  <a:moveTo>
                    <a:pt x="488" y="139"/>
                  </a:moveTo>
                  <a:cubicBezTo>
                    <a:pt x="496" y="129"/>
                    <a:pt x="504" y="120"/>
                    <a:pt x="513" y="112"/>
                  </a:cubicBezTo>
                  <a:cubicBezTo>
                    <a:pt x="516" y="110"/>
                    <a:pt x="523" y="106"/>
                    <a:pt x="532" y="101"/>
                  </a:cubicBezTo>
                  <a:cubicBezTo>
                    <a:pt x="532" y="103"/>
                    <a:pt x="532" y="106"/>
                    <a:pt x="531" y="108"/>
                  </a:cubicBezTo>
                  <a:cubicBezTo>
                    <a:pt x="528" y="112"/>
                    <a:pt x="525" y="117"/>
                    <a:pt x="522" y="121"/>
                  </a:cubicBezTo>
                  <a:cubicBezTo>
                    <a:pt x="508" y="128"/>
                    <a:pt x="496" y="134"/>
                    <a:pt x="488" y="139"/>
                  </a:cubicBezTo>
                  <a:moveTo>
                    <a:pt x="539" y="182"/>
                  </a:moveTo>
                  <a:cubicBezTo>
                    <a:pt x="540" y="163"/>
                    <a:pt x="541" y="144"/>
                    <a:pt x="542" y="125"/>
                  </a:cubicBezTo>
                  <a:cubicBezTo>
                    <a:pt x="562" y="115"/>
                    <a:pt x="587" y="105"/>
                    <a:pt x="615" y="94"/>
                  </a:cubicBezTo>
                  <a:cubicBezTo>
                    <a:pt x="613" y="115"/>
                    <a:pt x="612" y="136"/>
                    <a:pt x="611" y="156"/>
                  </a:cubicBezTo>
                  <a:cubicBezTo>
                    <a:pt x="585" y="164"/>
                    <a:pt x="561" y="173"/>
                    <a:pt x="539" y="182"/>
                  </a:cubicBezTo>
                  <a:moveTo>
                    <a:pt x="543" y="111"/>
                  </a:moveTo>
                  <a:cubicBezTo>
                    <a:pt x="551" y="101"/>
                    <a:pt x="558" y="92"/>
                    <a:pt x="565" y="84"/>
                  </a:cubicBezTo>
                  <a:cubicBezTo>
                    <a:pt x="580" y="77"/>
                    <a:pt x="597" y="69"/>
                    <a:pt x="617" y="61"/>
                  </a:cubicBezTo>
                  <a:cubicBezTo>
                    <a:pt x="616" y="68"/>
                    <a:pt x="616" y="75"/>
                    <a:pt x="615" y="82"/>
                  </a:cubicBezTo>
                  <a:cubicBezTo>
                    <a:pt x="588" y="91"/>
                    <a:pt x="564" y="102"/>
                    <a:pt x="543" y="111"/>
                  </a:cubicBezTo>
                  <a:moveTo>
                    <a:pt x="584" y="62"/>
                  </a:moveTo>
                  <a:cubicBezTo>
                    <a:pt x="586" y="60"/>
                    <a:pt x="588" y="58"/>
                    <a:pt x="590" y="56"/>
                  </a:cubicBezTo>
                  <a:cubicBezTo>
                    <a:pt x="599" y="51"/>
                    <a:pt x="608" y="46"/>
                    <a:pt x="618" y="42"/>
                  </a:cubicBezTo>
                  <a:cubicBezTo>
                    <a:pt x="618" y="44"/>
                    <a:pt x="618" y="46"/>
                    <a:pt x="618" y="48"/>
                  </a:cubicBezTo>
                  <a:cubicBezTo>
                    <a:pt x="606" y="53"/>
                    <a:pt x="594" y="58"/>
                    <a:pt x="584" y="62"/>
                  </a:cubicBezTo>
                  <a:moveTo>
                    <a:pt x="698" y="0"/>
                  </a:moveTo>
                  <a:cubicBezTo>
                    <a:pt x="674" y="7"/>
                    <a:pt x="650" y="16"/>
                    <a:pt x="624" y="26"/>
                  </a:cubicBezTo>
                  <a:cubicBezTo>
                    <a:pt x="619" y="26"/>
                    <a:pt x="619" y="26"/>
                    <a:pt x="619" y="26"/>
                  </a:cubicBezTo>
                  <a:cubicBezTo>
                    <a:pt x="619" y="27"/>
                    <a:pt x="619" y="28"/>
                    <a:pt x="619" y="29"/>
                  </a:cubicBezTo>
                  <a:cubicBezTo>
                    <a:pt x="618" y="29"/>
                    <a:pt x="617" y="30"/>
                    <a:pt x="616" y="30"/>
                  </a:cubicBezTo>
                  <a:cubicBezTo>
                    <a:pt x="610" y="33"/>
                    <a:pt x="604" y="36"/>
                    <a:pt x="598" y="38"/>
                  </a:cubicBezTo>
                  <a:cubicBezTo>
                    <a:pt x="595" y="35"/>
                    <a:pt x="595" y="35"/>
                    <a:pt x="595" y="35"/>
                  </a:cubicBezTo>
                  <a:cubicBezTo>
                    <a:pt x="594" y="35"/>
                    <a:pt x="590" y="39"/>
                    <a:pt x="583" y="46"/>
                  </a:cubicBezTo>
                  <a:cubicBezTo>
                    <a:pt x="553" y="62"/>
                    <a:pt x="527" y="81"/>
                    <a:pt x="506" y="102"/>
                  </a:cubicBezTo>
                  <a:cubicBezTo>
                    <a:pt x="504" y="103"/>
                    <a:pt x="503" y="104"/>
                    <a:pt x="503" y="104"/>
                  </a:cubicBezTo>
                  <a:cubicBezTo>
                    <a:pt x="503" y="105"/>
                    <a:pt x="503" y="105"/>
                    <a:pt x="503" y="105"/>
                  </a:cubicBezTo>
                  <a:cubicBezTo>
                    <a:pt x="480" y="127"/>
                    <a:pt x="462" y="153"/>
                    <a:pt x="446" y="179"/>
                  </a:cubicBezTo>
                  <a:cubicBezTo>
                    <a:pt x="444" y="179"/>
                    <a:pt x="444" y="179"/>
                    <a:pt x="444" y="179"/>
                  </a:cubicBezTo>
                  <a:cubicBezTo>
                    <a:pt x="444" y="180"/>
                    <a:pt x="444" y="181"/>
                    <a:pt x="444" y="182"/>
                  </a:cubicBezTo>
                  <a:cubicBezTo>
                    <a:pt x="414" y="233"/>
                    <a:pt x="396" y="288"/>
                    <a:pt x="383" y="340"/>
                  </a:cubicBezTo>
                  <a:cubicBezTo>
                    <a:pt x="382" y="341"/>
                    <a:pt x="381" y="341"/>
                    <a:pt x="381" y="341"/>
                  </a:cubicBezTo>
                  <a:cubicBezTo>
                    <a:pt x="382" y="343"/>
                    <a:pt x="382" y="343"/>
                    <a:pt x="382" y="343"/>
                  </a:cubicBezTo>
                  <a:cubicBezTo>
                    <a:pt x="376" y="364"/>
                    <a:pt x="372" y="385"/>
                    <a:pt x="367" y="405"/>
                  </a:cubicBezTo>
                  <a:cubicBezTo>
                    <a:pt x="365" y="414"/>
                    <a:pt x="363" y="423"/>
                    <a:pt x="361" y="432"/>
                  </a:cubicBezTo>
                  <a:cubicBezTo>
                    <a:pt x="360" y="433"/>
                    <a:pt x="360" y="433"/>
                    <a:pt x="360" y="433"/>
                  </a:cubicBezTo>
                  <a:cubicBezTo>
                    <a:pt x="360" y="433"/>
                    <a:pt x="360" y="433"/>
                    <a:pt x="360" y="433"/>
                  </a:cubicBezTo>
                  <a:cubicBezTo>
                    <a:pt x="357" y="446"/>
                    <a:pt x="354" y="458"/>
                    <a:pt x="351" y="469"/>
                  </a:cubicBezTo>
                  <a:cubicBezTo>
                    <a:pt x="363" y="469"/>
                    <a:pt x="363" y="469"/>
                    <a:pt x="363" y="469"/>
                  </a:cubicBezTo>
                  <a:cubicBezTo>
                    <a:pt x="365" y="460"/>
                    <a:pt x="368" y="450"/>
                    <a:pt x="371" y="439"/>
                  </a:cubicBezTo>
                  <a:cubicBezTo>
                    <a:pt x="372" y="438"/>
                    <a:pt x="373" y="437"/>
                    <a:pt x="375" y="435"/>
                  </a:cubicBezTo>
                  <a:cubicBezTo>
                    <a:pt x="375" y="442"/>
                    <a:pt x="375" y="450"/>
                    <a:pt x="375" y="457"/>
                  </a:cubicBezTo>
                  <a:cubicBezTo>
                    <a:pt x="374" y="461"/>
                    <a:pt x="373" y="465"/>
                    <a:pt x="372" y="469"/>
                  </a:cubicBezTo>
                  <a:cubicBezTo>
                    <a:pt x="399" y="469"/>
                    <a:pt x="399" y="469"/>
                    <a:pt x="399" y="469"/>
                  </a:cubicBezTo>
                  <a:cubicBezTo>
                    <a:pt x="410" y="460"/>
                    <a:pt x="422" y="450"/>
                    <a:pt x="436" y="440"/>
                  </a:cubicBezTo>
                  <a:cubicBezTo>
                    <a:pt x="437" y="450"/>
                    <a:pt x="437" y="460"/>
                    <a:pt x="438" y="469"/>
                  </a:cubicBezTo>
                  <a:cubicBezTo>
                    <a:pt x="449" y="469"/>
                    <a:pt x="449" y="469"/>
                    <a:pt x="449" y="469"/>
                  </a:cubicBezTo>
                  <a:cubicBezTo>
                    <a:pt x="448" y="457"/>
                    <a:pt x="448" y="445"/>
                    <a:pt x="447" y="433"/>
                  </a:cubicBezTo>
                  <a:cubicBezTo>
                    <a:pt x="470" y="418"/>
                    <a:pt x="496" y="402"/>
                    <a:pt x="524" y="388"/>
                  </a:cubicBezTo>
                  <a:cubicBezTo>
                    <a:pt x="524" y="403"/>
                    <a:pt x="524" y="418"/>
                    <a:pt x="524" y="433"/>
                  </a:cubicBezTo>
                  <a:cubicBezTo>
                    <a:pt x="498" y="444"/>
                    <a:pt x="472" y="456"/>
                    <a:pt x="449" y="469"/>
                  </a:cubicBezTo>
                  <a:cubicBezTo>
                    <a:pt x="474" y="469"/>
                    <a:pt x="474" y="469"/>
                    <a:pt x="474" y="469"/>
                  </a:cubicBezTo>
                  <a:cubicBezTo>
                    <a:pt x="490" y="461"/>
                    <a:pt x="507" y="453"/>
                    <a:pt x="525" y="446"/>
                  </a:cubicBezTo>
                  <a:cubicBezTo>
                    <a:pt x="525" y="454"/>
                    <a:pt x="525" y="462"/>
                    <a:pt x="525" y="469"/>
                  </a:cubicBezTo>
                  <a:cubicBezTo>
                    <a:pt x="536" y="469"/>
                    <a:pt x="536" y="469"/>
                    <a:pt x="536" y="469"/>
                  </a:cubicBezTo>
                  <a:cubicBezTo>
                    <a:pt x="536" y="460"/>
                    <a:pt x="536" y="451"/>
                    <a:pt x="536" y="441"/>
                  </a:cubicBezTo>
                  <a:cubicBezTo>
                    <a:pt x="555" y="434"/>
                    <a:pt x="575" y="427"/>
                    <a:pt x="596" y="422"/>
                  </a:cubicBezTo>
                  <a:cubicBezTo>
                    <a:pt x="596" y="438"/>
                    <a:pt x="595" y="454"/>
                    <a:pt x="594" y="469"/>
                  </a:cubicBezTo>
                  <a:cubicBezTo>
                    <a:pt x="605" y="469"/>
                    <a:pt x="605" y="469"/>
                    <a:pt x="605" y="469"/>
                  </a:cubicBezTo>
                  <a:cubicBezTo>
                    <a:pt x="606" y="453"/>
                    <a:pt x="607" y="436"/>
                    <a:pt x="608" y="419"/>
                  </a:cubicBezTo>
                  <a:cubicBezTo>
                    <a:pt x="635" y="413"/>
                    <a:pt x="663" y="409"/>
                    <a:pt x="693" y="407"/>
                  </a:cubicBezTo>
                  <a:cubicBezTo>
                    <a:pt x="690" y="427"/>
                    <a:pt x="688" y="446"/>
                    <a:pt x="685" y="466"/>
                  </a:cubicBezTo>
                  <a:cubicBezTo>
                    <a:pt x="670" y="466"/>
                    <a:pt x="654" y="467"/>
                    <a:pt x="639" y="469"/>
                  </a:cubicBezTo>
                  <a:cubicBezTo>
                    <a:pt x="698" y="469"/>
                    <a:pt x="698" y="469"/>
                    <a:pt x="698" y="469"/>
                  </a:cubicBezTo>
                  <a:cubicBezTo>
                    <a:pt x="698" y="465"/>
                    <a:pt x="698" y="465"/>
                    <a:pt x="698" y="465"/>
                  </a:cubicBezTo>
                  <a:cubicBezTo>
                    <a:pt x="698" y="465"/>
                    <a:pt x="697" y="465"/>
                    <a:pt x="697" y="465"/>
                  </a:cubicBezTo>
                  <a:cubicBezTo>
                    <a:pt x="697" y="461"/>
                    <a:pt x="698" y="456"/>
                    <a:pt x="698" y="452"/>
                  </a:cubicBezTo>
                  <a:cubicBezTo>
                    <a:pt x="698" y="359"/>
                    <a:pt x="698" y="359"/>
                    <a:pt x="698" y="359"/>
                  </a:cubicBezTo>
                  <a:cubicBezTo>
                    <a:pt x="697" y="371"/>
                    <a:pt x="695" y="383"/>
                    <a:pt x="694" y="395"/>
                  </a:cubicBezTo>
                  <a:cubicBezTo>
                    <a:pt x="664" y="396"/>
                    <a:pt x="636" y="400"/>
                    <a:pt x="608" y="407"/>
                  </a:cubicBezTo>
                  <a:cubicBezTo>
                    <a:pt x="609" y="390"/>
                    <a:pt x="610" y="373"/>
                    <a:pt x="611" y="355"/>
                  </a:cubicBezTo>
                  <a:cubicBezTo>
                    <a:pt x="638" y="348"/>
                    <a:pt x="668" y="342"/>
                    <a:pt x="698" y="339"/>
                  </a:cubicBezTo>
                  <a:cubicBezTo>
                    <a:pt x="698" y="327"/>
                    <a:pt x="698" y="327"/>
                    <a:pt x="698" y="327"/>
                  </a:cubicBezTo>
                  <a:cubicBezTo>
                    <a:pt x="668" y="330"/>
                    <a:pt x="639" y="335"/>
                    <a:pt x="611" y="343"/>
                  </a:cubicBezTo>
                  <a:cubicBezTo>
                    <a:pt x="612" y="327"/>
                    <a:pt x="613" y="312"/>
                    <a:pt x="614" y="296"/>
                  </a:cubicBezTo>
                  <a:cubicBezTo>
                    <a:pt x="641" y="288"/>
                    <a:pt x="669" y="281"/>
                    <a:pt x="698" y="277"/>
                  </a:cubicBezTo>
                  <a:cubicBezTo>
                    <a:pt x="698" y="265"/>
                    <a:pt x="698" y="265"/>
                    <a:pt x="698" y="265"/>
                  </a:cubicBezTo>
                  <a:cubicBezTo>
                    <a:pt x="669" y="269"/>
                    <a:pt x="641" y="275"/>
                    <a:pt x="615" y="284"/>
                  </a:cubicBezTo>
                  <a:cubicBezTo>
                    <a:pt x="616" y="267"/>
                    <a:pt x="616" y="249"/>
                    <a:pt x="617" y="232"/>
                  </a:cubicBezTo>
                  <a:cubicBezTo>
                    <a:pt x="643" y="224"/>
                    <a:pt x="670" y="217"/>
                    <a:pt x="698" y="213"/>
                  </a:cubicBezTo>
                  <a:cubicBezTo>
                    <a:pt x="698" y="201"/>
                    <a:pt x="698" y="201"/>
                    <a:pt x="698" y="201"/>
                  </a:cubicBezTo>
                  <a:cubicBezTo>
                    <a:pt x="670" y="205"/>
                    <a:pt x="644" y="212"/>
                    <a:pt x="618" y="220"/>
                  </a:cubicBezTo>
                  <a:cubicBezTo>
                    <a:pt x="619" y="202"/>
                    <a:pt x="620" y="183"/>
                    <a:pt x="621" y="165"/>
                  </a:cubicBezTo>
                  <a:cubicBezTo>
                    <a:pt x="646" y="158"/>
                    <a:pt x="671" y="151"/>
                    <a:pt x="698" y="147"/>
                  </a:cubicBezTo>
                  <a:cubicBezTo>
                    <a:pt x="698" y="134"/>
                    <a:pt x="698" y="134"/>
                    <a:pt x="698" y="134"/>
                  </a:cubicBezTo>
                  <a:cubicBezTo>
                    <a:pt x="672" y="139"/>
                    <a:pt x="646" y="146"/>
                    <a:pt x="622" y="153"/>
                  </a:cubicBezTo>
                  <a:cubicBezTo>
                    <a:pt x="623" y="132"/>
                    <a:pt x="625" y="111"/>
                    <a:pt x="626" y="90"/>
                  </a:cubicBezTo>
                  <a:cubicBezTo>
                    <a:pt x="649" y="82"/>
                    <a:pt x="673" y="75"/>
                    <a:pt x="698" y="69"/>
                  </a:cubicBezTo>
                  <a:cubicBezTo>
                    <a:pt x="698" y="56"/>
                    <a:pt x="698" y="56"/>
                    <a:pt x="698" y="56"/>
                  </a:cubicBezTo>
                  <a:cubicBezTo>
                    <a:pt x="673" y="63"/>
                    <a:pt x="649" y="70"/>
                    <a:pt x="627" y="78"/>
                  </a:cubicBezTo>
                  <a:cubicBezTo>
                    <a:pt x="627" y="71"/>
                    <a:pt x="628" y="64"/>
                    <a:pt x="628" y="57"/>
                  </a:cubicBezTo>
                  <a:cubicBezTo>
                    <a:pt x="650" y="49"/>
                    <a:pt x="673" y="42"/>
                    <a:pt x="698" y="35"/>
                  </a:cubicBezTo>
                  <a:cubicBezTo>
                    <a:pt x="698" y="23"/>
                    <a:pt x="698" y="23"/>
                    <a:pt x="698" y="23"/>
                  </a:cubicBezTo>
                  <a:cubicBezTo>
                    <a:pt x="674" y="29"/>
                    <a:pt x="650" y="36"/>
                    <a:pt x="629" y="44"/>
                  </a:cubicBezTo>
                  <a:cubicBezTo>
                    <a:pt x="629" y="42"/>
                    <a:pt x="629" y="40"/>
                    <a:pt x="630" y="38"/>
                  </a:cubicBezTo>
                  <a:cubicBezTo>
                    <a:pt x="653" y="28"/>
                    <a:pt x="676" y="20"/>
                    <a:pt x="698" y="13"/>
                  </a:cubicBezTo>
                  <a:cubicBezTo>
                    <a:pt x="698" y="0"/>
                    <a:pt x="698" y="0"/>
                    <a:pt x="69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76" name="Freeform 682"/>
            <p:cNvSpPr>
              <a:spLocks noEditPoints="1"/>
            </p:cNvSpPr>
            <p:nvPr/>
          </p:nvSpPr>
          <p:spPr bwMode="auto">
            <a:xfrm>
              <a:off x="2943" y="1174"/>
              <a:ext cx="1293" cy="916"/>
            </a:xfrm>
            <a:custGeom>
              <a:avLst/>
              <a:gdLst>
                <a:gd name="T0" fmla="*/ 867 w 2097"/>
                <a:gd name="T1" fmla="*/ 1469 h 1485"/>
                <a:gd name="T2" fmla="*/ 903 w 2097"/>
                <a:gd name="T3" fmla="*/ 1375 h 1485"/>
                <a:gd name="T4" fmla="*/ 1352 w 2097"/>
                <a:gd name="T5" fmla="*/ 1395 h 1485"/>
                <a:gd name="T6" fmla="*/ 1161 w 2097"/>
                <a:gd name="T7" fmla="*/ 1363 h 1485"/>
                <a:gd name="T8" fmla="*/ 1365 w 2097"/>
                <a:gd name="T9" fmla="*/ 1269 h 1485"/>
                <a:gd name="T10" fmla="*/ 1043 w 2097"/>
                <a:gd name="T11" fmla="*/ 1283 h 1485"/>
                <a:gd name="T12" fmla="*/ 1278 w 2097"/>
                <a:gd name="T13" fmla="*/ 1206 h 1485"/>
                <a:gd name="T14" fmla="*/ 1188 w 2097"/>
                <a:gd name="T15" fmla="*/ 1185 h 1485"/>
                <a:gd name="T16" fmla="*/ 1121 w 2097"/>
                <a:gd name="T17" fmla="*/ 1175 h 1485"/>
                <a:gd name="T18" fmla="*/ 1087 w 2097"/>
                <a:gd name="T19" fmla="*/ 1108 h 1485"/>
                <a:gd name="T20" fmla="*/ 1083 w 2097"/>
                <a:gd name="T21" fmla="*/ 1096 h 1485"/>
                <a:gd name="T22" fmla="*/ 1173 w 2097"/>
                <a:gd name="T23" fmla="*/ 1091 h 1485"/>
                <a:gd name="T24" fmla="*/ 746 w 2097"/>
                <a:gd name="T25" fmla="*/ 1089 h 1485"/>
                <a:gd name="T26" fmla="*/ 1050 w 2097"/>
                <a:gd name="T27" fmla="*/ 1013 h 1485"/>
                <a:gd name="T28" fmla="*/ 843 w 2097"/>
                <a:gd name="T29" fmla="*/ 1041 h 1485"/>
                <a:gd name="T30" fmla="*/ 698 w 2097"/>
                <a:gd name="T31" fmla="*/ 1171 h 1485"/>
                <a:gd name="T32" fmla="*/ 796 w 2097"/>
                <a:gd name="T33" fmla="*/ 1326 h 1485"/>
                <a:gd name="T34" fmla="*/ 1004 w 2097"/>
                <a:gd name="T35" fmla="*/ 1448 h 1485"/>
                <a:gd name="T36" fmla="*/ 1375 w 2097"/>
                <a:gd name="T37" fmla="*/ 1331 h 1485"/>
                <a:gd name="T38" fmla="*/ 1397 w 2097"/>
                <a:gd name="T39" fmla="*/ 990 h 1485"/>
                <a:gd name="T40" fmla="*/ 345 w 2097"/>
                <a:gd name="T41" fmla="*/ 968 h 1485"/>
                <a:gd name="T42" fmla="*/ 142 w 2097"/>
                <a:gd name="T43" fmla="*/ 887 h 1485"/>
                <a:gd name="T44" fmla="*/ 680 w 2097"/>
                <a:gd name="T45" fmla="*/ 893 h 1485"/>
                <a:gd name="T46" fmla="*/ 47 w 2097"/>
                <a:gd name="T47" fmla="*/ 844 h 1485"/>
                <a:gd name="T48" fmla="*/ 536 w 2097"/>
                <a:gd name="T49" fmla="*/ 779 h 1485"/>
                <a:gd name="T50" fmla="*/ 422 w 2097"/>
                <a:gd name="T51" fmla="*/ 803 h 1485"/>
                <a:gd name="T52" fmla="*/ 321 w 2097"/>
                <a:gd name="T53" fmla="*/ 770 h 1485"/>
                <a:gd name="T54" fmla="*/ 461 w 2097"/>
                <a:gd name="T55" fmla="*/ 721 h 1485"/>
                <a:gd name="T56" fmla="*/ 298 w 2097"/>
                <a:gd name="T57" fmla="*/ 625 h 1485"/>
                <a:gd name="T58" fmla="*/ 588 w 2097"/>
                <a:gd name="T59" fmla="*/ 634 h 1485"/>
                <a:gd name="T60" fmla="*/ 313 w 2097"/>
                <a:gd name="T61" fmla="*/ 593 h 1485"/>
                <a:gd name="T62" fmla="*/ 537 w 2097"/>
                <a:gd name="T63" fmla="*/ 519 h 1485"/>
                <a:gd name="T64" fmla="*/ 190 w 2097"/>
                <a:gd name="T65" fmla="*/ 810 h 1485"/>
                <a:gd name="T66" fmla="*/ 109 w 2097"/>
                <a:gd name="T67" fmla="*/ 966 h 1485"/>
                <a:gd name="T68" fmla="*/ 382 w 2097"/>
                <a:gd name="T69" fmla="*/ 941 h 1485"/>
                <a:gd name="T70" fmla="*/ 696 w 2097"/>
                <a:gd name="T71" fmla="*/ 981 h 1485"/>
                <a:gd name="T72" fmla="*/ 688 w 2097"/>
                <a:gd name="T73" fmla="*/ 556 h 1485"/>
                <a:gd name="T74" fmla="*/ 1674 w 2097"/>
                <a:gd name="T75" fmla="*/ 909 h 1485"/>
                <a:gd name="T76" fmla="*/ 1668 w 2097"/>
                <a:gd name="T77" fmla="*/ 860 h 1485"/>
                <a:gd name="T78" fmla="*/ 1709 w 2097"/>
                <a:gd name="T79" fmla="*/ 848 h 1485"/>
                <a:gd name="T80" fmla="*/ 1713 w 2097"/>
                <a:gd name="T81" fmla="*/ 809 h 1485"/>
                <a:gd name="T82" fmla="*/ 1512 w 2097"/>
                <a:gd name="T83" fmla="*/ 792 h 1485"/>
                <a:gd name="T84" fmla="*/ 1671 w 2097"/>
                <a:gd name="T85" fmla="*/ 747 h 1485"/>
                <a:gd name="T86" fmla="*/ 1915 w 2097"/>
                <a:gd name="T87" fmla="*/ 811 h 1485"/>
                <a:gd name="T88" fmla="*/ 1641 w 2097"/>
                <a:gd name="T89" fmla="*/ 703 h 1485"/>
                <a:gd name="T90" fmla="*/ 1710 w 2097"/>
                <a:gd name="T91" fmla="*/ 686 h 1485"/>
                <a:gd name="T92" fmla="*/ 1834 w 2097"/>
                <a:gd name="T93" fmla="*/ 787 h 1485"/>
                <a:gd name="T94" fmla="*/ 1704 w 2097"/>
                <a:gd name="T95" fmla="*/ 648 h 1485"/>
                <a:gd name="T96" fmla="*/ 1944 w 2097"/>
                <a:gd name="T97" fmla="*/ 589 h 1485"/>
                <a:gd name="T98" fmla="*/ 1937 w 2097"/>
                <a:gd name="T99" fmla="*/ 494 h 1485"/>
                <a:gd name="T100" fmla="*/ 1411 w 2097"/>
                <a:gd name="T101" fmla="*/ 876 h 1485"/>
                <a:gd name="T102" fmla="*/ 1626 w 2097"/>
                <a:gd name="T103" fmla="*/ 990 h 1485"/>
                <a:gd name="T104" fmla="*/ 1869 w 2097"/>
                <a:gd name="T105" fmla="*/ 990 h 1485"/>
                <a:gd name="T106" fmla="*/ 2010 w 2097"/>
                <a:gd name="T107" fmla="*/ 556 h 1485"/>
                <a:gd name="T108" fmla="*/ 920 w 2097"/>
                <a:gd name="T109" fmla="*/ 402 h 1485"/>
                <a:gd name="T110" fmla="*/ 936 w 2097"/>
                <a:gd name="T111" fmla="*/ 333 h 1485"/>
                <a:gd name="T112" fmla="*/ 1020 w 2097"/>
                <a:gd name="T113" fmla="*/ 300 h 1485"/>
                <a:gd name="T114" fmla="*/ 1115 w 2097"/>
                <a:gd name="T115" fmla="*/ 183 h 1485"/>
                <a:gd name="T116" fmla="*/ 1106 w 2097"/>
                <a:gd name="T117" fmla="*/ 171 h 1485"/>
                <a:gd name="T118" fmla="*/ 987 w 2097"/>
                <a:gd name="T119" fmla="*/ 66 h 1485"/>
                <a:gd name="T120" fmla="*/ 698 w 2097"/>
                <a:gd name="T121" fmla="*/ 94 h 1485"/>
                <a:gd name="T122" fmla="*/ 913 w 2097"/>
                <a:gd name="T123" fmla="*/ 475 h 1485"/>
                <a:gd name="T124" fmla="*/ 1160 w 2097"/>
                <a:gd name="T125" fmla="*/ 494 h 1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7" h="1485">
                  <a:moveTo>
                    <a:pt x="2097" y="1463"/>
                  </a:moveTo>
                  <a:cubicBezTo>
                    <a:pt x="2094" y="1470"/>
                    <a:pt x="2091" y="1477"/>
                    <a:pt x="2088" y="1485"/>
                  </a:cubicBezTo>
                  <a:cubicBezTo>
                    <a:pt x="2097" y="1485"/>
                    <a:pt x="2097" y="1485"/>
                    <a:pt x="2097" y="1485"/>
                  </a:cubicBezTo>
                  <a:cubicBezTo>
                    <a:pt x="2097" y="1463"/>
                    <a:pt x="2097" y="1463"/>
                    <a:pt x="2097" y="1463"/>
                  </a:cubicBezTo>
                  <a:moveTo>
                    <a:pt x="704" y="990"/>
                  </a:moveTo>
                  <a:cubicBezTo>
                    <a:pt x="698" y="990"/>
                    <a:pt x="698" y="990"/>
                    <a:pt x="698" y="990"/>
                  </a:cubicBezTo>
                  <a:cubicBezTo>
                    <a:pt x="698" y="1001"/>
                    <a:pt x="698" y="1001"/>
                    <a:pt x="698" y="1001"/>
                  </a:cubicBezTo>
                  <a:cubicBezTo>
                    <a:pt x="700" y="997"/>
                    <a:pt x="702" y="994"/>
                    <a:pt x="704" y="990"/>
                  </a:cubicBezTo>
                  <a:moveTo>
                    <a:pt x="1016" y="1462"/>
                  </a:moveTo>
                  <a:cubicBezTo>
                    <a:pt x="1016" y="1461"/>
                    <a:pt x="1016" y="1459"/>
                    <a:pt x="1016" y="1458"/>
                  </a:cubicBezTo>
                  <a:cubicBezTo>
                    <a:pt x="1016" y="1454"/>
                    <a:pt x="1016" y="1450"/>
                    <a:pt x="1015" y="1445"/>
                  </a:cubicBezTo>
                  <a:cubicBezTo>
                    <a:pt x="1033" y="1441"/>
                    <a:pt x="1053" y="1436"/>
                    <a:pt x="1072" y="1431"/>
                  </a:cubicBezTo>
                  <a:cubicBezTo>
                    <a:pt x="1072" y="1432"/>
                    <a:pt x="1072" y="1432"/>
                    <a:pt x="1072" y="1433"/>
                  </a:cubicBezTo>
                  <a:cubicBezTo>
                    <a:pt x="1072" y="1437"/>
                    <a:pt x="1072" y="1442"/>
                    <a:pt x="1072" y="1446"/>
                  </a:cubicBezTo>
                  <a:cubicBezTo>
                    <a:pt x="1064" y="1448"/>
                    <a:pt x="1056" y="1450"/>
                    <a:pt x="1048" y="1452"/>
                  </a:cubicBezTo>
                  <a:cubicBezTo>
                    <a:pt x="1037" y="1455"/>
                    <a:pt x="1027" y="1459"/>
                    <a:pt x="1016" y="1462"/>
                  </a:cubicBezTo>
                  <a:moveTo>
                    <a:pt x="1083" y="1443"/>
                  </a:moveTo>
                  <a:cubicBezTo>
                    <a:pt x="1083" y="1440"/>
                    <a:pt x="1083" y="1436"/>
                    <a:pt x="1083" y="1433"/>
                  </a:cubicBezTo>
                  <a:cubicBezTo>
                    <a:pt x="1083" y="1432"/>
                    <a:pt x="1083" y="1430"/>
                    <a:pt x="1083" y="1429"/>
                  </a:cubicBezTo>
                  <a:cubicBezTo>
                    <a:pt x="1106" y="1423"/>
                    <a:pt x="1129" y="1417"/>
                    <a:pt x="1152" y="1411"/>
                  </a:cubicBezTo>
                  <a:cubicBezTo>
                    <a:pt x="1151" y="1417"/>
                    <a:pt x="1151" y="1422"/>
                    <a:pt x="1150" y="1426"/>
                  </a:cubicBezTo>
                  <a:cubicBezTo>
                    <a:pt x="1128" y="1431"/>
                    <a:pt x="1106" y="1437"/>
                    <a:pt x="1083" y="1443"/>
                  </a:cubicBezTo>
                  <a:moveTo>
                    <a:pt x="867" y="1469"/>
                  </a:moveTo>
                  <a:cubicBezTo>
                    <a:pt x="860" y="1449"/>
                    <a:pt x="852" y="1427"/>
                    <a:pt x="842" y="1405"/>
                  </a:cubicBezTo>
                  <a:cubicBezTo>
                    <a:pt x="852" y="1405"/>
                    <a:pt x="861" y="1405"/>
                    <a:pt x="870" y="1404"/>
                  </a:cubicBezTo>
                  <a:cubicBezTo>
                    <a:pt x="884" y="1404"/>
                    <a:pt x="898" y="1403"/>
                    <a:pt x="913" y="1403"/>
                  </a:cubicBezTo>
                  <a:cubicBezTo>
                    <a:pt x="919" y="1422"/>
                    <a:pt x="924" y="1439"/>
                    <a:pt x="928" y="1454"/>
                  </a:cubicBezTo>
                  <a:cubicBezTo>
                    <a:pt x="921" y="1455"/>
                    <a:pt x="915" y="1457"/>
                    <a:pt x="910" y="1458"/>
                  </a:cubicBezTo>
                  <a:cubicBezTo>
                    <a:pt x="895" y="1462"/>
                    <a:pt x="881" y="1465"/>
                    <a:pt x="867" y="1469"/>
                  </a:cubicBezTo>
                  <a:moveTo>
                    <a:pt x="939" y="1451"/>
                  </a:moveTo>
                  <a:cubicBezTo>
                    <a:pt x="935" y="1436"/>
                    <a:pt x="930" y="1420"/>
                    <a:pt x="925" y="1403"/>
                  </a:cubicBezTo>
                  <a:cubicBezTo>
                    <a:pt x="948" y="1402"/>
                    <a:pt x="971" y="1401"/>
                    <a:pt x="995" y="1399"/>
                  </a:cubicBezTo>
                  <a:cubicBezTo>
                    <a:pt x="999" y="1412"/>
                    <a:pt x="1001" y="1425"/>
                    <a:pt x="1003" y="1436"/>
                  </a:cubicBezTo>
                  <a:cubicBezTo>
                    <a:pt x="995" y="1438"/>
                    <a:pt x="987" y="1440"/>
                    <a:pt x="980" y="1441"/>
                  </a:cubicBezTo>
                  <a:cubicBezTo>
                    <a:pt x="965" y="1445"/>
                    <a:pt x="951" y="1448"/>
                    <a:pt x="939" y="1451"/>
                  </a:cubicBezTo>
                  <a:moveTo>
                    <a:pt x="1162" y="1424"/>
                  </a:moveTo>
                  <a:cubicBezTo>
                    <a:pt x="1162" y="1419"/>
                    <a:pt x="1163" y="1414"/>
                    <a:pt x="1163" y="1409"/>
                  </a:cubicBezTo>
                  <a:cubicBezTo>
                    <a:pt x="1181" y="1404"/>
                    <a:pt x="1198" y="1399"/>
                    <a:pt x="1216" y="1395"/>
                  </a:cubicBezTo>
                  <a:cubicBezTo>
                    <a:pt x="1215" y="1401"/>
                    <a:pt x="1213" y="1407"/>
                    <a:pt x="1212" y="1413"/>
                  </a:cubicBezTo>
                  <a:cubicBezTo>
                    <a:pt x="1195" y="1416"/>
                    <a:pt x="1179" y="1420"/>
                    <a:pt x="1162" y="1424"/>
                  </a:cubicBezTo>
                  <a:moveTo>
                    <a:pt x="1014" y="1433"/>
                  </a:moveTo>
                  <a:cubicBezTo>
                    <a:pt x="1012" y="1422"/>
                    <a:pt x="1010" y="1411"/>
                    <a:pt x="1006" y="1398"/>
                  </a:cubicBezTo>
                  <a:cubicBezTo>
                    <a:pt x="1027" y="1397"/>
                    <a:pt x="1048" y="1395"/>
                    <a:pt x="1069" y="1392"/>
                  </a:cubicBezTo>
                  <a:cubicBezTo>
                    <a:pt x="1070" y="1402"/>
                    <a:pt x="1071" y="1411"/>
                    <a:pt x="1072" y="1419"/>
                  </a:cubicBezTo>
                  <a:cubicBezTo>
                    <a:pt x="1052" y="1424"/>
                    <a:pt x="1032" y="1429"/>
                    <a:pt x="1014" y="1433"/>
                  </a:cubicBezTo>
                  <a:moveTo>
                    <a:pt x="750" y="1398"/>
                  </a:moveTo>
                  <a:cubicBezTo>
                    <a:pt x="748" y="1394"/>
                    <a:pt x="747" y="1391"/>
                    <a:pt x="745" y="1388"/>
                  </a:cubicBezTo>
                  <a:cubicBezTo>
                    <a:pt x="767" y="1387"/>
                    <a:pt x="793" y="1385"/>
                    <a:pt x="821" y="1383"/>
                  </a:cubicBezTo>
                  <a:cubicBezTo>
                    <a:pt x="822" y="1387"/>
                    <a:pt x="824" y="1390"/>
                    <a:pt x="825" y="1394"/>
                  </a:cubicBezTo>
                  <a:cubicBezTo>
                    <a:pt x="799" y="1395"/>
                    <a:pt x="773" y="1396"/>
                    <a:pt x="750" y="1398"/>
                  </a:cubicBezTo>
                  <a:moveTo>
                    <a:pt x="1083" y="1416"/>
                  </a:moveTo>
                  <a:cubicBezTo>
                    <a:pt x="1082" y="1408"/>
                    <a:pt x="1081" y="1400"/>
                    <a:pt x="1080" y="1391"/>
                  </a:cubicBezTo>
                  <a:cubicBezTo>
                    <a:pt x="1104" y="1387"/>
                    <a:pt x="1128" y="1383"/>
                    <a:pt x="1151" y="1378"/>
                  </a:cubicBezTo>
                  <a:cubicBezTo>
                    <a:pt x="1152" y="1385"/>
                    <a:pt x="1152" y="1392"/>
                    <a:pt x="1152" y="1399"/>
                  </a:cubicBezTo>
                  <a:cubicBezTo>
                    <a:pt x="1129" y="1405"/>
                    <a:pt x="1105" y="1411"/>
                    <a:pt x="1083" y="1416"/>
                  </a:cubicBezTo>
                  <a:moveTo>
                    <a:pt x="838" y="1393"/>
                  </a:moveTo>
                  <a:cubicBezTo>
                    <a:pt x="836" y="1390"/>
                    <a:pt x="834" y="1386"/>
                    <a:pt x="833" y="1382"/>
                  </a:cubicBezTo>
                  <a:cubicBezTo>
                    <a:pt x="855" y="1380"/>
                    <a:pt x="879" y="1378"/>
                    <a:pt x="903" y="1375"/>
                  </a:cubicBezTo>
                  <a:cubicBezTo>
                    <a:pt x="905" y="1380"/>
                    <a:pt x="907" y="1386"/>
                    <a:pt x="909" y="1391"/>
                  </a:cubicBezTo>
                  <a:cubicBezTo>
                    <a:pt x="896" y="1392"/>
                    <a:pt x="883" y="1392"/>
                    <a:pt x="870" y="1392"/>
                  </a:cubicBezTo>
                  <a:cubicBezTo>
                    <a:pt x="859" y="1393"/>
                    <a:pt x="848" y="1393"/>
                    <a:pt x="838" y="1393"/>
                  </a:cubicBezTo>
                  <a:moveTo>
                    <a:pt x="1224" y="1411"/>
                  </a:moveTo>
                  <a:cubicBezTo>
                    <a:pt x="1225" y="1405"/>
                    <a:pt x="1226" y="1398"/>
                    <a:pt x="1227" y="1391"/>
                  </a:cubicBezTo>
                  <a:cubicBezTo>
                    <a:pt x="1249" y="1385"/>
                    <a:pt x="1270" y="1379"/>
                    <a:pt x="1290" y="1373"/>
                  </a:cubicBezTo>
                  <a:cubicBezTo>
                    <a:pt x="1289" y="1383"/>
                    <a:pt x="1288" y="1393"/>
                    <a:pt x="1286" y="1402"/>
                  </a:cubicBezTo>
                  <a:cubicBezTo>
                    <a:pt x="1266" y="1404"/>
                    <a:pt x="1245" y="1408"/>
                    <a:pt x="1224" y="1411"/>
                  </a:cubicBezTo>
                  <a:moveTo>
                    <a:pt x="921" y="1391"/>
                  </a:moveTo>
                  <a:cubicBezTo>
                    <a:pt x="919" y="1385"/>
                    <a:pt x="917" y="1379"/>
                    <a:pt x="915" y="1374"/>
                  </a:cubicBezTo>
                  <a:cubicBezTo>
                    <a:pt x="924" y="1373"/>
                    <a:pt x="933" y="1372"/>
                    <a:pt x="942" y="1370"/>
                  </a:cubicBezTo>
                  <a:cubicBezTo>
                    <a:pt x="957" y="1368"/>
                    <a:pt x="971" y="1366"/>
                    <a:pt x="985" y="1364"/>
                  </a:cubicBezTo>
                  <a:cubicBezTo>
                    <a:pt x="988" y="1372"/>
                    <a:pt x="990" y="1380"/>
                    <a:pt x="992" y="1387"/>
                  </a:cubicBezTo>
                  <a:cubicBezTo>
                    <a:pt x="968" y="1389"/>
                    <a:pt x="944" y="1390"/>
                    <a:pt x="921" y="1391"/>
                  </a:cubicBezTo>
                  <a:moveTo>
                    <a:pt x="1163" y="1396"/>
                  </a:moveTo>
                  <a:cubicBezTo>
                    <a:pt x="1163" y="1389"/>
                    <a:pt x="1163" y="1383"/>
                    <a:pt x="1162" y="1375"/>
                  </a:cubicBezTo>
                  <a:cubicBezTo>
                    <a:pt x="1181" y="1371"/>
                    <a:pt x="1200" y="1365"/>
                    <a:pt x="1218" y="1359"/>
                  </a:cubicBezTo>
                  <a:cubicBezTo>
                    <a:pt x="1218" y="1360"/>
                    <a:pt x="1218" y="1361"/>
                    <a:pt x="1218" y="1362"/>
                  </a:cubicBezTo>
                  <a:cubicBezTo>
                    <a:pt x="1218" y="1369"/>
                    <a:pt x="1217" y="1376"/>
                    <a:pt x="1217" y="1382"/>
                  </a:cubicBezTo>
                  <a:cubicBezTo>
                    <a:pt x="1199" y="1387"/>
                    <a:pt x="1181" y="1391"/>
                    <a:pt x="1163" y="1396"/>
                  </a:cubicBezTo>
                  <a:moveTo>
                    <a:pt x="1003" y="1386"/>
                  </a:moveTo>
                  <a:cubicBezTo>
                    <a:pt x="1001" y="1378"/>
                    <a:pt x="999" y="1370"/>
                    <a:pt x="996" y="1362"/>
                  </a:cubicBezTo>
                  <a:cubicBezTo>
                    <a:pt x="1019" y="1359"/>
                    <a:pt x="1040" y="1355"/>
                    <a:pt x="1061" y="1350"/>
                  </a:cubicBezTo>
                  <a:cubicBezTo>
                    <a:pt x="1063" y="1360"/>
                    <a:pt x="1065" y="1370"/>
                    <a:pt x="1067" y="1380"/>
                  </a:cubicBezTo>
                  <a:cubicBezTo>
                    <a:pt x="1046" y="1383"/>
                    <a:pt x="1024" y="1385"/>
                    <a:pt x="1003" y="1386"/>
                  </a:cubicBezTo>
                  <a:moveTo>
                    <a:pt x="1298" y="1400"/>
                  </a:moveTo>
                  <a:cubicBezTo>
                    <a:pt x="1300" y="1391"/>
                    <a:pt x="1301" y="1380"/>
                    <a:pt x="1302" y="1370"/>
                  </a:cubicBezTo>
                  <a:cubicBezTo>
                    <a:pt x="1324" y="1363"/>
                    <a:pt x="1344" y="1356"/>
                    <a:pt x="1361" y="1349"/>
                  </a:cubicBezTo>
                  <a:cubicBezTo>
                    <a:pt x="1359" y="1365"/>
                    <a:pt x="1356" y="1381"/>
                    <a:pt x="1352" y="1395"/>
                  </a:cubicBezTo>
                  <a:cubicBezTo>
                    <a:pt x="1334" y="1396"/>
                    <a:pt x="1316" y="1398"/>
                    <a:pt x="1298" y="1400"/>
                  </a:cubicBezTo>
                  <a:moveTo>
                    <a:pt x="739" y="1376"/>
                  </a:moveTo>
                  <a:cubicBezTo>
                    <a:pt x="735" y="1365"/>
                    <a:pt x="730" y="1355"/>
                    <a:pt x="725" y="1345"/>
                  </a:cubicBezTo>
                  <a:cubicBezTo>
                    <a:pt x="747" y="1343"/>
                    <a:pt x="773" y="1341"/>
                    <a:pt x="801" y="1338"/>
                  </a:cubicBezTo>
                  <a:cubicBezTo>
                    <a:pt x="806" y="1349"/>
                    <a:pt x="811" y="1360"/>
                    <a:pt x="816" y="1371"/>
                  </a:cubicBezTo>
                  <a:cubicBezTo>
                    <a:pt x="788" y="1373"/>
                    <a:pt x="762" y="1375"/>
                    <a:pt x="739" y="1376"/>
                  </a:cubicBezTo>
                  <a:moveTo>
                    <a:pt x="1078" y="1379"/>
                  </a:moveTo>
                  <a:cubicBezTo>
                    <a:pt x="1076" y="1369"/>
                    <a:pt x="1074" y="1358"/>
                    <a:pt x="1072" y="1348"/>
                  </a:cubicBezTo>
                  <a:cubicBezTo>
                    <a:pt x="1097" y="1343"/>
                    <a:pt x="1121" y="1337"/>
                    <a:pt x="1143" y="1331"/>
                  </a:cubicBezTo>
                  <a:cubicBezTo>
                    <a:pt x="1146" y="1343"/>
                    <a:pt x="1148" y="1354"/>
                    <a:pt x="1150" y="1366"/>
                  </a:cubicBezTo>
                  <a:cubicBezTo>
                    <a:pt x="1126" y="1371"/>
                    <a:pt x="1102" y="1376"/>
                    <a:pt x="1078" y="1379"/>
                  </a:cubicBezTo>
                  <a:moveTo>
                    <a:pt x="828" y="1370"/>
                  </a:moveTo>
                  <a:cubicBezTo>
                    <a:pt x="823" y="1358"/>
                    <a:pt x="818" y="1347"/>
                    <a:pt x="813" y="1336"/>
                  </a:cubicBezTo>
                  <a:cubicBezTo>
                    <a:pt x="836" y="1333"/>
                    <a:pt x="860" y="1330"/>
                    <a:pt x="885" y="1326"/>
                  </a:cubicBezTo>
                  <a:cubicBezTo>
                    <a:pt x="890" y="1338"/>
                    <a:pt x="894" y="1351"/>
                    <a:pt x="899" y="1363"/>
                  </a:cubicBezTo>
                  <a:cubicBezTo>
                    <a:pt x="874" y="1366"/>
                    <a:pt x="850" y="1368"/>
                    <a:pt x="828" y="1370"/>
                  </a:cubicBezTo>
                  <a:moveTo>
                    <a:pt x="1228" y="1379"/>
                  </a:moveTo>
                  <a:cubicBezTo>
                    <a:pt x="1229" y="1373"/>
                    <a:pt x="1229" y="1368"/>
                    <a:pt x="1229" y="1363"/>
                  </a:cubicBezTo>
                  <a:cubicBezTo>
                    <a:pt x="1229" y="1360"/>
                    <a:pt x="1229" y="1358"/>
                    <a:pt x="1229" y="1355"/>
                  </a:cubicBezTo>
                  <a:cubicBezTo>
                    <a:pt x="1251" y="1347"/>
                    <a:pt x="1272" y="1337"/>
                    <a:pt x="1292" y="1325"/>
                  </a:cubicBezTo>
                  <a:cubicBezTo>
                    <a:pt x="1292" y="1330"/>
                    <a:pt x="1292" y="1335"/>
                    <a:pt x="1292" y="1339"/>
                  </a:cubicBezTo>
                  <a:cubicBezTo>
                    <a:pt x="1292" y="1346"/>
                    <a:pt x="1292" y="1353"/>
                    <a:pt x="1291" y="1360"/>
                  </a:cubicBezTo>
                  <a:cubicBezTo>
                    <a:pt x="1271" y="1366"/>
                    <a:pt x="1250" y="1373"/>
                    <a:pt x="1228" y="1379"/>
                  </a:cubicBezTo>
                  <a:moveTo>
                    <a:pt x="911" y="1362"/>
                  </a:moveTo>
                  <a:cubicBezTo>
                    <a:pt x="906" y="1349"/>
                    <a:pt x="901" y="1336"/>
                    <a:pt x="896" y="1325"/>
                  </a:cubicBezTo>
                  <a:cubicBezTo>
                    <a:pt x="920" y="1321"/>
                    <a:pt x="944" y="1317"/>
                    <a:pt x="968" y="1312"/>
                  </a:cubicBezTo>
                  <a:cubicBezTo>
                    <a:pt x="972" y="1325"/>
                    <a:pt x="977" y="1338"/>
                    <a:pt x="981" y="1352"/>
                  </a:cubicBezTo>
                  <a:cubicBezTo>
                    <a:pt x="957" y="1356"/>
                    <a:pt x="934" y="1359"/>
                    <a:pt x="911" y="1362"/>
                  </a:cubicBezTo>
                  <a:moveTo>
                    <a:pt x="1161" y="1363"/>
                  </a:moveTo>
                  <a:cubicBezTo>
                    <a:pt x="1159" y="1352"/>
                    <a:pt x="1157" y="1340"/>
                    <a:pt x="1154" y="1328"/>
                  </a:cubicBezTo>
                  <a:cubicBezTo>
                    <a:pt x="1175" y="1321"/>
                    <a:pt x="1195" y="1315"/>
                    <a:pt x="1214" y="1308"/>
                  </a:cubicBezTo>
                  <a:cubicBezTo>
                    <a:pt x="1215" y="1321"/>
                    <a:pt x="1217" y="1334"/>
                    <a:pt x="1217" y="1347"/>
                  </a:cubicBezTo>
                  <a:cubicBezTo>
                    <a:pt x="1199" y="1353"/>
                    <a:pt x="1180" y="1359"/>
                    <a:pt x="1161" y="1363"/>
                  </a:cubicBezTo>
                  <a:moveTo>
                    <a:pt x="993" y="1350"/>
                  </a:moveTo>
                  <a:cubicBezTo>
                    <a:pt x="988" y="1336"/>
                    <a:pt x="983" y="1322"/>
                    <a:pt x="979" y="1310"/>
                  </a:cubicBezTo>
                  <a:cubicBezTo>
                    <a:pt x="1001" y="1305"/>
                    <a:pt x="1024" y="1300"/>
                    <a:pt x="1046" y="1295"/>
                  </a:cubicBezTo>
                  <a:cubicBezTo>
                    <a:pt x="1050" y="1308"/>
                    <a:pt x="1054" y="1323"/>
                    <a:pt x="1058" y="1339"/>
                  </a:cubicBezTo>
                  <a:cubicBezTo>
                    <a:pt x="1036" y="1343"/>
                    <a:pt x="1014" y="1347"/>
                    <a:pt x="993" y="1350"/>
                  </a:cubicBezTo>
                  <a:moveTo>
                    <a:pt x="808" y="1325"/>
                  </a:moveTo>
                  <a:cubicBezTo>
                    <a:pt x="804" y="1316"/>
                    <a:pt x="801" y="1309"/>
                    <a:pt x="798" y="1303"/>
                  </a:cubicBezTo>
                  <a:cubicBezTo>
                    <a:pt x="820" y="1299"/>
                    <a:pt x="844" y="1293"/>
                    <a:pt x="868" y="1287"/>
                  </a:cubicBezTo>
                  <a:cubicBezTo>
                    <a:pt x="871" y="1296"/>
                    <a:pt x="874" y="1305"/>
                    <a:pt x="876" y="1316"/>
                  </a:cubicBezTo>
                  <a:cubicBezTo>
                    <a:pt x="853" y="1319"/>
                    <a:pt x="830" y="1322"/>
                    <a:pt x="808" y="1325"/>
                  </a:cubicBezTo>
                  <a:moveTo>
                    <a:pt x="1228" y="1342"/>
                  </a:moveTo>
                  <a:cubicBezTo>
                    <a:pt x="1228" y="1330"/>
                    <a:pt x="1226" y="1317"/>
                    <a:pt x="1225" y="1304"/>
                  </a:cubicBezTo>
                  <a:cubicBezTo>
                    <a:pt x="1248" y="1295"/>
                    <a:pt x="1269" y="1285"/>
                    <a:pt x="1288" y="1274"/>
                  </a:cubicBezTo>
                  <a:cubicBezTo>
                    <a:pt x="1289" y="1287"/>
                    <a:pt x="1290" y="1299"/>
                    <a:pt x="1291" y="1312"/>
                  </a:cubicBezTo>
                  <a:cubicBezTo>
                    <a:pt x="1271" y="1324"/>
                    <a:pt x="1250" y="1334"/>
                    <a:pt x="1228" y="1342"/>
                  </a:cubicBezTo>
                  <a:moveTo>
                    <a:pt x="1069" y="1336"/>
                  </a:moveTo>
                  <a:cubicBezTo>
                    <a:pt x="1065" y="1321"/>
                    <a:pt x="1061" y="1306"/>
                    <a:pt x="1057" y="1292"/>
                  </a:cubicBezTo>
                  <a:cubicBezTo>
                    <a:pt x="1081" y="1286"/>
                    <a:pt x="1105" y="1279"/>
                    <a:pt x="1128" y="1271"/>
                  </a:cubicBezTo>
                  <a:cubicBezTo>
                    <a:pt x="1133" y="1286"/>
                    <a:pt x="1137" y="1302"/>
                    <a:pt x="1141" y="1319"/>
                  </a:cubicBezTo>
                  <a:cubicBezTo>
                    <a:pt x="1117" y="1325"/>
                    <a:pt x="1093" y="1331"/>
                    <a:pt x="1069" y="1336"/>
                  </a:cubicBezTo>
                  <a:moveTo>
                    <a:pt x="1303" y="1357"/>
                  </a:moveTo>
                  <a:cubicBezTo>
                    <a:pt x="1303" y="1351"/>
                    <a:pt x="1303" y="1344"/>
                    <a:pt x="1303" y="1338"/>
                  </a:cubicBezTo>
                  <a:cubicBezTo>
                    <a:pt x="1303" y="1331"/>
                    <a:pt x="1303" y="1325"/>
                    <a:pt x="1303" y="1319"/>
                  </a:cubicBezTo>
                  <a:cubicBezTo>
                    <a:pt x="1325" y="1305"/>
                    <a:pt x="1346" y="1288"/>
                    <a:pt x="1364" y="1269"/>
                  </a:cubicBezTo>
                  <a:cubicBezTo>
                    <a:pt x="1365" y="1269"/>
                    <a:pt x="1365" y="1269"/>
                    <a:pt x="1365" y="1269"/>
                  </a:cubicBezTo>
                  <a:cubicBezTo>
                    <a:pt x="1365" y="1276"/>
                    <a:pt x="1365" y="1284"/>
                    <a:pt x="1365" y="1291"/>
                  </a:cubicBezTo>
                  <a:cubicBezTo>
                    <a:pt x="1365" y="1306"/>
                    <a:pt x="1364" y="1321"/>
                    <a:pt x="1363" y="1336"/>
                  </a:cubicBezTo>
                  <a:cubicBezTo>
                    <a:pt x="1346" y="1343"/>
                    <a:pt x="1325" y="1350"/>
                    <a:pt x="1303" y="1357"/>
                  </a:cubicBezTo>
                  <a:moveTo>
                    <a:pt x="778" y="1290"/>
                  </a:moveTo>
                  <a:cubicBezTo>
                    <a:pt x="804" y="1283"/>
                    <a:pt x="832" y="1275"/>
                    <a:pt x="861" y="1266"/>
                  </a:cubicBezTo>
                  <a:cubicBezTo>
                    <a:pt x="861" y="1267"/>
                    <a:pt x="862" y="1268"/>
                    <a:pt x="862" y="1270"/>
                  </a:cubicBezTo>
                  <a:cubicBezTo>
                    <a:pt x="833" y="1278"/>
                    <a:pt x="804" y="1285"/>
                    <a:pt x="778" y="1290"/>
                  </a:cubicBezTo>
                  <a:moveTo>
                    <a:pt x="892" y="1313"/>
                  </a:moveTo>
                  <a:cubicBezTo>
                    <a:pt x="887" y="1301"/>
                    <a:pt x="883" y="1292"/>
                    <a:pt x="880" y="1284"/>
                  </a:cubicBezTo>
                  <a:cubicBezTo>
                    <a:pt x="903" y="1279"/>
                    <a:pt x="926" y="1272"/>
                    <a:pt x="950" y="1265"/>
                  </a:cubicBezTo>
                  <a:cubicBezTo>
                    <a:pt x="952" y="1271"/>
                    <a:pt x="955" y="1277"/>
                    <a:pt x="958" y="1284"/>
                  </a:cubicBezTo>
                  <a:cubicBezTo>
                    <a:pt x="958" y="1286"/>
                    <a:pt x="958" y="1287"/>
                    <a:pt x="959" y="1288"/>
                  </a:cubicBezTo>
                  <a:cubicBezTo>
                    <a:pt x="959" y="1288"/>
                    <a:pt x="959" y="1288"/>
                    <a:pt x="959" y="1288"/>
                  </a:cubicBezTo>
                  <a:cubicBezTo>
                    <a:pt x="961" y="1292"/>
                    <a:pt x="962" y="1296"/>
                    <a:pt x="964" y="1301"/>
                  </a:cubicBezTo>
                  <a:cubicBezTo>
                    <a:pt x="939" y="1305"/>
                    <a:pt x="915" y="1310"/>
                    <a:pt x="892" y="1313"/>
                  </a:cubicBezTo>
                  <a:moveTo>
                    <a:pt x="731" y="1289"/>
                  </a:moveTo>
                  <a:cubicBezTo>
                    <a:pt x="767" y="1279"/>
                    <a:pt x="809" y="1266"/>
                    <a:pt x="854" y="1247"/>
                  </a:cubicBezTo>
                  <a:cubicBezTo>
                    <a:pt x="855" y="1249"/>
                    <a:pt x="856" y="1252"/>
                    <a:pt x="857" y="1255"/>
                  </a:cubicBezTo>
                  <a:cubicBezTo>
                    <a:pt x="810" y="1270"/>
                    <a:pt x="767" y="1281"/>
                    <a:pt x="731" y="1289"/>
                  </a:cubicBezTo>
                  <a:moveTo>
                    <a:pt x="1152" y="1315"/>
                  </a:moveTo>
                  <a:cubicBezTo>
                    <a:pt x="1148" y="1299"/>
                    <a:pt x="1143" y="1282"/>
                    <a:pt x="1139" y="1268"/>
                  </a:cubicBezTo>
                  <a:cubicBezTo>
                    <a:pt x="1161" y="1260"/>
                    <a:pt x="1182" y="1252"/>
                    <a:pt x="1203" y="1244"/>
                  </a:cubicBezTo>
                  <a:cubicBezTo>
                    <a:pt x="1206" y="1259"/>
                    <a:pt x="1209" y="1277"/>
                    <a:pt x="1212" y="1295"/>
                  </a:cubicBezTo>
                  <a:cubicBezTo>
                    <a:pt x="1193" y="1303"/>
                    <a:pt x="1172" y="1309"/>
                    <a:pt x="1152" y="1315"/>
                  </a:cubicBezTo>
                  <a:moveTo>
                    <a:pt x="975" y="1298"/>
                  </a:moveTo>
                  <a:cubicBezTo>
                    <a:pt x="972" y="1292"/>
                    <a:pt x="970" y="1286"/>
                    <a:pt x="968" y="1280"/>
                  </a:cubicBezTo>
                  <a:cubicBezTo>
                    <a:pt x="966" y="1274"/>
                    <a:pt x="965" y="1267"/>
                    <a:pt x="963" y="1261"/>
                  </a:cubicBezTo>
                  <a:cubicBezTo>
                    <a:pt x="984" y="1254"/>
                    <a:pt x="1006" y="1247"/>
                    <a:pt x="1029" y="1238"/>
                  </a:cubicBezTo>
                  <a:cubicBezTo>
                    <a:pt x="1032" y="1247"/>
                    <a:pt x="1037" y="1263"/>
                    <a:pt x="1043" y="1283"/>
                  </a:cubicBezTo>
                  <a:cubicBezTo>
                    <a:pt x="1020" y="1289"/>
                    <a:pt x="997" y="1294"/>
                    <a:pt x="975" y="1298"/>
                  </a:cubicBezTo>
                  <a:moveTo>
                    <a:pt x="873" y="1267"/>
                  </a:moveTo>
                  <a:cubicBezTo>
                    <a:pt x="873" y="1265"/>
                    <a:pt x="872" y="1263"/>
                    <a:pt x="872" y="1262"/>
                  </a:cubicBezTo>
                  <a:cubicBezTo>
                    <a:pt x="895" y="1254"/>
                    <a:pt x="918" y="1245"/>
                    <a:pt x="943" y="1234"/>
                  </a:cubicBezTo>
                  <a:cubicBezTo>
                    <a:pt x="944" y="1237"/>
                    <a:pt x="945" y="1240"/>
                    <a:pt x="946" y="1243"/>
                  </a:cubicBezTo>
                  <a:cubicBezTo>
                    <a:pt x="921" y="1252"/>
                    <a:pt x="897" y="1260"/>
                    <a:pt x="873" y="1267"/>
                  </a:cubicBezTo>
                  <a:moveTo>
                    <a:pt x="1302" y="1305"/>
                  </a:moveTo>
                  <a:cubicBezTo>
                    <a:pt x="1301" y="1293"/>
                    <a:pt x="1300" y="1280"/>
                    <a:pt x="1299" y="1268"/>
                  </a:cubicBezTo>
                  <a:cubicBezTo>
                    <a:pt x="1323" y="1254"/>
                    <a:pt x="1344" y="1239"/>
                    <a:pt x="1361" y="1222"/>
                  </a:cubicBezTo>
                  <a:cubicBezTo>
                    <a:pt x="1362" y="1232"/>
                    <a:pt x="1363" y="1243"/>
                    <a:pt x="1364" y="1254"/>
                  </a:cubicBezTo>
                  <a:cubicBezTo>
                    <a:pt x="1361" y="1256"/>
                    <a:pt x="1359" y="1258"/>
                    <a:pt x="1356" y="1261"/>
                  </a:cubicBezTo>
                  <a:cubicBezTo>
                    <a:pt x="1340" y="1278"/>
                    <a:pt x="1322" y="1292"/>
                    <a:pt x="1302" y="1305"/>
                  </a:cubicBezTo>
                  <a:moveTo>
                    <a:pt x="980" y="1243"/>
                  </a:moveTo>
                  <a:cubicBezTo>
                    <a:pt x="997" y="1236"/>
                    <a:pt x="1013" y="1229"/>
                    <a:pt x="1030" y="1222"/>
                  </a:cubicBezTo>
                  <a:cubicBezTo>
                    <a:pt x="1030" y="1223"/>
                    <a:pt x="1031" y="1224"/>
                    <a:pt x="1031" y="1225"/>
                  </a:cubicBezTo>
                  <a:cubicBezTo>
                    <a:pt x="1014" y="1231"/>
                    <a:pt x="997" y="1237"/>
                    <a:pt x="980" y="1243"/>
                  </a:cubicBezTo>
                  <a:moveTo>
                    <a:pt x="741" y="1257"/>
                  </a:moveTo>
                  <a:cubicBezTo>
                    <a:pt x="769" y="1244"/>
                    <a:pt x="801" y="1229"/>
                    <a:pt x="834" y="1210"/>
                  </a:cubicBezTo>
                  <a:cubicBezTo>
                    <a:pt x="834" y="1210"/>
                    <a:pt x="834" y="1210"/>
                    <a:pt x="834" y="1210"/>
                  </a:cubicBezTo>
                  <a:cubicBezTo>
                    <a:pt x="834" y="1210"/>
                    <a:pt x="835" y="1212"/>
                    <a:pt x="838" y="1216"/>
                  </a:cubicBezTo>
                  <a:cubicBezTo>
                    <a:pt x="803" y="1233"/>
                    <a:pt x="770" y="1246"/>
                    <a:pt x="741" y="1257"/>
                  </a:cubicBezTo>
                  <a:moveTo>
                    <a:pt x="867" y="1251"/>
                  </a:moveTo>
                  <a:cubicBezTo>
                    <a:pt x="866" y="1248"/>
                    <a:pt x="865" y="1245"/>
                    <a:pt x="864" y="1243"/>
                  </a:cubicBezTo>
                  <a:cubicBezTo>
                    <a:pt x="887" y="1233"/>
                    <a:pt x="910" y="1222"/>
                    <a:pt x="934" y="1210"/>
                  </a:cubicBezTo>
                  <a:cubicBezTo>
                    <a:pt x="936" y="1214"/>
                    <a:pt x="937" y="1218"/>
                    <a:pt x="939" y="1223"/>
                  </a:cubicBezTo>
                  <a:cubicBezTo>
                    <a:pt x="914" y="1234"/>
                    <a:pt x="891" y="1243"/>
                    <a:pt x="867" y="1251"/>
                  </a:cubicBezTo>
                  <a:moveTo>
                    <a:pt x="1223" y="1291"/>
                  </a:moveTo>
                  <a:cubicBezTo>
                    <a:pt x="1220" y="1273"/>
                    <a:pt x="1217" y="1255"/>
                    <a:pt x="1213" y="1239"/>
                  </a:cubicBezTo>
                  <a:cubicBezTo>
                    <a:pt x="1236" y="1229"/>
                    <a:pt x="1258" y="1218"/>
                    <a:pt x="1278" y="1206"/>
                  </a:cubicBezTo>
                  <a:cubicBezTo>
                    <a:pt x="1281" y="1222"/>
                    <a:pt x="1284" y="1241"/>
                    <a:pt x="1286" y="1262"/>
                  </a:cubicBezTo>
                  <a:cubicBezTo>
                    <a:pt x="1267" y="1272"/>
                    <a:pt x="1245" y="1282"/>
                    <a:pt x="1223" y="1291"/>
                  </a:cubicBezTo>
                  <a:moveTo>
                    <a:pt x="715" y="1207"/>
                  </a:moveTo>
                  <a:cubicBezTo>
                    <a:pt x="718" y="1205"/>
                    <a:pt x="720" y="1204"/>
                    <a:pt x="723" y="1202"/>
                  </a:cubicBezTo>
                  <a:cubicBezTo>
                    <a:pt x="724" y="1202"/>
                    <a:pt x="725" y="1202"/>
                    <a:pt x="726" y="1202"/>
                  </a:cubicBezTo>
                  <a:cubicBezTo>
                    <a:pt x="722" y="1204"/>
                    <a:pt x="718" y="1205"/>
                    <a:pt x="715" y="1207"/>
                  </a:cubicBezTo>
                  <a:moveTo>
                    <a:pt x="956" y="1239"/>
                  </a:moveTo>
                  <a:cubicBezTo>
                    <a:pt x="955" y="1236"/>
                    <a:pt x="954" y="1233"/>
                    <a:pt x="953" y="1229"/>
                  </a:cubicBezTo>
                  <a:cubicBezTo>
                    <a:pt x="976" y="1219"/>
                    <a:pt x="999" y="1208"/>
                    <a:pt x="1022" y="1195"/>
                  </a:cubicBezTo>
                  <a:cubicBezTo>
                    <a:pt x="1023" y="1200"/>
                    <a:pt x="1025" y="1205"/>
                    <a:pt x="1027" y="1210"/>
                  </a:cubicBezTo>
                  <a:cubicBezTo>
                    <a:pt x="1003" y="1221"/>
                    <a:pt x="979" y="1231"/>
                    <a:pt x="956" y="1239"/>
                  </a:cubicBezTo>
                  <a:moveTo>
                    <a:pt x="1042" y="1221"/>
                  </a:moveTo>
                  <a:cubicBezTo>
                    <a:pt x="1041" y="1220"/>
                    <a:pt x="1041" y="1218"/>
                    <a:pt x="1040" y="1217"/>
                  </a:cubicBezTo>
                  <a:cubicBezTo>
                    <a:pt x="1064" y="1206"/>
                    <a:pt x="1087" y="1194"/>
                    <a:pt x="1111" y="1181"/>
                  </a:cubicBezTo>
                  <a:cubicBezTo>
                    <a:pt x="1112" y="1185"/>
                    <a:pt x="1113" y="1188"/>
                    <a:pt x="1114" y="1192"/>
                  </a:cubicBezTo>
                  <a:cubicBezTo>
                    <a:pt x="1089" y="1203"/>
                    <a:pt x="1065" y="1212"/>
                    <a:pt x="1042" y="1221"/>
                  </a:cubicBezTo>
                  <a:moveTo>
                    <a:pt x="859" y="1232"/>
                  </a:moveTo>
                  <a:cubicBezTo>
                    <a:pt x="857" y="1227"/>
                    <a:pt x="855" y="1223"/>
                    <a:pt x="853" y="1220"/>
                  </a:cubicBezTo>
                  <a:cubicBezTo>
                    <a:pt x="876" y="1208"/>
                    <a:pt x="899" y="1195"/>
                    <a:pt x="923" y="1181"/>
                  </a:cubicBezTo>
                  <a:cubicBezTo>
                    <a:pt x="925" y="1186"/>
                    <a:pt x="927" y="1192"/>
                    <a:pt x="930" y="1199"/>
                  </a:cubicBezTo>
                  <a:cubicBezTo>
                    <a:pt x="906" y="1211"/>
                    <a:pt x="882" y="1222"/>
                    <a:pt x="859" y="1232"/>
                  </a:cubicBezTo>
                  <a:moveTo>
                    <a:pt x="1054" y="1280"/>
                  </a:moveTo>
                  <a:cubicBezTo>
                    <a:pt x="1051" y="1270"/>
                    <a:pt x="1048" y="1261"/>
                    <a:pt x="1046" y="1254"/>
                  </a:cubicBezTo>
                  <a:cubicBezTo>
                    <a:pt x="1050" y="1252"/>
                    <a:pt x="1050" y="1252"/>
                    <a:pt x="1050" y="1252"/>
                  </a:cubicBezTo>
                  <a:cubicBezTo>
                    <a:pt x="1049" y="1246"/>
                    <a:pt x="1047" y="1239"/>
                    <a:pt x="1045" y="1233"/>
                  </a:cubicBezTo>
                  <a:cubicBezTo>
                    <a:pt x="1090" y="1216"/>
                    <a:pt x="1137" y="1196"/>
                    <a:pt x="1184" y="1172"/>
                  </a:cubicBezTo>
                  <a:cubicBezTo>
                    <a:pt x="1186" y="1176"/>
                    <a:pt x="1187" y="1181"/>
                    <a:pt x="1188" y="1185"/>
                  </a:cubicBezTo>
                  <a:cubicBezTo>
                    <a:pt x="1193" y="1183"/>
                    <a:pt x="1193" y="1183"/>
                    <a:pt x="1193" y="1183"/>
                  </a:cubicBezTo>
                  <a:cubicBezTo>
                    <a:pt x="1188" y="1185"/>
                    <a:pt x="1188" y="1185"/>
                    <a:pt x="1188" y="1185"/>
                  </a:cubicBezTo>
                  <a:cubicBezTo>
                    <a:pt x="1188" y="1185"/>
                    <a:pt x="1194" y="1204"/>
                    <a:pt x="1200" y="1232"/>
                  </a:cubicBezTo>
                  <a:cubicBezTo>
                    <a:pt x="1179" y="1241"/>
                    <a:pt x="1158" y="1249"/>
                    <a:pt x="1136" y="1256"/>
                  </a:cubicBezTo>
                  <a:cubicBezTo>
                    <a:pt x="1127" y="1227"/>
                    <a:pt x="1119" y="1206"/>
                    <a:pt x="1118" y="1204"/>
                  </a:cubicBezTo>
                  <a:cubicBezTo>
                    <a:pt x="1107" y="1208"/>
                    <a:pt x="1107" y="1208"/>
                    <a:pt x="1107" y="1208"/>
                  </a:cubicBezTo>
                  <a:cubicBezTo>
                    <a:pt x="1108" y="1209"/>
                    <a:pt x="1116" y="1230"/>
                    <a:pt x="1125" y="1260"/>
                  </a:cubicBezTo>
                  <a:cubicBezTo>
                    <a:pt x="1102" y="1267"/>
                    <a:pt x="1078" y="1274"/>
                    <a:pt x="1054" y="1280"/>
                  </a:cubicBezTo>
                  <a:moveTo>
                    <a:pt x="949" y="1218"/>
                  </a:moveTo>
                  <a:cubicBezTo>
                    <a:pt x="947" y="1214"/>
                    <a:pt x="946" y="1209"/>
                    <a:pt x="944" y="1204"/>
                  </a:cubicBezTo>
                  <a:cubicBezTo>
                    <a:pt x="966" y="1192"/>
                    <a:pt x="989" y="1179"/>
                    <a:pt x="1011" y="1164"/>
                  </a:cubicBezTo>
                  <a:cubicBezTo>
                    <a:pt x="1014" y="1171"/>
                    <a:pt x="1016" y="1177"/>
                    <a:pt x="1018" y="1184"/>
                  </a:cubicBezTo>
                  <a:cubicBezTo>
                    <a:pt x="995" y="1197"/>
                    <a:pt x="972" y="1208"/>
                    <a:pt x="949" y="1218"/>
                  </a:cubicBezTo>
                  <a:moveTo>
                    <a:pt x="848" y="1211"/>
                  </a:moveTo>
                  <a:cubicBezTo>
                    <a:pt x="846" y="1208"/>
                    <a:pt x="844" y="1206"/>
                    <a:pt x="843" y="1204"/>
                  </a:cubicBezTo>
                  <a:cubicBezTo>
                    <a:pt x="866" y="1191"/>
                    <a:pt x="890" y="1175"/>
                    <a:pt x="913" y="1158"/>
                  </a:cubicBezTo>
                  <a:cubicBezTo>
                    <a:pt x="915" y="1162"/>
                    <a:pt x="917" y="1167"/>
                    <a:pt x="919" y="1172"/>
                  </a:cubicBezTo>
                  <a:cubicBezTo>
                    <a:pt x="895" y="1186"/>
                    <a:pt x="871" y="1199"/>
                    <a:pt x="848" y="1211"/>
                  </a:cubicBezTo>
                  <a:moveTo>
                    <a:pt x="1297" y="1255"/>
                  </a:moveTo>
                  <a:cubicBezTo>
                    <a:pt x="1294" y="1235"/>
                    <a:pt x="1291" y="1215"/>
                    <a:pt x="1288" y="1200"/>
                  </a:cubicBezTo>
                  <a:cubicBezTo>
                    <a:pt x="1312" y="1185"/>
                    <a:pt x="1333" y="1168"/>
                    <a:pt x="1351" y="1150"/>
                  </a:cubicBezTo>
                  <a:cubicBezTo>
                    <a:pt x="1353" y="1162"/>
                    <a:pt x="1357" y="1183"/>
                    <a:pt x="1360" y="1208"/>
                  </a:cubicBezTo>
                  <a:cubicBezTo>
                    <a:pt x="1358" y="1209"/>
                    <a:pt x="1357" y="1210"/>
                    <a:pt x="1356" y="1211"/>
                  </a:cubicBezTo>
                  <a:cubicBezTo>
                    <a:pt x="1339" y="1228"/>
                    <a:pt x="1319" y="1242"/>
                    <a:pt x="1297" y="1255"/>
                  </a:cubicBezTo>
                  <a:moveTo>
                    <a:pt x="1037" y="1205"/>
                  </a:moveTo>
                  <a:cubicBezTo>
                    <a:pt x="1035" y="1200"/>
                    <a:pt x="1034" y="1195"/>
                    <a:pt x="1032" y="1190"/>
                  </a:cubicBezTo>
                  <a:cubicBezTo>
                    <a:pt x="1055" y="1177"/>
                    <a:pt x="1078" y="1162"/>
                    <a:pt x="1100" y="1147"/>
                  </a:cubicBezTo>
                  <a:cubicBezTo>
                    <a:pt x="1103" y="1154"/>
                    <a:pt x="1105" y="1162"/>
                    <a:pt x="1107" y="1169"/>
                  </a:cubicBezTo>
                  <a:cubicBezTo>
                    <a:pt x="1084" y="1183"/>
                    <a:pt x="1060" y="1195"/>
                    <a:pt x="1037" y="1205"/>
                  </a:cubicBezTo>
                  <a:moveTo>
                    <a:pt x="1124" y="1187"/>
                  </a:moveTo>
                  <a:cubicBezTo>
                    <a:pt x="1123" y="1183"/>
                    <a:pt x="1122" y="1179"/>
                    <a:pt x="1121" y="1175"/>
                  </a:cubicBezTo>
                  <a:cubicBezTo>
                    <a:pt x="1139" y="1165"/>
                    <a:pt x="1158" y="1153"/>
                    <a:pt x="1176" y="1141"/>
                  </a:cubicBezTo>
                  <a:cubicBezTo>
                    <a:pt x="1178" y="1148"/>
                    <a:pt x="1180" y="1154"/>
                    <a:pt x="1181" y="1161"/>
                  </a:cubicBezTo>
                  <a:cubicBezTo>
                    <a:pt x="1162" y="1170"/>
                    <a:pt x="1143" y="1179"/>
                    <a:pt x="1124" y="1187"/>
                  </a:cubicBezTo>
                  <a:moveTo>
                    <a:pt x="1211" y="1228"/>
                  </a:moveTo>
                  <a:cubicBezTo>
                    <a:pt x="1205" y="1202"/>
                    <a:pt x="1199" y="1184"/>
                    <a:pt x="1198" y="1181"/>
                  </a:cubicBezTo>
                  <a:cubicBezTo>
                    <a:pt x="1197" y="1177"/>
                    <a:pt x="1196" y="1172"/>
                    <a:pt x="1195" y="1167"/>
                  </a:cubicBezTo>
                  <a:cubicBezTo>
                    <a:pt x="1216" y="1156"/>
                    <a:pt x="1238" y="1145"/>
                    <a:pt x="1260" y="1132"/>
                  </a:cubicBezTo>
                  <a:cubicBezTo>
                    <a:pt x="1263" y="1142"/>
                    <a:pt x="1266" y="1152"/>
                    <a:pt x="1268" y="1161"/>
                  </a:cubicBezTo>
                  <a:cubicBezTo>
                    <a:pt x="1268" y="1161"/>
                    <a:pt x="1268" y="1161"/>
                    <a:pt x="1268" y="1161"/>
                  </a:cubicBezTo>
                  <a:cubicBezTo>
                    <a:pt x="1269" y="1162"/>
                    <a:pt x="1272" y="1175"/>
                    <a:pt x="1275" y="1194"/>
                  </a:cubicBezTo>
                  <a:cubicBezTo>
                    <a:pt x="1255" y="1206"/>
                    <a:pt x="1234" y="1217"/>
                    <a:pt x="1211" y="1228"/>
                  </a:cubicBezTo>
                  <a:moveTo>
                    <a:pt x="940" y="1193"/>
                  </a:moveTo>
                  <a:cubicBezTo>
                    <a:pt x="937" y="1187"/>
                    <a:pt x="935" y="1181"/>
                    <a:pt x="932" y="1175"/>
                  </a:cubicBezTo>
                  <a:cubicBezTo>
                    <a:pt x="954" y="1161"/>
                    <a:pt x="976" y="1146"/>
                    <a:pt x="998" y="1129"/>
                  </a:cubicBezTo>
                  <a:cubicBezTo>
                    <a:pt x="1001" y="1136"/>
                    <a:pt x="1004" y="1144"/>
                    <a:pt x="1007" y="1153"/>
                  </a:cubicBezTo>
                  <a:cubicBezTo>
                    <a:pt x="985" y="1168"/>
                    <a:pt x="962" y="1181"/>
                    <a:pt x="940" y="1193"/>
                  </a:cubicBezTo>
                  <a:moveTo>
                    <a:pt x="721" y="1190"/>
                  </a:moveTo>
                  <a:cubicBezTo>
                    <a:pt x="714" y="1189"/>
                    <a:pt x="706" y="1187"/>
                    <a:pt x="698" y="1186"/>
                  </a:cubicBezTo>
                  <a:cubicBezTo>
                    <a:pt x="716" y="1172"/>
                    <a:pt x="730" y="1156"/>
                    <a:pt x="739" y="1140"/>
                  </a:cubicBezTo>
                  <a:cubicBezTo>
                    <a:pt x="762" y="1132"/>
                    <a:pt x="787" y="1124"/>
                    <a:pt x="813" y="1113"/>
                  </a:cubicBezTo>
                  <a:cubicBezTo>
                    <a:pt x="793" y="1140"/>
                    <a:pt x="762" y="1167"/>
                    <a:pt x="721" y="1190"/>
                  </a:cubicBezTo>
                  <a:moveTo>
                    <a:pt x="1370" y="1198"/>
                  </a:moveTo>
                  <a:cubicBezTo>
                    <a:pt x="1367" y="1170"/>
                    <a:pt x="1363" y="1149"/>
                    <a:pt x="1361" y="1140"/>
                  </a:cubicBezTo>
                  <a:cubicBezTo>
                    <a:pt x="1369" y="1130"/>
                    <a:pt x="1377" y="1121"/>
                    <a:pt x="1383" y="1111"/>
                  </a:cubicBezTo>
                  <a:cubicBezTo>
                    <a:pt x="1386" y="1123"/>
                    <a:pt x="1391" y="1149"/>
                    <a:pt x="1396" y="1180"/>
                  </a:cubicBezTo>
                  <a:cubicBezTo>
                    <a:pt x="1387" y="1185"/>
                    <a:pt x="1378" y="1192"/>
                    <a:pt x="1370" y="1198"/>
                  </a:cubicBezTo>
                  <a:moveTo>
                    <a:pt x="1028" y="1178"/>
                  </a:moveTo>
                  <a:cubicBezTo>
                    <a:pt x="1026" y="1171"/>
                    <a:pt x="1023" y="1164"/>
                    <a:pt x="1021" y="1158"/>
                  </a:cubicBezTo>
                  <a:cubicBezTo>
                    <a:pt x="1043" y="1143"/>
                    <a:pt x="1066" y="1126"/>
                    <a:pt x="1087" y="1108"/>
                  </a:cubicBezTo>
                  <a:cubicBezTo>
                    <a:pt x="1091" y="1117"/>
                    <a:pt x="1094" y="1126"/>
                    <a:pt x="1097" y="1135"/>
                  </a:cubicBezTo>
                  <a:cubicBezTo>
                    <a:pt x="1074" y="1151"/>
                    <a:pt x="1051" y="1165"/>
                    <a:pt x="1028" y="1178"/>
                  </a:cubicBezTo>
                  <a:moveTo>
                    <a:pt x="1117" y="1163"/>
                  </a:moveTo>
                  <a:cubicBezTo>
                    <a:pt x="1115" y="1156"/>
                    <a:pt x="1113" y="1148"/>
                    <a:pt x="1110" y="1140"/>
                  </a:cubicBezTo>
                  <a:cubicBezTo>
                    <a:pt x="1128" y="1127"/>
                    <a:pt x="1146" y="1113"/>
                    <a:pt x="1163" y="1099"/>
                  </a:cubicBezTo>
                  <a:cubicBezTo>
                    <a:pt x="1167" y="1109"/>
                    <a:pt x="1170" y="1119"/>
                    <a:pt x="1172" y="1129"/>
                  </a:cubicBezTo>
                  <a:cubicBezTo>
                    <a:pt x="1154" y="1141"/>
                    <a:pt x="1136" y="1153"/>
                    <a:pt x="1117" y="1163"/>
                  </a:cubicBezTo>
                  <a:moveTo>
                    <a:pt x="928" y="1165"/>
                  </a:moveTo>
                  <a:cubicBezTo>
                    <a:pt x="926" y="1160"/>
                    <a:pt x="924" y="1156"/>
                    <a:pt x="922" y="1151"/>
                  </a:cubicBezTo>
                  <a:cubicBezTo>
                    <a:pt x="944" y="1135"/>
                    <a:pt x="965" y="1118"/>
                    <a:pt x="986" y="1098"/>
                  </a:cubicBezTo>
                  <a:cubicBezTo>
                    <a:pt x="989" y="1104"/>
                    <a:pt x="991" y="1111"/>
                    <a:pt x="994" y="1119"/>
                  </a:cubicBezTo>
                  <a:cubicBezTo>
                    <a:pt x="972" y="1136"/>
                    <a:pt x="950" y="1151"/>
                    <a:pt x="928" y="1165"/>
                  </a:cubicBezTo>
                  <a:moveTo>
                    <a:pt x="1192" y="1155"/>
                  </a:moveTo>
                  <a:cubicBezTo>
                    <a:pt x="1190" y="1149"/>
                    <a:pt x="1188" y="1141"/>
                    <a:pt x="1186" y="1134"/>
                  </a:cubicBezTo>
                  <a:cubicBezTo>
                    <a:pt x="1206" y="1120"/>
                    <a:pt x="1227" y="1105"/>
                    <a:pt x="1247" y="1088"/>
                  </a:cubicBezTo>
                  <a:cubicBezTo>
                    <a:pt x="1251" y="1099"/>
                    <a:pt x="1254" y="1110"/>
                    <a:pt x="1257" y="1120"/>
                  </a:cubicBezTo>
                  <a:cubicBezTo>
                    <a:pt x="1235" y="1133"/>
                    <a:pt x="1213" y="1145"/>
                    <a:pt x="1192" y="1155"/>
                  </a:cubicBezTo>
                  <a:moveTo>
                    <a:pt x="1274" y="1160"/>
                  </a:moveTo>
                  <a:cubicBezTo>
                    <a:pt x="1279" y="1158"/>
                    <a:pt x="1279" y="1158"/>
                    <a:pt x="1279" y="1158"/>
                  </a:cubicBezTo>
                  <a:cubicBezTo>
                    <a:pt x="1276" y="1148"/>
                    <a:pt x="1273" y="1137"/>
                    <a:pt x="1270" y="1126"/>
                  </a:cubicBezTo>
                  <a:cubicBezTo>
                    <a:pt x="1297" y="1111"/>
                    <a:pt x="1323" y="1094"/>
                    <a:pt x="1349" y="1077"/>
                  </a:cubicBezTo>
                  <a:cubicBezTo>
                    <a:pt x="1354" y="1092"/>
                    <a:pt x="1358" y="1107"/>
                    <a:pt x="1362" y="1121"/>
                  </a:cubicBezTo>
                  <a:cubicBezTo>
                    <a:pt x="1342" y="1146"/>
                    <a:pt x="1316" y="1168"/>
                    <a:pt x="1286" y="1188"/>
                  </a:cubicBezTo>
                  <a:cubicBezTo>
                    <a:pt x="1282" y="1171"/>
                    <a:pt x="1280" y="1160"/>
                    <a:pt x="1279" y="1158"/>
                  </a:cubicBezTo>
                  <a:cubicBezTo>
                    <a:pt x="1274" y="1160"/>
                    <a:pt x="1274" y="1160"/>
                    <a:pt x="1274" y="1160"/>
                  </a:cubicBezTo>
                  <a:moveTo>
                    <a:pt x="1017" y="1146"/>
                  </a:moveTo>
                  <a:cubicBezTo>
                    <a:pt x="1014" y="1138"/>
                    <a:pt x="1010" y="1129"/>
                    <a:pt x="1007" y="1121"/>
                  </a:cubicBezTo>
                  <a:cubicBezTo>
                    <a:pt x="1029" y="1104"/>
                    <a:pt x="1051" y="1085"/>
                    <a:pt x="1071" y="1064"/>
                  </a:cubicBezTo>
                  <a:cubicBezTo>
                    <a:pt x="1075" y="1074"/>
                    <a:pt x="1079" y="1085"/>
                    <a:pt x="1083" y="1096"/>
                  </a:cubicBezTo>
                  <a:cubicBezTo>
                    <a:pt x="1061" y="1114"/>
                    <a:pt x="1039" y="1131"/>
                    <a:pt x="1017" y="1146"/>
                  </a:cubicBezTo>
                  <a:moveTo>
                    <a:pt x="745" y="1125"/>
                  </a:moveTo>
                  <a:cubicBezTo>
                    <a:pt x="747" y="1118"/>
                    <a:pt x="748" y="1112"/>
                    <a:pt x="748" y="1105"/>
                  </a:cubicBezTo>
                  <a:cubicBezTo>
                    <a:pt x="773" y="1093"/>
                    <a:pt x="803" y="1078"/>
                    <a:pt x="834" y="1060"/>
                  </a:cubicBezTo>
                  <a:cubicBezTo>
                    <a:pt x="833" y="1072"/>
                    <a:pt x="830" y="1084"/>
                    <a:pt x="823" y="1096"/>
                  </a:cubicBezTo>
                  <a:cubicBezTo>
                    <a:pt x="796" y="1108"/>
                    <a:pt x="770" y="1117"/>
                    <a:pt x="745" y="1125"/>
                  </a:cubicBezTo>
                  <a:moveTo>
                    <a:pt x="748" y="1192"/>
                  </a:moveTo>
                  <a:cubicBezTo>
                    <a:pt x="746" y="1192"/>
                    <a:pt x="743" y="1192"/>
                    <a:pt x="741" y="1192"/>
                  </a:cubicBezTo>
                  <a:cubicBezTo>
                    <a:pt x="783" y="1166"/>
                    <a:pt x="815" y="1136"/>
                    <a:pt x="831" y="1106"/>
                  </a:cubicBezTo>
                  <a:cubicBezTo>
                    <a:pt x="862" y="1092"/>
                    <a:pt x="893" y="1077"/>
                    <a:pt x="923" y="1058"/>
                  </a:cubicBezTo>
                  <a:cubicBezTo>
                    <a:pt x="913" y="1076"/>
                    <a:pt x="897" y="1094"/>
                    <a:pt x="879" y="1112"/>
                  </a:cubicBezTo>
                  <a:cubicBezTo>
                    <a:pt x="849" y="1136"/>
                    <a:pt x="804" y="1167"/>
                    <a:pt x="748" y="1192"/>
                  </a:cubicBezTo>
                  <a:moveTo>
                    <a:pt x="1106" y="1128"/>
                  </a:moveTo>
                  <a:cubicBezTo>
                    <a:pt x="1103" y="1119"/>
                    <a:pt x="1100" y="1109"/>
                    <a:pt x="1097" y="1100"/>
                  </a:cubicBezTo>
                  <a:cubicBezTo>
                    <a:pt x="1114" y="1084"/>
                    <a:pt x="1132" y="1068"/>
                    <a:pt x="1149" y="1050"/>
                  </a:cubicBezTo>
                  <a:cubicBezTo>
                    <a:pt x="1152" y="1062"/>
                    <a:pt x="1156" y="1074"/>
                    <a:pt x="1160" y="1087"/>
                  </a:cubicBezTo>
                  <a:cubicBezTo>
                    <a:pt x="1142" y="1101"/>
                    <a:pt x="1124" y="1115"/>
                    <a:pt x="1106" y="1128"/>
                  </a:cubicBezTo>
                  <a:moveTo>
                    <a:pt x="805" y="1063"/>
                  </a:moveTo>
                  <a:cubicBezTo>
                    <a:pt x="814" y="1056"/>
                    <a:pt x="823" y="1049"/>
                    <a:pt x="832" y="1041"/>
                  </a:cubicBezTo>
                  <a:cubicBezTo>
                    <a:pt x="832" y="1041"/>
                    <a:pt x="832" y="1041"/>
                    <a:pt x="832" y="1041"/>
                  </a:cubicBezTo>
                  <a:cubicBezTo>
                    <a:pt x="832" y="1043"/>
                    <a:pt x="832" y="1045"/>
                    <a:pt x="833" y="1047"/>
                  </a:cubicBezTo>
                  <a:cubicBezTo>
                    <a:pt x="823" y="1052"/>
                    <a:pt x="814" y="1058"/>
                    <a:pt x="805" y="1063"/>
                  </a:cubicBezTo>
                  <a:moveTo>
                    <a:pt x="930" y="1067"/>
                  </a:moveTo>
                  <a:cubicBezTo>
                    <a:pt x="935" y="1060"/>
                    <a:pt x="938" y="1053"/>
                    <a:pt x="941" y="1047"/>
                  </a:cubicBezTo>
                  <a:cubicBezTo>
                    <a:pt x="945" y="1044"/>
                    <a:pt x="950" y="1041"/>
                    <a:pt x="954" y="1038"/>
                  </a:cubicBezTo>
                  <a:cubicBezTo>
                    <a:pt x="953" y="1041"/>
                    <a:pt x="952" y="1045"/>
                    <a:pt x="951" y="1048"/>
                  </a:cubicBezTo>
                  <a:cubicBezTo>
                    <a:pt x="944" y="1054"/>
                    <a:pt x="937" y="1061"/>
                    <a:pt x="930" y="1067"/>
                  </a:cubicBezTo>
                  <a:moveTo>
                    <a:pt x="1182" y="1122"/>
                  </a:moveTo>
                  <a:cubicBezTo>
                    <a:pt x="1179" y="1112"/>
                    <a:pt x="1176" y="1101"/>
                    <a:pt x="1173" y="1091"/>
                  </a:cubicBezTo>
                  <a:cubicBezTo>
                    <a:pt x="1193" y="1073"/>
                    <a:pt x="1212" y="1055"/>
                    <a:pt x="1231" y="1035"/>
                  </a:cubicBezTo>
                  <a:cubicBezTo>
                    <a:pt x="1235" y="1049"/>
                    <a:pt x="1240" y="1063"/>
                    <a:pt x="1244" y="1076"/>
                  </a:cubicBezTo>
                  <a:cubicBezTo>
                    <a:pt x="1223" y="1093"/>
                    <a:pt x="1203" y="1108"/>
                    <a:pt x="1182" y="1122"/>
                  </a:cubicBezTo>
                  <a:moveTo>
                    <a:pt x="966" y="1032"/>
                  </a:moveTo>
                  <a:cubicBezTo>
                    <a:pt x="967" y="1031"/>
                    <a:pt x="967" y="1030"/>
                    <a:pt x="967" y="1029"/>
                  </a:cubicBezTo>
                  <a:cubicBezTo>
                    <a:pt x="968" y="1028"/>
                    <a:pt x="970" y="1027"/>
                    <a:pt x="971" y="1026"/>
                  </a:cubicBezTo>
                  <a:cubicBezTo>
                    <a:pt x="971" y="1027"/>
                    <a:pt x="971" y="1027"/>
                    <a:pt x="971" y="1028"/>
                  </a:cubicBezTo>
                  <a:cubicBezTo>
                    <a:pt x="969" y="1030"/>
                    <a:pt x="968" y="1031"/>
                    <a:pt x="966" y="1032"/>
                  </a:cubicBezTo>
                  <a:moveTo>
                    <a:pt x="1003" y="1111"/>
                  </a:moveTo>
                  <a:cubicBezTo>
                    <a:pt x="1000" y="1104"/>
                    <a:pt x="998" y="1096"/>
                    <a:pt x="995" y="1090"/>
                  </a:cubicBezTo>
                  <a:cubicBezTo>
                    <a:pt x="1016" y="1070"/>
                    <a:pt x="1036" y="1048"/>
                    <a:pt x="1055" y="1025"/>
                  </a:cubicBezTo>
                  <a:cubicBezTo>
                    <a:pt x="1059" y="1034"/>
                    <a:pt x="1063" y="1043"/>
                    <a:pt x="1067" y="1054"/>
                  </a:cubicBezTo>
                  <a:cubicBezTo>
                    <a:pt x="1046" y="1075"/>
                    <a:pt x="1025" y="1094"/>
                    <a:pt x="1003" y="1111"/>
                  </a:cubicBezTo>
                  <a:moveTo>
                    <a:pt x="1267" y="1114"/>
                  </a:moveTo>
                  <a:cubicBezTo>
                    <a:pt x="1264" y="1103"/>
                    <a:pt x="1260" y="1092"/>
                    <a:pt x="1257" y="1081"/>
                  </a:cubicBezTo>
                  <a:cubicBezTo>
                    <a:pt x="1282" y="1060"/>
                    <a:pt x="1306" y="1037"/>
                    <a:pt x="1329" y="1013"/>
                  </a:cubicBezTo>
                  <a:cubicBezTo>
                    <a:pt x="1335" y="1030"/>
                    <a:pt x="1341" y="1048"/>
                    <a:pt x="1346" y="1065"/>
                  </a:cubicBezTo>
                  <a:cubicBezTo>
                    <a:pt x="1320" y="1083"/>
                    <a:pt x="1293" y="1099"/>
                    <a:pt x="1267" y="1114"/>
                  </a:cubicBezTo>
                  <a:moveTo>
                    <a:pt x="1092" y="1088"/>
                  </a:moveTo>
                  <a:cubicBezTo>
                    <a:pt x="1088" y="1077"/>
                    <a:pt x="1084" y="1066"/>
                    <a:pt x="1080" y="1055"/>
                  </a:cubicBezTo>
                  <a:cubicBezTo>
                    <a:pt x="1098" y="1037"/>
                    <a:pt x="1115" y="1017"/>
                    <a:pt x="1131" y="996"/>
                  </a:cubicBezTo>
                  <a:cubicBezTo>
                    <a:pt x="1136" y="1009"/>
                    <a:pt x="1140" y="1023"/>
                    <a:pt x="1145" y="1038"/>
                  </a:cubicBezTo>
                  <a:cubicBezTo>
                    <a:pt x="1128" y="1056"/>
                    <a:pt x="1110" y="1073"/>
                    <a:pt x="1092" y="1088"/>
                  </a:cubicBezTo>
                  <a:moveTo>
                    <a:pt x="746" y="1089"/>
                  </a:moveTo>
                  <a:cubicBezTo>
                    <a:pt x="746" y="1089"/>
                    <a:pt x="746" y="1088"/>
                    <a:pt x="746" y="1088"/>
                  </a:cubicBezTo>
                  <a:cubicBezTo>
                    <a:pt x="743" y="1076"/>
                    <a:pt x="736" y="1066"/>
                    <a:pt x="726" y="1058"/>
                  </a:cubicBezTo>
                  <a:cubicBezTo>
                    <a:pt x="744" y="1039"/>
                    <a:pt x="763" y="1018"/>
                    <a:pt x="783" y="995"/>
                  </a:cubicBezTo>
                  <a:cubicBezTo>
                    <a:pt x="804" y="1003"/>
                    <a:pt x="819" y="1015"/>
                    <a:pt x="827" y="1030"/>
                  </a:cubicBezTo>
                  <a:cubicBezTo>
                    <a:pt x="799" y="1054"/>
                    <a:pt x="772" y="1073"/>
                    <a:pt x="746" y="1089"/>
                  </a:cubicBezTo>
                  <a:moveTo>
                    <a:pt x="1352" y="990"/>
                  </a:moveTo>
                  <a:cubicBezTo>
                    <a:pt x="1335" y="990"/>
                    <a:pt x="1335" y="990"/>
                    <a:pt x="1335" y="990"/>
                  </a:cubicBezTo>
                  <a:cubicBezTo>
                    <a:pt x="1335" y="991"/>
                    <a:pt x="1334" y="991"/>
                    <a:pt x="1334" y="991"/>
                  </a:cubicBezTo>
                  <a:cubicBezTo>
                    <a:pt x="1334" y="991"/>
                    <a:pt x="1334" y="991"/>
                    <a:pt x="1334" y="990"/>
                  </a:cubicBezTo>
                  <a:cubicBezTo>
                    <a:pt x="1322" y="990"/>
                    <a:pt x="1322" y="990"/>
                    <a:pt x="1322" y="990"/>
                  </a:cubicBezTo>
                  <a:cubicBezTo>
                    <a:pt x="1323" y="994"/>
                    <a:pt x="1324" y="997"/>
                    <a:pt x="1325" y="1000"/>
                  </a:cubicBezTo>
                  <a:cubicBezTo>
                    <a:pt x="1302" y="1025"/>
                    <a:pt x="1278" y="1048"/>
                    <a:pt x="1253" y="1069"/>
                  </a:cubicBezTo>
                  <a:cubicBezTo>
                    <a:pt x="1249" y="1054"/>
                    <a:pt x="1244" y="1040"/>
                    <a:pt x="1240" y="1026"/>
                  </a:cubicBezTo>
                  <a:cubicBezTo>
                    <a:pt x="1250" y="1014"/>
                    <a:pt x="1260" y="1002"/>
                    <a:pt x="1270" y="990"/>
                  </a:cubicBezTo>
                  <a:cubicBezTo>
                    <a:pt x="1255" y="990"/>
                    <a:pt x="1255" y="990"/>
                    <a:pt x="1255" y="990"/>
                  </a:cubicBezTo>
                  <a:cubicBezTo>
                    <a:pt x="1249" y="998"/>
                    <a:pt x="1242" y="1006"/>
                    <a:pt x="1235" y="1013"/>
                  </a:cubicBezTo>
                  <a:cubicBezTo>
                    <a:pt x="1233" y="1005"/>
                    <a:pt x="1231" y="998"/>
                    <a:pt x="1228" y="990"/>
                  </a:cubicBezTo>
                  <a:cubicBezTo>
                    <a:pt x="1216" y="990"/>
                    <a:pt x="1216" y="990"/>
                    <a:pt x="1216" y="990"/>
                  </a:cubicBezTo>
                  <a:cubicBezTo>
                    <a:pt x="1220" y="1001"/>
                    <a:pt x="1223" y="1012"/>
                    <a:pt x="1227" y="1023"/>
                  </a:cubicBezTo>
                  <a:cubicBezTo>
                    <a:pt x="1208" y="1043"/>
                    <a:pt x="1189" y="1061"/>
                    <a:pt x="1169" y="1078"/>
                  </a:cubicBezTo>
                  <a:cubicBezTo>
                    <a:pt x="1165" y="1066"/>
                    <a:pt x="1161" y="1053"/>
                    <a:pt x="1158" y="1041"/>
                  </a:cubicBezTo>
                  <a:cubicBezTo>
                    <a:pt x="1172" y="1025"/>
                    <a:pt x="1187" y="1008"/>
                    <a:pt x="1201" y="990"/>
                  </a:cubicBezTo>
                  <a:cubicBezTo>
                    <a:pt x="1186" y="990"/>
                    <a:pt x="1186" y="990"/>
                    <a:pt x="1186" y="990"/>
                  </a:cubicBezTo>
                  <a:cubicBezTo>
                    <a:pt x="1176" y="1004"/>
                    <a:pt x="1165" y="1016"/>
                    <a:pt x="1154" y="1028"/>
                  </a:cubicBezTo>
                  <a:cubicBezTo>
                    <a:pt x="1149" y="1015"/>
                    <a:pt x="1145" y="1002"/>
                    <a:pt x="1141" y="990"/>
                  </a:cubicBezTo>
                  <a:cubicBezTo>
                    <a:pt x="1123" y="990"/>
                    <a:pt x="1123" y="990"/>
                    <a:pt x="1123" y="990"/>
                  </a:cubicBezTo>
                  <a:cubicBezTo>
                    <a:pt x="1108" y="1010"/>
                    <a:pt x="1092" y="1028"/>
                    <a:pt x="1076" y="1045"/>
                  </a:cubicBezTo>
                  <a:cubicBezTo>
                    <a:pt x="1071" y="1034"/>
                    <a:pt x="1067" y="1024"/>
                    <a:pt x="1063" y="1015"/>
                  </a:cubicBezTo>
                  <a:cubicBezTo>
                    <a:pt x="1070" y="1007"/>
                    <a:pt x="1076" y="999"/>
                    <a:pt x="1082" y="990"/>
                  </a:cubicBezTo>
                  <a:cubicBezTo>
                    <a:pt x="1068" y="990"/>
                    <a:pt x="1068" y="990"/>
                    <a:pt x="1068" y="990"/>
                  </a:cubicBezTo>
                  <a:cubicBezTo>
                    <a:pt x="1065" y="995"/>
                    <a:pt x="1062" y="999"/>
                    <a:pt x="1058" y="1003"/>
                  </a:cubicBezTo>
                  <a:cubicBezTo>
                    <a:pt x="1056" y="998"/>
                    <a:pt x="1055" y="994"/>
                    <a:pt x="1053" y="990"/>
                  </a:cubicBezTo>
                  <a:cubicBezTo>
                    <a:pt x="1040" y="990"/>
                    <a:pt x="1040" y="990"/>
                    <a:pt x="1040" y="990"/>
                  </a:cubicBezTo>
                  <a:cubicBezTo>
                    <a:pt x="1043" y="997"/>
                    <a:pt x="1047" y="1004"/>
                    <a:pt x="1050" y="1013"/>
                  </a:cubicBezTo>
                  <a:cubicBezTo>
                    <a:pt x="1031" y="1036"/>
                    <a:pt x="1011" y="1058"/>
                    <a:pt x="990" y="1078"/>
                  </a:cubicBezTo>
                  <a:cubicBezTo>
                    <a:pt x="982" y="1060"/>
                    <a:pt x="976" y="1047"/>
                    <a:pt x="974" y="1042"/>
                  </a:cubicBezTo>
                  <a:cubicBezTo>
                    <a:pt x="980" y="1043"/>
                    <a:pt x="980" y="1043"/>
                    <a:pt x="980" y="1043"/>
                  </a:cubicBezTo>
                  <a:cubicBezTo>
                    <a:pt x="981" y="1040"/>
                    <a:pt x="981" y="1037"/>
                    <a:pt x="981" y="1034"/>
                  </a:cubicBezTo>
                  <a:cubicBezTo>
                    <a:pt x="994" y="1021"/>
                    <a:pt x="1008" y="1006"/>
                    <a:pt x="1021" y="990"/>
                  </a:cubicBezTo>
                  <a:cubicBezTo>
                    <a:pt x="993" y="990"/>
                    <a:pt x="993" y="990"/>
                    <a:pt x="993" y="990"/>
                  </a:cubicBezTo>
                  <a:cubicBezTo>
                    <a:pt x="993" y="992"/>
                    <a:pt x="992" y="993"/>
                    <a:pt x="992" y="995"/>
                  </a:cubicBezTo>
                  <a:cubicBezTo>
                    <a:pt x="989" y="997"/>
                    <a:pt x="987" y="999"/>
                    <a:pt x="984" y="1001"/>
                  </a:cubicBezTo>
                  <a:cubicBezTo>
                    <a:pt x="984" y="997"/>
                    <a:pt x="985" y="994"/>
                    <a:pt x="985" y="990"/>
                  </a:cubicBezTo>
                  <a:cubicBezTo>
                    <a:pt x="973" y="990"/>
                    <a:pt x="973" y="990"/>
                    <a:pt x="973" y="990"/>
                  </a:cubicBezTo>
                  <a:cubicBezTo>
                    <a:pt x="973" y="997"/>
                    <a:pt x="973" y="1004"/>
                    <a:pt x="972" y="1010"/>
                  </a:cubicBezTo>
                  <a:cubicBezTo>
                    <a:pt x="971" y="1011"/>
                    <a:pt x="970" y="1012"/>
                    <a:pt x="969" y="1013"/>
                  </a:cubicBezTo>
                  <a:cubicBezTo>
                    <a:pt x="969" y="1011"/>
                    <a:pt x="969" y="1008"/>
                    <a:pt x="969" y="1006"/>
                  </a:cubicBezTo>
                  <a:cubicBezTo>
                    <a:pt x="969" y="1001"/>
                    <a:pt x="969" y="996"/>
                    <a:pt x="968" y="990"/>
                  </a:cubicBezTo>
                  <a:cubicBezTo>
                    <a:pt x="957" y="990"/>
                    <a:pt x="957" y="990"/>
                    <a:pt x="957" y="990"/>
                  </a:cubicBezTo>
                  <a:cubicBezTo>
                    <a:pt x="957" y="996"/>
                    <a:pt x="958" y="1001"/>
                    <a:pt x="958" y="1006"/>
                  </a:cubicBezTo>
                  <a:cubicBezTo>
                    <a:pt x="958" y="1012"/>
                    <a:pt x="957" y="1017"/>
                    <a:pt x="957" y="1022"/>
                  </a:cubicBezTo>
                  <a:cubicBezTo>
                    <a:pt x="954" y="1024"/>
                    <a:pt x="951" y="1026"/>
                    <a:pt x="948" y="1028"/>
                  </a:cubicBezTo>
                  <a:cubicBezTo>
                    <a:pt x="951" y="1018"/>
                    <a:pt x="953" y="1007"/>
                    <a:pt x="953" y="998"/>
                  </a:cubicBezTo>
                  <a:cubicBezTo>
                    <a:pt x="953" y="995"/>
                    <a:pt x="953" y="993"/>
                    <a:pt x="953" y="990"/>
                  </a:cubicBezTo>
                  <a:cubicBezTo>
                    <a:pt x="942" y="990"/>
                    <a:pt x="942" y="990"/>
                    <a:pt x="942" y="990"/>
                  </a:cubicBezTo>
                  <a:cubicBezTo>
                    <a:pt x="942" y="993"/>
                    <a:pt x="942" y="996"/>
                    <a:pt x="942" y="998"/>
                  </a:cubicBezTo>
                  <a:cubicBezTo>
                    <a:pt x="942" y="1011"/>
                    <a:pt x="939" y="1024"/>
                    <a:pt x="933" y="1038"/>
                  </a:cubicBezTo>
                  <a:cubicBezTo>
                    <a:pt x="902" y="1058"/>
                    <a:pt x="870" y="1075"/>
                    <a:pt x="839" y="1089"/>
                  </a:cubicBezTo>
                  <a:cubicBezTo>
                    <a:pt x="843" y="1079"/>
                    <a:pt x="845" y="1068"/>
                    <a:pt x="845" y="1058"/>
                  </a:cubicBezTo>
                  <a:cubicBezTo>
                    <a:pt x="845" y="1056"/>
                    <a:pt x="845" y="1055"/>
                    <a:pt x="845" y="1053"/>
                  </a:cubicBezTo>
                  <a:cubicBezTo>
                    <a:pt x="874" y="1035"/>
                    <a:pt x="905" y="1014"/>
                    <a:pt x="936" y="990"/>
                  </a:cubicBezTo>
                  <a:cubicBezTo>
                    <a:pt x="917" y="990"/>
                    <a:pt x="917" y="990"/>
                    <a:pt x="917" y="990"/>
                  </a:cubicBezTo>
                  <a:cubicBezTo>
                    <a:pt x="892" y="1009"/>
                    <a:pt x="867" y="1026"/>
                    <a:pt x="843" y="1041"/>
                  </a:cubicBezTo>
                  <a:cubicBezTo>
                    <a:pt x="843" y="1040"/>
                    <a:pt x="843" y="1039"/>
                    <a:pt x="842" y="1038"/>
                  </a:cubicBezTo>
                  <a:cubicBezTo>
                    <a:pt x="842" y="1036"/>
                    <a:pt x="841" y="1035"/>
                    <a:pt x="841" y="1033"/>
                  </a:cubicBezTo>
                  <a:cubicBezTo>
                    <a:pt x="847" y="1028"/>
                    <a:pt x="852" y="1023"/>
                    <a:pt x="858" y="1018"/>
                  </a:cubicBezTo>
                  <a:cubicBezTo>
                    <a:pt x="868" y="1009"/>
                    <a:pt x="878" y="1000"/>
                    <a:pt x="887" y="990"/>
                  </a:cubicBezTo>
                  <a:cubicBezTo>
                    <a:pt x="870" y="990"/>
                    <a:pt x="870" y="990"/>
                    <a:pt x="870" y="990"/>
                  </a:cubicBezTo>
                  <a:cubicBezTo>
                    <a:pt x="864" y="997"/>
                    <a:pt x="858" y="1003"/>
                    <a:pt x="852" y="1008"/>
                  </a:cubicBezTo>
                  <a:cubicBezTo>
                    <a:pt x="846" y="1013"/>
                    <a:pt x="841" y="1018"/>
                    <a:pt x="836" y="1022"/>
                  </a:cubicBezTo>
                  <a:cubicBezTo>
                    <a:pt x="828" y="1010"/>
                    <a:pt x="817" y="999"/>
                    <a:pt x="801" y="990"/>
                  </a:cubicBezTo>
                  <a:cubicBezTo>
                    <a:pt x="770" y="990"/>
                    <a:pt x="770" y="990"/>
                    <a:pt x="770" y="990"/>
                  </a:cubicBezTo>
                  <a:cubicBezTo>
                    <a:pt x="770" y="990"/>
                    <a:pt x="771" y="990"/>
                    <a:pt x="771" y="990"/>
                  </a:cubicBezTo>
                  <a:cubicBezTo>
                    <a:pt x="752" y="1013"/>
                    <a:pt x="733" y="1033"/>
                    <a:pt x="715" y="1051"/>
                  </a:cubicBezTo>
                  <a:cubicBezTo>
                    <a:pt x="710" y="1048"/>
                    <a:pt x="704" y="1045"/>
                    <a:pt x="698" y="1043"/>
                  </a:cubicBezTo>
                  <a:cubicBezTo>
                    <a:pt x="698" y="1056"/>
                    <a:pt x="698" y="1056"/>
                    <a:pt x="698" y="1056"/>
                  </a:cubicBezTo>
                  <a:cubicBezTo>
                    <a:pt x="701" y="1057"/>
                    <a:pt x="704" y="1058"/>
                    <a:pt x="707" y="1059"/>
                  </a:cubicBezTo>
                  <a:cubicBezTo>
                    <a:pt x="704" y="1062"/>
                    <a:pt x="701" y="1065"/>
                    <a:pt x="698" y="1068"/>
                  </a:cubicBezTo>
                  <a:cubicBezTo>
                    <a:pt x="698" y="1084"/>
                    <a:pt x="698" y="1084"/>
                    <a:pt x="698" y="1084"/>
                  </a:cubicBezTo>
                  <a:cubicBezTo>
                    <a:pt x="704" y="1079"/>
                    <a:pt x="711" y="1072"/>
                    <a:pt x="717" y="1066"/>
                  </a:cubicBezTo>
                  <a:cubicBezTo>
                    <a:pt x="726" y="1073"/>
                    <a:pt x="733" y="1081"/>
                    <a:pt x="735" y="1091"/>
                  </a:cubicBezTo>
                  <a:cubicBezTo>
                    <a:pt x="736" y="1093"/>
                    <a:pt x="736" y="1094"/>
                    <a:pt x="736" y="1096"/>
                  </a:cubicBezTo>
                  <a:cubicBezTo>
                    <a:pt x="732" y="1098"/>
                    <a:pt x="728" y="1101"/>
                    <a:pt x="724" y="1103"/>
                  </a:cubicBezTo>
                  <a:cubicBezTo>
                    <a:pt x="714" y="1107"/>
                    <a:pt x="706" y="1111"/>
                    <a:pt x="698" y="1114"/>
                  </a:cubicBezTo>
                  <a:cubicBezTo>
                    <a:pt x="698" y="1130"/>
                    <a:pt x="698" y="1130"/>
                    <a:pt x="698" y="1130"/>
                  </a:cubicBezTo>
                  <a:cubicBezTo>
                    <a:pt x="708" y="1125"/>
                    <a:pt x="718" y="1120"/>
                    <a:pt x="728" y="1114"/>
                  </a:cubicBezTo>
                  <a:cubicBezTo>
                    <a:pt x="731" y="1113"/>
                    <a:pt x="734" y="1111"/>
                    <a:pt x="737" y="1110"/>
                  </a:cubicBezTo>
                  <a:cubicBezTo>
                    <a:pt x="736" y="1116"/>
                    <a:pt x="734" y="1123"/>
                    <a:pt x="731" y="1129"/>
                  </a:cubicBezTo>
                  <a:cubicBezTo>
                    <a:pt x="720" y="1133"/>
                    <a:pt x="709" y="1136"/>
                    <a:pt x="698" y="1139"/>
                  </a:cubicBezTo>
                  <a:cubicBezTo>
                    <a:pt x="698" y="1151"/>
                    <a:pt x="698" y="1151"/>
                    <a:pt x="698" y="1151"/>
                  </a:cubicBezTo>
                  <a:cubicBezTo>
                    <a:pt x="706" y="1149"/>
                    <a:pt x="714" y="1147"/>
                    <a:pt x="723" y="1144"/>
                  </a:cubicBezTo>
                  <a:cubicBezTo>
                    <a:pt x="716" y="1153"/>
                    <a:pt x="708" y="1162"/>
                    <a:pt x="698" y="1171"/>
                  </a:cubicBezTo>
                  <a:cubicBezTo>
                    <a:pt x="698" y="1198"/>
                    <a:pt x="698" y="1198"/>
                    <a:pt x="698" y="1198"/>
                  </a:cubicBezTo>
                  <a:cubicBezTo>
                    <a:pt x="700" y="1198"/>
                    <a:pt x="702" y="1199"/>
                    <a:pt x="703" y="1199"/>
                  </a:cubicBezTo>
                  <a:cubicBezTo>
                    <a:pt x="702" y="1200"/>
                    <a:pt x="700" y="1201"/>
                    <a:pt x="698" y="1202"/>
                  </a:cubicBezTo>
                  <a:cubicBezTo>
                    <a:pt x="698" y="1229"/>
                    <a:pt x="698" y="1229"/>
                    <a:pt x="698" y="1229"/>
                  </a:cubicBezTo>
                  <a:cubicBezTo>
                    <a:pt x="719" y="1222"/>
                    <a:pt x="739" y="1214"/>
                    <a:pt x="759" y="1205"/>
                  </a:cubicBezTo>
                  <a:cubicBezTo>
                    <a:pt x="761" y="1205"/>
                    <a:pt x="763" y="1205"/>
                    <a:pt x="766" y="1205"/>
                  </a:cubicBezTo>
                  <a:cubicBezTo>
                    <a:pt x="766" y="1205"/>
                    <a:pt x="767" y="1205"/>
                    <a:pt x="768" y="1205"/>
                  </a:cubicBezTo>
                  <a:cubicBezTo>
                    <a:pt x="768" y="1200"/>
                    <a:pt x="768" y="1200"/>
                    <a:pt x="768" y="1200"/>
                  </a:cubicBezTo>
                  <a:cubicBezTo>
                    <a:pt x="811" y="1179"/>
                    <a:pt x="848" y="1154"/>
                    <a:pt x="878" y="1128"/>
                  </a:cubicBezTo>
                  <a:cubicBezTo>
                    <a:pt x="883" y="1123"/>
                    <a:pt x="888" y="1119"/>
                    <a:pt x="893" y="1115"/>
                  </a:cubicBezTo>
                  <a:cubicBezTo>
                    <a:pt x="900" y="1109"/>
                    <a:pt x="900" y="1109"/>
                    <a:pt x="900" y="1109"/>
                  </a:cubicBezTo>
                  <a:cubicBezTo>
                    <a:pt x="915" y="1096"/>
                    <a:pt x="936" y="1078"/>
                    <a:pt x="959" y="1056"/>
                  </a:cubicBezTo>
                  <a:cubicBezTo>
                    <a:pt x="960" y="1056"/>
                    <a:pt x="960" y="1056"/>
                    <a:pt x="960" y="1056"/>
                  </a:cubicBezTo>
                  <a:cubicBezTo>
                    <a:pt x="960" y="1056"/>
                    <a:pt x="960" y="1055"/>
                    <a:pt x="961" y="1054"/>
                  </a:cubicBezTo>
                  <a:cubicBezTo>
                    <a:pt x="962" y="1053"/>
                    <a:pt x="964" y="1051"/>
                    <a:pt x="965" y="1050"/>
                  </a:cubicBezTo>
                  <a:cubicBezTo>
                    <a:pt x="968" y="1057"/>
                    <a:pt x="974" y="1070"/>
                    <a:pt x="981" y="1087"/>
                  </a:cubicBezTo>
                  <a:cubicBezTo>
                    <a:pt x="960" y="1106"/>
                    <a:pt x="939" y="1124"/>
                    <a:pt x="917" y="1141"/>
                  </a:cubicBezTo>
                  <a:cubicBezTo>
                    <a:pt x="909" y="1123"/>
                    <a:pt x="903" y="1112"/>
                    <a:pt x="903" y="1112"/>
                  </a:cubicBezTo>
                  <a:cubicBezTo>
                    <a:pt x="893" y="1118"/>
                    <a:pt x="893" y="1118"/>
                    <a:pt x="893" y="1118"/>
                  </a:cubicBezTo>
                  <a:cubicBezTo>
                    <a:pt x="894" y="1118"/>
                    <a:pt x="899" y="1129"/>
                    <a:pt x="908" y="1147"/>
                  </a:cubicBezTo>
                  <a:cubicBezTo>
                    <a:pt x="831" y="1204"/>
                    <a:pt x="755" y="1240"/>
                    <a:pt x="698" y="1261"/>
                  </a:cubicBezTo>
                  <a:cubicBezTo>
                    <a:pt x="698" y="1281"/>
                    <a:pt x="698" y="1281"/>
                    <a:pt x="698" y="1281"/>
                  </a:cubicBezTo>
                  <a:cubicBezTo>
                    <a:pt x="738" y="1269"/>
                    <a:pt x="788" y="1251"/>
                    <a:pt x="843" y="1225"/>
                  </a:cubicBezTo>
                  <a:cubicBezTo>
                    <a:pt x="844" y="1228"/>
                    <a:pt x="846" y="1232"/>
                    <a:pt x="849" y="1236"/>
                  </a:cubicBezTo>
                  <a:cubicBezTo>
                    <a:pt x="791" y="1260"/>
                    <a:pt x="739" y="1275"/>
                    <a:pt x="698" y="1285"/>
                  </a:cubicBezTo>
                  <a:cubicBezTo>
                    <a:pt x="698" y="1320"/>
                    <a:pt x="698" y="1320"/>
                    <a:pt x="698" y="1320"/>
                  </a:cubicBezTo>
                  <a:cubicBezTo>
                    <a:pt x="709" y="1318"/>
                    <a:pt x="720" y="1317"/>
                    <a:pt x="732" y="1315"/>
                  </a:cubicBezTo>
                  <a:cubicBezTo>
                    <a:pt x="749" y="1312"/>
                    <a:pt x="767" y="1309"/>
                    <a:pt x="787" y="1305"/>
                  </a:cubicBezTo>
                  <a:cubicBezTo>
                    <a:pt x="790" y="1312"/>
                    <a:pt x="793" y="1319"/>
                    <a:pt x="796" y="1326"/>
                  </a:cubicBezTo>
                  <a:cubicBezTo>
                    <a:pt x="759" y="1330"/>
                    <a:pt x="725" y="1333"/>
                    <a:pt x="698" y="1335"/>
                  </a:cubicBezTo>
                  <a:cubicBezTo>
                    <a:pt x="698" y="1347"/>
                    <a:pt x="698" y="1347"/>
                    <a:pt x="698" y="1347"/>
                  </a:cubicBezTo>
                  <a:cubicBezTo>
                    <a:pt x="703" y="1347"/>
                    <a:pt x="708" y="1346"/>
                    <a:pt x="713" y="1346"/>
                  </a:cubicBezTo>
                  <a:cubicBezTo>
                    <a:pt x="717" y="1355"/>
                    <a:pt x="722" y="1366"/>
                    <a:pt x="727" y="1376"/>
                  </a:cubicBezTo>
                  <a:cubicBezTo>
                    <a:pt x="717" y="1377"/>
                    <a:pt x="707" y="1377"/>
                    <a:pt x="698" y="1377"/>
                  </a:cubicBezTo>
                  <a:cubicBezTo>
                    <a:pt x="698" y="1389"/>
                    <a:pt x="698" y="1389"/>
                    <a:pt x="698" y="1389"/>
                  </a:cubicBezTo>
                  <a:cubicBezTo>
                    <a:pt x="708" y="1389"/>
                    <a:pt x="720" y="1389"/>
                    <a:pt x="733" y="1388"/>
                  </a:cubicBezTo>
                  <a:cubicBezTo>
                    <a:pt x="734" y="1392"/>
                    <a:pt x="736" y="1395"/>
                    <a:pt x="738" y="1399"/>
                  </a:cubicBezTo>
                  <a:cubicBezTo>
                    <a:pt x="724" y="1401"/>
                    <a:pt x="711" y="1402"/>
                    <a:pt x="698" y="1405"/>
                  </a:cubicBezTo>
                  <a:cubicBezTo>
                    <a:pt x="698" y="1417"/>
                    <a:pt x="698" y="1417"/>
                    <a:pt x="698" y="1417"/>
                  </a:cubicBezTo>
                  <a:cubicBezTo>
                    <a:pt x="712" y="1414"/>
                    <a:pt x="727" y="1412"/>
                    <a:pt x="743" y="1411"/>
                  </a:cubicBezTo>
                  <a:cubicBezTo>
                    <a:pt x="755" y="1436"/>
                    <a:pt x="767" y="1462"/>
                    <a:pt x="777" y="1485"/>
                  </a:cubicBezTo>
                  <a:cubicBezTo>
                    <a:pt x="789" y="1485"/>
                    <a:pt x="789" y="1485"/>
                    <a:pt x="789" y="1485"/>
                  </a:cubicBezTo>
                  <a:cubicBezTo>
                    <a:pt x="779" y="1462"/>
                    <a:pt x="768" y="1436"/>
                    <a:pt x="755" y="1409"/>
                  </a:cubicBezTo>
                  <a:cubicBezTo>
                    <a:pt x="778" y="1408"/>
                    <a:pt x="804" y="1406"/>
                    <a:pt x="830" y="1406"/>
                  </a:cubicBezTo>
                  <a:cubicBezTo>
                    <a:pt x="840" y="1430"/>
                    <a:pt x="849" y="1453"/>
                    <a:pt x="856" y="1471"/>
                  </a:cubicBezTo>
                  <a:cubicBezTo>
                    <a:pt x="837" y="1476"/>
                    <a:pt x="818" y="1480"/>
                    <a:pt x="801" y="1485"/>
                  </a:cubicBezTo>
                  <a:cubicBezTo>
                    <a:pt x="851" y="1485"/>
                    <a:pt x="851" y="1485"/>
                    <a:pt x="851" y="1485"/>
                  </a:cubicBezTo>
                  <a:cubicBezTo>
                    <a:pt x="854" y="1484"/>
                    <a:pt x="857" y="1483"/>
                    <a:pt x="860" y="1483"/>
                  </a:cubicBezTo>
                  <a:cubicBezTo>
                    <a:pt x="860" y="1483"/>
                    <a:pt x="860" y="1484"/>
                    <a:pt x="861" y="1485"/>
                  </a:cubicBezTo>
                  <a:cubicBezTo>
                    <a:pt x="872" y="1485"/>
                    <a:pt x="872" y="1485"/>
                    <a:pt x="872" y="1485"/>
                  </a:cubicBezTo>
                  <a:cubicBezTo>
                    <a:pt x="872" y="1483"/>
                    <a:pt x="871" y="1482"/>
                    <a:pt x="871" y="1480"/>
                  </a:cubicBezTo>
                  <a:cubicBezTo>
                    <a:pt x="884" y="1477"/>
                    <a:pt x="898" y="1474"/>
                    <a:pt x="913" y="1470"/>
                  </a:cubicBezTo>
                  <a:cubicBezTo>
                    <a:pt x="918" y="1469"/>
                    <a:pt x="924" y="1467"/>
                    <a:pt x="931" y="1465"/>
                  </a:cubicBezTo>
                  <a:cubicBezTo>
                    <a:pt x="932" y="1473"/>
                    <a:pt x="934" y="1480"/>
                    <a:pt x="934" y="1485"/>
                  </a:cubicBezTo>
                  <a:cubicBezTo>
                    <a:pt x="945" y="1485"/>
                    <a:pt x="945" y="1485"/>
                    <a:pt x="945" y="1485"/>
                  </a:cubicBezTo>
                  <a:cubicBezTo>
                    <a:pt x="944" y="1479"/>
                    <a:pt x="943" y="1471"/>
                    <a:pt x="942" y="1463"/>
                  </a:cubicBezTo>
                  <a:cubicBezTo>
                    <a:pt x="954" y="1460"/>
                    <a:pt x="967" y="1457"/>
                    <a:pt x="982" y="1453"/>
                  </a:cubicBezTo>
                  <a:cubicBezTo>
                    <a:pt x="989" y="1451"/>
                    <a:pt x="997" y="1450"/>
                    <a:pt x="1004" y="1448"/>
                  </a:cubicBezTo>
                  <a:cubicBezTo>
                    <a:pt x="1005" y="1451"/>
                    <a:pt x="1005" y="1454"/>
                    <a:pt x="1005" y="1457"/>
                  </a:cubicBezTo>
                  <a:cubicBezTo>
                    <a:pt x="1005" y="1460"/>
                    <a:pt x="1005" y="1463"/>
                    <a:pt x="1004" y="1465"/>
                  </a:cubicBezTo>
                  <a:cubicBezTo>
                    <a:pt x="985" y="1472"/>
                    <a:pt x="966" y="1478"/>
                    <a:pt x="946" y="1485"/>
                  </a:cubicBezTo>
                  <a:cubicBezTo>
                    <a:pt x="991" y="1485"/>
                    <a:pt x="991" y="1485"/>
                    <a:pt x="991" y="1485"/>
                  </a:cubicBezTo>
                  <a:cubicBezTo>
                    <a:pt x="990" y="1484"/>
                    <a:pt x="990" y="1483"/>
                    <a:pt x="990" y="1483"/>
                  </a:cubicBezTo>
                  <a:cubicBezTo>
                    <a:pt x="1010" y="1476"/>
                    <a:pt x="1031" y="1470"/>
                    <a:pt x="1051" y="1464"/>
                  </a:cubicBezTo>
                  <a:cubicBezTo>
                    <a:pt x="1058" y="1462"/>
                    <a:pt x="1064" y="1460"/>
                    <a:pt x="1071" y="1458"/>
                  </a:cubicBezTo>
                  <a:cubicBezTo>
                    <a:pt x="1080" y="1462"/>
                    <a:pt x="1080" y="1462"/>
                    <a:pt x="1080" y="1462"/>
                  </a:cubicBezTo>
                  <a:cubicBezTo>
                    <a:pt x="1081" y="1460"/>
                    <a:pt x="1081" y="1458"/>
                    <a:pt x="1081" y="1455"/>
                  </a:cubicBezTo>
                  <a:cubicBezTo>
                    <a:pt x="1097" y="1451"/>
                    <a:pt x="1111" y="1448"/>
                    <a:pt x="1126" y="1444"/>
                  </a:cubicBezTo>
                  <a:cubicBezTo>
                    <a:pt x="1127" y="1448"/>
                    <a:pt x="1129" y="1462"/>
                    <a:pt x="1132" y="1485"/>
                  </a:cubicBezTo>
                  <a:cubicBezTo>
                    <a:pt x="1144" y="1485"/>
                    <a:pt x="1144" y="1485"/>
                    <a:pt x="1144" y="1485"/>
                  </a:cubicBezTo>
                  <a:cubicBezTo>
                    <a:pt x="1140" y="1460"/>
                    <a:pt x="1137" y="1444"/>
                    <a:pt x="1137" y="1441"/>
                  </a:cubicBezTo>
                  <a:cubicBezTo>
                    <a:pt x="1144" y="1440"/>
                    <a:pt x="1150" y="1438"/>
                    <a:pt x="1157" y="1437"/>
                  </a:cubicBezTo>
                  <a:cubicBezTo>
                    <a:pt x="1158" y="1437"/>
                    <a:pt x="1158" y="1437"/>
                    <a:pt x="1158" y="1437"/>
                  </a:cubicBezTo>
                  <a:cubicBezTo>
                    <a:pt x="1159" y="1436"/>
                    <a:pt x="1159" y="1436"/>
                    <a:pt x="1159" y="1436"/>
                  </a:cubicBezTo>
                  <a:cubicBezTo>
                    <a:pt x="1201" y="1427"/>
                    <a:pt x="1243" y="1420"/>
                    <a:pt x="1283" y="1414"/>
                  </a:cubicBezTo>
                  <a:cubicBezTo>
                    <a:pt x="1282" y="1415"/>
                    <a:pt x="1282" y="1415"/>
                    <a:pt x="1282" y="1416"/>
                  </a:cubicBezTo>
                  <a:cubicBezTo>
                    <a:pt x="1289" y="1418"/>
                    <a:pt x="1289" y="1418"/>
                    <a:pt x="1289" y="1418"/>
                  </a:cubicBezTo>
                  <a:cubicBezTo>
                    <a:pt x="1291" y="1432"/>
                    <a:pt x="1294" y="1455"/>
                    <a:pt x="1298" y="1485"/>
                  </a:cubicBezTo>
                  <a:cubicBezTo>
                    <a:pt x="1309" y="1485"/>
                    <a:pt x="1309" y="1485"/>
                    <a:pt x="1309" y="1485"/>
                  </a:cubicBezTo>
                  <a:cubicBezTo>
                    <a:pt x="1305" y="1451"/>
                    <a:pt x="1301" y="1426"/>
                    <a:pt x="1300" y="1412"/>
                  </a:cubicBezTo>
                  <a:cubicBezTo>
                    <a:pt x="1334" y="1408"/>
                    <a:pt x="1367" y="1405"/>
                    <a:pt x="1399" y="1405"/>
                  </a:cubicBezTo>
                  <a:cubicBezTo>
                    <a:pt x="1399" y="1393"/>
                    <a:pt x="1399" y="1393"/>
                    <a:pt x="1399" y="1393"/>
                  </a:cubicBezTo>
                  <a:cubicBezTo>
                    <a:pt x="1387" y="1393"/>
                    <a:pt x="1376" y="1393"/>
                    <a:pt x="1364" y="1394"/>
                  </a:cubicBezTo>
                  <a:cubicBezTo>
                    <a:pt x="1368" y="1379"/>
                    <a:pt x="1371" y="1362"/>
                    <a:pt x="1373" y="1345"/>
                  </a:cubicBezTo>
                  <a:cubicBezTo>
                    <a:pt x="1383" y="1341"/>
                    <a:pt x="1392" y="1337"/>
                    <a:pt x="1399" y="1333"/>
                  </a:cubicBezTo>
                  <a:cubicBezTo>
                    <a:pt x="1399" y="1320"/>
                    <a:pt x="1399" y="1320"/>
                    <a:pt x="1399" y="1320"/>
                  </a:cubicBezTo>
                  <a:cubicBezTo>
                    <a:pt x="1392" y="1324"/>
                    <a:pt x="1384" y="1328"/>
                    <a:pt x="1375" y="1331"/>
                  </a:cubicBezTo>
                  <a:cubicBezTo>
                    <a:pt x="1376" y="1318"/>
                    <a:pt x="1376" y="1304"/>
                    <a:pt x="1376" y="1290"/>
                  </a:cubicBezTo>
                  <a:cubicBezTo>
                    <a:pt x="1376" y="1279"/>
                    <a:pt x="1376" y="1269"/>
                    <a:pt x="1375" y="1259"/>
                  </a:cubicBezTo>
                  <a:cubicBezTo>
                    <a:pt x="1383" y="1251"/>
                    <a:pt x="1391" y="1245"/>
                    <a:pt x="1399" y="1239"/>
                  </a:cubicBezTo>
                  <a:cubicBezTo>
                    <a:pt x="1399" y="1225"/>
                    <a:pt x="1399" y="1225"/>
                    <a:pt x="1399" y="1225"/>
                  </a:cubicBezTo>
                  <a:cubicBezTo>
                    <a:pt x="1391" y="1230"/>
                    <a:pt x="1382" y="1236"/>
                    <a:pt x="1375" y="1243"/>
                  </a:cubicBezTo>
                  <a:cubicBezTo>
                    <a:pt x="1374" y="1233"/>
                    <a:pt x="1373" y="1222"/>
                    <a:pt x="1372" y="1212"/>
                  </a:cubicBezTo>
                  <a:cubicBezTo>
                    <a:pt x="1380" y="1205"/>
                    <a:pt x="1389" y="1198"/>
                    <a:pt x="1398" y="1193"/>
                  </a:cubicBezTo>
                  <a:cubicBezTo>
                    <a:pt x="1398" y="1194"/>
                    <a:pt x="1399" y="1196"/>
                    <a:pt x="1399" y="1198"/>
                  </a:cubicBezTo>
                  <a:cubicBezTo>
                    <a:pt x="1399" y="1132"/>
                    <a:pt x="1399" y="1132"/>
                    <a:pt x="1399" y="1132"/>
                  </a:cubicBezTo>
                  <a:cubicBezTo>
                    <a:pt x="1395" y="1114"/>
                    <a:pt x="1393" y="1101"/>
                    <a:pt x="1392" y="1099"/>
                  </a:cubicBezTo>
                  <a:cubicBezTo>
                    <a:pt x="1389" y="1100"/>
                    <a:pt x="1389" y="1100"/>
                    <a:pt x="1389" y="1100"/>
                  </a:cubicBezTo>
                  <a:cubicBezTo>
                    <a:pt x="1390" y="1099"/>
                    <a:pt x="1391" y="1097"/>
                    <a:pt x="1392" y="1096"/>
                  </a:cubicBezTo>
                  <a:cubicBezTo>
                    <a:pt x="1394" y="1096"/>
                    <a:pt x="1396" y="1097"/>
                    <a:pt x="1399" y="1098"/>
                  </a:cubicBezTo>
                  <a:cubicBezTo>
                    <a:pt x="1399" y="1085"/>
                    <a:pt x="1399" y="1085"/>
                    <a:pt x="1399" y="1085"/>
                  </a:cubicBezTo>
                  <a:cubicBezTo>
                    <a:pt x="1394" y="1083"/>
                    <a:pt x="1391" y="1082"/>
                    <a:pt x="1391" y="1082"/>
                  </a:cubicBezTo>
                  <a:cubicBezTo>
                    <a:pt x="1387" y="1081"/>
                    <a:pt x="1387" y="1081"/>
                    <a:pt x="1387" y="1081"/>
                  </a:cubicBezTo>
                  <a:cubicBezTo>
                    <a:pt x="1384" y="1085"/>
                    <a:pt x="1384" y="1085"/>
                    <a:pt x="1384" y="1085"/>
                  </a:cubicBezTo>
                  <a:cubicBezTo>
                    <a:pt x="1380" y="1094"/>
                    <a:pt x="1376" y="1102"/>
                    <a:pt x="1370" y="1109"/>
                  </a:cubicBezTo>
                  <a:cubicBezTo>
                    <a:pt x="1367" y="1097"/>
                    <a:pt x="1363" y="1083"/>
                    <a:pt x="1359" y="1070"/>
                  </a:cubicBezTo>
                  <a:cubicBezTo>
                    <a:pt x="1367" y="1064"/>
                    <a:pt x="1375" y="1059"/>
                    <a:pt x="1383" y="1053"/>
                  </a:cubicBezTo>
                  <a:cubicBezTo>
                    <a:pt x="1387" y="1050"/>
                    <a:pt x="1392" y="1048"/>
                    <a:pt x="1399" y="1047"/>
                  </a:cubicBezTo>
                  <a:cubicBezTo>
                    <a:pt x="1399" y="1035"/>
                    <a:pt x="1399" y="1035"/>
                    <a:pt x="1399" y="1035"/>
                  </a:cubicBezTo>
                  <a:cubicBezTo>
                    <a:pt x="1390" y="1036"/>
                    <a:pt x="1382" y="1039"/>
                    <a:pt x="1377" y="1043"/>
                  </a:cubicBezTo>
                  <a:cubicBezTo>
                    <a:pt x="1370" y="1048"/>
                    <a:pt x="1362" y="1053"/>
                    <a:pt x="1355" y="1058"/>
                  </a:cubicBezTo>
                  <a:cubicBezTo>
                    <a:pt x="1350" y="1040"/>
                    <a:pt x="1344" y="1022"/>
                    <a:pt x="1338" y="1004"/>
                  </a:cubicBezTo>
                  <a:cubicBezTo>
                    <a:pt x="1341" y="1001"/>
                    <a:pt x="1343" y="998"/>
                    <a:pt x="1346" y="995"/>
                  </a:cubicBezTo>
                  <a:cubicBezTo>
                    <a:pt x="1348" y="993"/>
                    <a:pt x="1350" y="992"/>
                    <a:pt x="1352" y="990"/>
                  </a:cubicBezTo>
                  <a:moveTo>
                    <a:pt x="1399" y="990"/>
                  </a:moveTo>
                  <a:cubicBezTo>
                    <a:pt x="1397" y="990"/>
                    <a:pt x="1397" y="990"/>
                    <a:pt x="1397" y="990"/>
                  </a:cubicBezTo>
                  <a:cubicBezTo>
                    <a:pt x="1398" y="992"/>
                    <a:pt x="1398" y="993"/>
                    <a:pt x="1399" y="994"/>
                  </a:cubicBezTo>
                  <a:cubicBezTo>
                    <a:pt x="1399" y="990"/>
                    <a:pt x="1399" y="990"/>
                    <a:pt x="1399" y="990"/>
                  </a:cubicBezTo>
                  <a:moveTo>
                    <a:pt x="588" y="987"/>
                  </a:moveTo>
                  <a:cubicBezTo>
                    <a:pt x="589" y="968"/>
                    <a:pt x="589" y="949"/>
                    <a:pt x="590" y="928"/>
                  </a:cubicBezTo>
                  <a:cubicBezTo>
                    <a:pt x="592" y="928"/>
                    <a:pt x="593" y="927"/>
                    <a:pt x="595" y="926"/>
                  </a:cubicBezTo>
                  <a:cubicBezTo>
                    <a:pt x="604" y="924"/>
                    <a:pt x="613" y="921"/>
                    <a:pt x="622" y="918"/>
                  </a:cubicBezTo>
                  <a:cubicBezTo>
                    <a:pt x="618" y="941"/>
                    <a:pt x="614" y="961"/>
                    <a:pt x="611" y="981"/>
                  </a:cubicBezTo>
                  <a:cubicBezTo>
                    <a:pt x="603" y="983"/>
                    <a:pt x="596" y="985"/>
                    <a:pt x="588" y="987"/>
                  </a:cubicBezTo>
                  <a:moveTo>
                    <a:pt x="623" y="978"/>
                  </a:moveTo>
                  <a:cubicBezTo>
                    <a:pt x="626" y="959"/>
                    <a:pt x="630" y="938"/>
                    <a:pt x="633" y="915"/>
                  </a:cubicBezTo>
                  <a:cubicBezTo>
                    <a:pt x="648" y="912"/>
                    <a:pt x="662" y="909"/>
                    <a:pt x="676" y="906"/>
                  </a:cubicBezTo>
                  <a:cubicBezTo>
                    <a:pt x="668" y="930"/>
                    <a:pt x="660" y="952"/>
                    <a:pt x="653" y="973"/>
                  </a:cubicBezTo>
                  <a:cubicBezTo>
                    <a:pt x="651" y="973"/>
                    <a:pt x="648" y="974"/>
                    <a:pt x="646" y="974"/>
                  </a:cubicBezTo>
                  <a:cubicBezTo>
                    <a:pt x="638" y="975"/>
                    <a:pt x="630" y="977"/>
                    <a:pt x="623" y="978"/>
                  </a:cubicBezTo>
                  <a:moveTo>
                    <a:pt x="187" y="936"/>
                  </a:moveTo>
                  <a:cubicBezTo>
                    <a:pt x="178" y="928"/>
                    <a:pt x="169" y="921"/>
                    <a:pt x="159" y="914"/>
                  </a:cubicBezTo>
                  <a:cubicBezTo>
                    <a:pt x="158" y="908"/>
                    <a:pt x="157" y="903"/>
                    <a:pt x="156" y="897"/>
                  </a:cubicBezTo>
                  <a:cubicBezTo>
                    <a:pt x="165" y="904"/>
                    <a:pt x="175" y="911"/>
                    <a:pt x="185" y="918"/>
                  </a:cubicBezTo>
                  <a:cubicBezTo>
                    <a:pt x="185" y="924"/>
                    <a:pt x="186" y="930"/>
                    <a:pt x="187" y="936"/>
                  </a:cubicBezTo>
                  <a:moveTo>
                    <a:pt x="475" y="966"/>
                  </a:moveTo>
                  <a:cubicBezTo>
                    <a:pt x="466" y="945"/>
                    <a:pt x="457" y="921"/>
                    <a:pt x="449" y="896"/>
                  </a:cubicBezTo>
                  <a:cubicBezTo>
                    <a:pt x="463" y="890"/>
                    <a:pt x="477" y="884"/>
                    <a:pt x="490" y="879"/>
                  </a:cubicBezTo>
                  <a:cubicBezTo>
                    <a:pt x="496" y="904"/>
                    <a:pt x="501" y="927"/>
                    <a:pt x="507" y="949"/>
                  </a:cubicBezTo>
                  <a:cubicBezTo>
                    <a:pt x="496" y="955"/>
                    <a:pt x="485" y="960"/>
                    <a:pt x="475" y="966"/>
                  </a:cubicBezTo>
                  <a:moveTo>
                    <a:pt x="174" y="896"/>
                  </a:moveTo>
                  <a:cubicBezTo>
                    <a:pt x="167" y="890"/>
                    <a:pt x="159" y="885"/>
                    <a:pt x="152" y="880"/>
                  </a:cubicBezTo>
                  <a:cubicBezTo>
                    <a:pt x="151" y="879"/>
                    <a:pt x="151" y="878"/>
                    <a:pt x="151" y="877"/>
                  </a:cubicBezTo>
                  <a:cubicBezTo>
                    <a:pt x="161" y="884"/>
                    <a:pt x="168" y="891"/>
                    <a:pt x="174" y="896"/>
                  </a:cubicBezTo>
                  <a:moveTo>
                    <a:pt x="345" y="968"/>
                  </a:moveTo>
                  <a:cubicBezTo>
                    <a:pt x="335" y="952"/>
                    <a:pt x="326" y="936"/>
                    <a:pt x="317" y="919"/>
                  </a:cubicBezTo>
                  <a:cubicBezTo>
                    <a:pt x="325" y="904"/>
                    <a:pt x="335" y="889"/>
                    <a:pt x="347" y="875"/>
                  </a:cubicBezTo>
                  <a:cubicBezTo>
                    <a:pt x="356" y="894"/>
                    <a:pt x="366" y="913"/>
                    <a:pt x="376" y="930"/>
                  </a:cubicBezTo>
                  <a:cubicBezTo>
                    <a:pt x="364" y="942"/>
                    <a:pt x="354" y="955"/>
                    <a:pt x="345" y="968"/>
                  </a:cubicBezTo>
                  <a:moveTo>
                    <a:pt x="208" y="978"/>
                  </a:moveTo>
                  <a:cubicBezTo>
                    <a:pt x="207" y="964"/>
                    <a:pt x="206" y="951"/>
                    <a:pt x="206" y="938"/>
                  </a:cubicBezTo>
                  <a:cubicBezTo>
                    <a:pt x="206" y="915"/>
                    <a:pt x="208" y="894"/>
                    <a:pt x="212" y="874"/>
                  </a:cubicBezTo>
                  <a:cubicBezTo>
                    <a:pt x="216" y="886"/>
                    <a:pt x="221" y="898"/>
                    <a:pt x="226" y="909"/>
                  </a:cubicBezTo>
                  <a:cubicBezTo>
                    <a:pt x="217" y="937"/>
                    <a:pt x="211" y="961"/>
                    <a:pt x="208" y="978"/>
                  </a:cubicBezTo>
                  <a:moveTo>
                    <a:pt x="281" y="988"/>
                  </a:moveTo>
                  <a:cubicBezTo>
                    <a:pt x="273" y="976"/>
                    <a:pt x="266" y="963"/>
                    <a:pt x="258" y="949"/>
                  </a:cubicBezTo>
                  <a:cubicBezTo>
                    <a:pt x="263" y="924"/>
                    <a:pt x="271" y="897"/>
                    <a:pt x="284" y="872"/>
                  </a:cubicBezTo>
                  <a:cubicBezTo>
                    <a:pt x="291" y="889"/>
                    <a:pt x="297" y="905"/>
                    <a:pt x="305" y="920"/>
                  </a:cubicBezTo>
                  <a:cubicBezTo>
                    <a:pt x="294" y="943"/>
                    <a:pt x="286" y="966"/>
                    <a:pt x="281" y="988"/>
                  </a:cubicBezTo>
                  <a:moveTo>
                    <a:pt x="98" y="942"/>
                  </a:moveTo>
                  <a:cubicBezTo>
                    <a:pt x="86" y="934"/>
                    <a:pt x="74" y="926"/>
                    <a:pt x="61" y="919"/>
                  </a:cubicBezTo>
                  <a:cubicBezTo>
                    <a:pt x="62" y="916"/>
                    <a:pt x="62" y="912"/>
                    <a:pt x="62" y="908"/>
                  </a:cubicBezTo>
                  <a:cubicBezTo>
                    <a:pt x="62" y="893"/>
                    <a:pt x="61" y="879"/>
                    <a:pt x="60" y="864"/>
                  </a:cubicBezTo>
                  <a:cubicBezTo>
                    <a:pt x="71" y="870"/>
                    <a:pt x="82" y="876"/>
                    <a:pt x="92" y="882"/>
                  </a:cubicBezTo>
                  <a:cubicBezTo>
                    <a:pt x="95" y="902"/>
                    <a:pt x="97" y="922"/>
                    <a:pt x="98" y="942"/>
                  </a:cubicBezTo>
                  <a:moveTo>
                    <a:pt x="517" y="944"/>
                  </a:moveTo>
                  <a:cubicBezTo>
                    <a:pt x="512" y="922"/>
                    <a:pt x="506" y="899"/>
                    <a:pt x="501" y="875"/>
                  </a:cubicBezTo>
                  <a:cubicBezTo>
                    <a:pt x="515" y="870"/>
                    <a:pt x="528" y="866"/>
                    <a:pt x="542" y="862"/>
                  </a:cubicBezTo>
                  <a:cubicBezTo>
                    <a:pt x="544" y="886"/>
                    <a:pt x="545" y="909"/>
                    <a:pt x="547" y="931"/>
                  </a:cubicBezTo>
                  <a:cubicBezTo>
                    <a:pt x="537" y="935"/>
                    <a:pt x="527" y="940"/>
                    <a:pt x="517" y="944"/>
                  </a:cubicBezTo>
                  <a:moveTo>
                    <a:pt x="146" y="904"/>
                  </a:moveTo>
                  <a:cubicBezTo>
                    <a:pt x="131" y="893"/>
                    <a:pt x="117" y="884"/>
                    <a:pt x="102" y="875"/>
                  </a:cubicBezTo>
                  <a:cubicBezTo>
                    <a:pt x="102" y="870"/>
                    <a:pt x="101" y="865"/>
                    <a:pt x="100" y="860"/>
                  </a:cubicBezTo>
                  <a:cubicBezTo>
                    <a:pt x="114" y="869"/>
                    <a:pt x="128" y="878"/>
                    <a:pt x="142" y="887"/>
                  </a:cubicBezTo>
                  <a:cubicBezTo>
                    <a:pt x="143" y="893"/>
                    <a:pt x="145" y="899"/>
                    <a:pt x="146" y="904"/>
                  </a:cubicBezTo>
                  <a:moveTo>
                    <a:pt x="558" y="927"/>
                  </a:moveTo>
                  <a:cubicBezTo>
                    <a:pt x="556" y="905"/>
                    <a:pt x="554" y="882"/>
                    <a:pt x="553" y="858"/>
                  </a:cubicBezTo>
                  <a:cubicBezTo>
                    <a:pt x="562" y="856"/>
                    <a:pt x="571" y="854"/>
                    <a:pt x="581" y="852"/>
                  </a:cubicBezTo>
                  <a:cubicBezTo>
                    <a:pt x="580" y="875"/>
                    <a:pt x="579" y="898"/>
                    <a:pt x="579" y="919"/>
                  </a:cubicBezTo>
                  <a:cubicBezTo>
                    <a:pt x="572" y="922"/>
                    <a:pt x="565" y="924"/>
                    <a:pt x="558" y="927"/>
                  </a:cubicBezTo>
                  <a:moveTo>
                    <a:pt x="196" y="922"/>
                  </a:moveTo>
                  <a:cubicBezTo>
                    <a:pt x="195" y="911"/>
                    <a:pt x="194" y="900"/>
                    <a:pt x="194" y="889"/>
                  </a:cubicBezTo>
                  <a:cubicBezTo>
                    <a:pt x="194" y="880"/>
                    <a:pt x="194" y="870"/>
                    <a:pt x="195" y="860"/>
                  </a:cubicBezTo>
                  <a:cubicBezTo>
                    <a:pt x="197" y="858"/>
                    <a:pt x="199" y="855"/>
                    <a:pt x="203" y="849"/>
                  </a:cubicBezTo>
                  <a:cubicBezTo>
                    <a:pt x="203" y="851"/>
                    <a:pt x="204" y="852"/>
                    <a:pt x="204" y="854"/>
                  </a:cubicBezTo>
                  <a:cubicBezTo>
                    <a:pt x="200" y="875"/>
                    <a:pt x="197" y="897"/>
                    <a:pt x="196" y="922"/>
                  </a:cubicBezTo>
                  <a:moveTo>
                    <a:pt x="590" y="915"/>
                  </a:moveTo>
                  <a:cubicBezTo>
                    <a:pt x="591" y="894"/>
                    <a:pt x="591" y="872"/>
                    <a:pt x="592" y="849"/>
                  </a:cubicBezTo>
                  <a:cubicBezTo>
                    <a:pt x="606" y="847"/>
                    <a:pt x="620" y="844"/>
                    <a:pt x="634" y="843"/>
                  </a:cubicBezTo>
                  <a:cubicBezTo>
                    <a:pt x="631" y="865"/>
                    <a:pt x="627" y="886"/>
                    <a:pt x="624" y="906"/>
                  </a:cubicBezTo>
                  <a:cubicBezTo>
                    <a:pt x="613" y="908"/>
                    <a:pt x="602" y="911"/>
                    <a:pt x="592" y="915"/>
                  </a:cubicBezTo>
                  <a:cubicBezTo>
                    <a:pt x="591" y="915"/>
                    <a:pt x="591" y="915"/>
                    <a:pt x="590" y="915"/>
                  </a:cubicBezTo>
                  <a:moveTo>
                    <a:pt x="50" y="913"/>
                  </a:moveTo>
                  <a:cubicBezTo>
                    <a:pt x="37" y="905"/>
                    <a:pt x="23" y="899"/>
                    <a:pt x="10" y="893"/>
                  </a:cubicBezTo>
                  <a:cubicBezTo>
                    <a:pt x="11" y="875"/>
                    <a:pt x="11" y="858"/>
                    <a:pt x="11" y="841"/>
                  </a:cubicBezTo>
                  <a:cubicBezTo>
                    <a:pt x="24" y="847"/>
                    <a:pt x="36" y="852"/>
                    <a:pt x="48" y="858"/>
                  </a:cubicBezTo>
                  <a:cubicBezTo>
                    <a:pt x="50" y="874"/>
                    <a:pt x="50" y="891"/>
                    <a:pt x="50" y="908"/>
                  </a:cubicBezTo>
                  <a:cubicBezTo>
                    <a:pt x="50" y="909"/>
                    <a:pt x="50" y="911"/>
                    <a:pt x="50" y="913"/>
                  </a:cubicBezTo>
                  <a:moveTo>
                    <a:pt x="636" y="902"/>
                  </a:moveTo>
                  <a:cubicBezTo>
                    <a:pt x="639" y="883"/>
                    <a:pt x="642" y="863"/>
                    <a:pt x="646" y="842"/>
                  </a:cubicBezTo>
                  <a:cubicBezTo>
                    <a:pt x="661" y="840"/>
                    <a:pt x="675" y="839"/>
                    <a:pt x="690" y="839"/>
                  </a:cubicBezTo>
                  <a:cubicBezTo>
                    <a:pt x="692" y="839"/>
                    <a:pt x="695" y="839"/>
                    <a:pt x="697" y="840"/>
                  </a:cubicBezTo>
                  <a:cubicBezTo>
                    <a:pt x="691" y="858"/>
                    <a:pt x="686" y="876"/>
                    <a:pt x="680" y="893"/>
                  </a:cubicBezTo>
                  <a:cubicBezTo>
                    <a:pt x="665" y="896"/>
                    <a:pt x="651" y="899"/>
                    <a:pt x="636" y="902"/>
                  </a:cubicBezTo>
                  <a:moveTo>
                    <a:pt x="138" y="870"/>
                  </a:moveTo>
                  <a:cubicBezTo>
                    <a:pt x="124" y="861"/>
                    <a:pt x="110" y="852"/>
                    <a:pt x="97" y="845"/>
                  </a:cubicBezTo>
                  <a:cubicBezTo>
                    <a:pt x="97" y="842"/>
                    <a:pt x="96" y="840"/>
                    <a:pt x="96" y="838"/>
                  </a:cubicBezTo>
                  <a:cubicBezTo>
                    <a:pt x="112" y="848"/>
                    <a:pt x="126" y="858"/>
                    <a:pt x="138" y="867"/>
                  </a:cubicBezTo>
                  <a:cubicBezTo>
                    <a:pt x="137" y="868"/>
                    <a:pt x="137" y="868"/>
                    <a:pt x="137" y="868"/>
                  </a:cubicBezTo>
                  <a:cubicBezTo>
                    <a:pt x="137" y="869"/>
                    <a:pt x="137" y="869"/>
                    <a:pt x="138" y="870"/>
                  </a:cubicBezTo>
                  <a:moveTo>
                    <a:pt x="250" y="933"/>
                  </a:moveTo>
                  <a:cubicBezTo>
                    <a:pt x="246" y="925"/>
                    <a:pt x="242" y="917"/>
                    <a:pt x="238" y="909"/>
                  </a:cubicBezTo>
                  <a:cubicBezTo>
                    <a:pt x="246" y="886"/>
                    <a:pt x="257" y="861"/>
                    <a:pt x="272" y="836"/>
                  </a:cubicBezTo>
                  <a:cubicBezTo>
                    <a:pt x="274" y="843"/>
                    <a:pt x="277" y="850"/>
                    <a:pt x="279" y="857"/>
                  </a:cubicBezTo>
                  <a:cubicBezTo>
                    <a:pt x="265" y="882"/>
                    <a:pt x="256" y="908"/>
                    <a:pt x="250" y="933"/>
                  </a:cubicBezTo>
                  <a:moveTo>
                    <a:pt x="90" y="867"/>
                  </a:moveTo>
                  <a:cubicBezTo>
                    <a:pt x="80" y="861"/>
                    <a:pt x="69" y="855"/>
                    <a:pt x="59" y="850"/>
                  </a:cubicBezTo>
                  <a:cubicBezTo>
                    <a:pt x="59" y="845"/>
                    <a:pt x="58" y="841"/>
                    <a:pt x="58" y="836"/>
                  </a:cubicBezTo>
                  <a:cubicBezTo>
                    <a:pt x="67" y="841"/>
                    <a:pt x="77" y="847"/>
                    <a:pt x="87" y="853"/>
                  </a:cubicBezTo>
                  <a:cubicBezTo>
                    <a:pt x="88" y="857"/>
                    <a:pt x="89" y="862"/>
                    <a:pt x="90" y="867"/>
                  </a:cubicBezTo>
                  <a:moveTo>
                    <a:pt x="385" y="923"/>
                  </a:moveTo>
                  <a:cubicBezTo>
                    <a:pt x="374" y="904"/>
                    <a:pt x="365" y="885"/>
                    <a:pt x="356" y="866"/>
                  </a:cubicBezTo>
                  <a:cubicBezTo>
                    <a:pt x="372" y="849"/>
                    <a:pt x="391" y="833"/>
                    <a:pt x="415" y="820"/>
                  </a:cubicBezTo>
                  <a:cubicBezTo>
                    <a:pt x="421" y="844"/>
                    <a:pt x="428" y="868"/>
                    <a:pt x="435" y="890"/>
                  </a:cubicBezTo>
                  <a:cubicBezTo>
                    <a:pt x="416" y="899"/>
                    <a:pt x="399" y="910"/>
                    <a:pt x="385" y="923"/>
                  </a:cubicBezTo>
                  <a:moveTo>
                    <a:pt x="311" y="908"/>
                  </a:moveTo>
                  <a:cubicBezTo>
                    <a:pt x="304" y="892"/>
                    <a:pt x="297" y="876"/>
                    <a:pt x="291" y="859"/>
                  </a:cubicBezTo>
                  <a:cubicBezTo>
                    <a:pt x="292" y="857"/>
                    <a:pt x="293" y="856"/>
                    <a:pt x="293" y="855"/>
                  </a:cubicBezTo>
                  <a:cubicBezTo>
                    <a:pt x="302" y="841"/>
                    <a:pt x="312" y="828"/>
                    <a:pt x="323" y="815"/>
                  </a:cubicBezTo>
                  <a:cubicBezTo>
                    <a:pt x="329" y="832"/>
                    <a:pt x="335" y="848"/>
                    <a:pt x="342" y="864"/>
                  </a:cubicBezTo>
                  <a:cubicBezTo>
                    <a:pt x="330" y="878"/>
                    <a:pt x="320" y="892"/>
                    <a:pt x="311" y="908"/>
                  </a:cubicBezTo>
                  <a:moveTo>
                    <a:pt x="47" y="844"/>
                  </a:moveTo>
                  <a:cubicBezTo>
                    <a:pt x="35" y="838"/>
                    <a:pt x="23" y="833"/>
                    <a:pt x="11" y="829"/>
                  </a:cubicBezTo>
                  <a:cubicBezTo>
                    <a:pt x="11" y="823"/>
                    <a:pt x="11" y="818"/>
                    <a:pt x="11" y="813"/>
                  </a:cubicBezTo>
                  <a:cubicBezTo>
                    <a:pt x="22" y="818"/>
                    <a:pt x="34" y="824"/>
                    <a:pt x="45" y="830"/>
                  </a:cubicBezTo>
                  <a:cubicBezTo>
                    <a:pt x="46" y="835"/>
                    <a:pt x="47" y="839"/>
                    <a:pt x="47" y="844"/>
                  </a:cubicBezTo>
                  <a:moveTo>
                    <a:pt x="84" y="837"/>
                  </a:moveTo>
                  <a:cubicBezTo>
                    <a:pt x="75" y="831"/>
                    <a:pt x="65" y="826"/>
                    <a:pt x="56" y="821"/>
                  </a:cubicBezTo>
                  <a:cubicBezTo>
                    <a:pt x="55" y="818"/>
                    <a:pt x="55" y="815"/>
                    <a:pt x="54" y="812"/>
                  </a:cubicBezTo>
                  <a:cubicBezTo>
                    <a:pt x="65" y="818"/>
                    <a:pt x="75" y="824"/>
                    <a:pt x="85" y="831"/>
                  </a:cubicBezTo>
                  <a:cubicBezTo>
                    <a:pt x="83" y="831"/>
                    <a:pt x="83" y="831"/>
                    <a:pt x="83" y="831"/>
                  </a:cubicBezTo>
                  <a:cubicBezTo>
                    <a:pt x="84" y="833"/>
                    <a:pt x="84" y="835"/>
                    <a:pt x="84" y="837"/>
                  </a:cubicBezTo>
                  <a:moveTo>
                    <a:pt x="445" y="885"/>
                  </a:moveTo>
                  <a:cubicBezTo>
                    <a:pt x="438" y="863"/>
                    <a:pt x="431" y="839"/>
                    <a:pt x="425" y="814"/>
                  </a:cubicBezTo>
                  <a:cubicBezTo>
                    <a:pt x="440" y="807"/>
                    <a:pt x="456" y="800"/>
                    <a:pt x="473" y="794"/>
                  </a:cubicBezTo>
                  <a:cubicBezTo>
                    <a:pt x="478" y="820"/>
                    <a:pt x="483" y="844"/>
                    <a:pt x="488" y="867"/>
                  </a:cubicBezTo>
                  <a:cubicBezTo>
                    <a:pt x="474" y="873"/>
                    <a:pt x="460" y="879"/>
                    <a:pt x="445" y="885"/>
                  </a:cubicBezTo>
                  <a:moveTo>
                    <a:pt x="43" y="815"/>
                  </a:moveTo>
                  <a:cubicBezTo>
                    <a:pt x="32" y="810"/>
                    <a:pt x="21" y="805"/>
                    <a:pt x="10" y="800"/>
                  </a:cubicBezTo>
                  <a:cubicBezTo>
                    <a:pt x="10" y="796"/>
                    <a:pt x="9" y="792"/>
                    <a:pt x="9" y="788"/>
                  </a:cubicBezTo>
                  <a:cubicBezTo>
                    <a:pt x="22" y="794"/>
                    <a:pt x="35" y="801"/>
                    <a:pt x="47" y="808"/>
                  </a:cubicBezTo>
                  <a:cubicBezTo>
                    <a:pt x="42" y="809"/>
                    <a:pt x="42" y="809"/>
                    <a:pt x="42" y="809"/>
                  </a:cubicBezTo>
                  <a:cubicBezTo>
                    <a:pt x="43" y="811"/>
                    <a:pt x="43" y="813"/>
                    <a:pt x="43" y="815"/>
                  </a:cubicBezTo>
                  <a:moveTo>
                    <a:pt x="287" y="844"/>
                  </a:moveTo>
                  <a:cubicBezTo>
                    <a:pt x="285" y="837"/>
                    <a:pt x="282" y="830"/>
                    <a:pt x="280" y="823"/>
                  </a:cubicBezTo>
                  <a:cubicBezTo>
                    <a:pt x="290" y="808"/>
                    <a:pt x="300" y="794"/>
                    <a:pt x="312" y="780"/>
                  </a:cubicBezTo>
                  <a:cubicBezTo>
                    <a:pt x="314" y="787"/>
                    <a:pt x="317" y="795"/>
                    <a:pt x="319" y="802"/>
                  </a:cubicBezTo>
                  <a:cubicBezTo>
                    <a:pt x="307" y="815"/>
                    <a:pt x="296" y="829"/>
                    <a:pt x="287" y="844"/>
                  </a:cubicBezTo>
                  <a:moveTo>
                    <a:pt x="498" y="863"/>
                  </a:moveTo>
                  <a:cubicBezTo>
                    <a:pt x="494" y="840"/>
                    <a:pt x="489" y="816"/>
                    <a:pt x="484" y="791"/>
                  </a:cubicBezTo>
                  <a:cubicBezTo>
                    <a:pt x="502" y="786"/>
                    <a:pt x="519" y="782"/>
                    <a:pt x="536" y="779"/>
                  </a:cubicBezTo>
                  <a:cubicBezTo>
                    <a:pt x="538" y="803"/>
                    <a:pt x="539" y="827"/>
                    <a:pt x="541" y="849"/>
                  </a:cubicBezTo>
                  <a:cubicBezTo>
                    <a:pt x="527" y="853"/>
                    <a:pt x="513" y="858"/>
                    <a:pt x="498" y="863"/>
                  </a:cubicBezTo>
                  <a:moveTo>
                    <a:pt x="232" y="894"/>
                  </a:moveTo>
                  <a:cubicBezTo>
                    <a:pt x="226" y="881"/>
                    <a:pt x="221" y="867"/>
                    <a:pt x="216" y="853"/>
                  </a:cubicBezTo>
                  <a:cubicBezTo>
                    <a:pt x="219" y="840"/>
                    <a:pt x="222" y="829"/>
                    <a:pt x="226" y="818"/>
                  </a:cubicBezTo>
                  <a:cubicBezTo>
                    <a:pt x="235" y="806"/>
                    <a:pt x="246" y="792"/>
                    <a:pt x="259" y="778"/>
                  </a:cubicBezTo>
                  <a:cubicBezTo>
                    <a:pt x="261" y="793"/>
                    <a:pt x="265" y="807"/>
                    <a:pt x="268" y="821"/>
                  </a:cubicBezTo>
                  <a:cubicBezTo>
                    <a:pt x="253" y="846"/>
                    <a:pt x="241" y="871"/>
                    <a:pt x="232" y="894"/>
                  </a:cubicBezTo>
                  <a:moveTo>
                    <a:pt x="552" y="846"/>
                  </a:moveTo>
                  <a:cubicBezTo>
                    <a:pt x="550" y="824"/>
                    <a:pt x="549" y="801"/>
                    <a:pt x="547" y="777"/>
                  </a:cubicBezTo>
                  <a:cubicBezTo>
                    <a:pt x="559" y="776"/>
                    <a:pt x="571" y="774"/>
                    <a:pt x="583" y="774"/>
                  </a:cubicBezTo>
                  <a:cubicBezTo>
                    <a:pt x="583" y="796"/>
                    <a:pt x="582" y="818"/>
                    <a:pt x="581" y="839"/>
                  </a:cubicBezTo>
                  <a:cubicBezTo>
                    <a:pt x="571" y="841"/>
                    <a:pt x="562" y="844"/>
                    <a:pt x="552" y="846"/>
                  </a:cubicBezTo>
                  <a:moveTo>
                    <a:pt x="592" y="837"/>
                  </a:moveTo>
                  <a:cubicBezTo>
                    <a:pt x="593" y="816"/>
                    <a:pt x="594" y="795"/>
                    <a:pt x="594" y="773"/>
                  </a:cubicBezTo>
                  <a:cubicBezTo>
                    <a:pt x="601" y="773"/>
                    <a:pt x="608" y="772"/>
                    <a:pt x="614" y="772"/>
                  </a:cubicBezTo>
                  <a:cubicBezTo>
                    <a:pt x="625" y="772"/>
                    <a:pt x="635" y="773"/>
                    <a:pt x="645" y="773"/>
                  </a:cubicBezTo>
                  <a:cubicBezTo>
                    <a:pt x="642" y="793"/>
                    <a:pt x="639" y="812"/>
                    <a:pt x="636" y="831"/>
                  </a:cubicBezTo>
                  <a:cubicBezTo>
                    <a:pt x="622" y="832"/>
                    <a:pt x="607" y="834"/>
                    <a:pt x="592" y="837"/>
                  </a:cubicBezTo>
                  <a:moveTo>
                    <a:pt x="351" y="855"/>
                  </a:moveTo>
                  <a:cubicBezTo>
                    <a:pt x="344" y="839"/>
                    <a:pt x="338" y="823"/>
                    <a:pt x="332" y="806"/>
                  </a:cubicBezTo>
                  <a:cubicBezTo>
                    <a:pt x="352" y="787"/>
                    <a:pt x="374" y="770"/>
                    <a:pt x="401" y="757"/>
                  </a:cubicBezTo>
                  <a:cubicBezTo>
                    <a:pt x="404" y="775"/>
                    <a:pt x="408" y="791"/>
                    <a:pt x="412" y="808"/>
                  </a:cubicBezTo>
                  <a:cubicBezTo>
                    <a:pt x="388" y="821"/>
                    <a:pt x="367" y="837"/>
                    <a:pt x="351" y="855"/>
                  </a:cubicBezTo>
                  <a:moveTo>
                    <a:pt x="240" y="782"/>
                  </a:moveTo>
                  <a:cubicBezTo>
                    <a:pt x="245" y="772"/>
                    <a:pt x="250" y="762"/>
                    <a:pt x="255" y="753"/>
                  </a:cubicBezTo>
                  <a:cubicBezTo>
                    <a:pt x="255" y="757"/>
                    <a:pt x="256" y="760"/>
                    <a:pt x="256" y="763"/>
                  </a:cubicBezTo>
                  <a:cubicBezTo>
                    <a:pt x="251" y="770"/>
                    <a:pt x="245" y="776"/>
                    <a:pt x="240" y="782"/>
                  </a:cubicBezTo>
                  <a:moveTo>
                    <a:pt x="422" y="803"/>
                  </a:moveTo>
                  <a:cubicBezTo>
                    <a:pt x="418" y="786"/>
                    <a:pt x="415" y="770"/>
                    <a:pt x="411" y="752"/>
                  </a:cubicBezTo>
                  <a:cubicBezTo>
                    <a:pt x="427" y="745"/>
                    <a:pt x="444" y="739"/>
                    <a:pt x="463" y="733"/>
                  </a:cubicBezTo>
                  <a:cubicBezTo>
                    <a:pt x="466" y="750"/>
                    <a:pt x="468" y="767"/>
                    <a:pt x="471" y="783"/>
                  </a:cubicBezTo>
                  <a:cubicBezTo>
                    <a:pt x="453" y="788"/>
                    <a:pt x="437" y="795"/>
                    <a:pt x="422" y="803"/>
                  </a:cubicBezTo>
                  <a:moveTo>
                    <a:pt x="277" y="808"/>
                  </a:moveTo>
                  <a:cubicBezTo>
                    <a:pt x="273" y="795"/>
                    <a:pt x="271" y="781"/>
                    <a:pt x="268" y="767"/>
                  </a:cubicBezTo>
                  <a:cubicBezTo>
                    <a:pt x="279" y="756"/>
                    <a:pt x="290" y="744"/>
                    <a:pt x="302" y="733"/>
                  </a:cubicBezTo>
                  <a:cubicBezTo>
                    <a:pt x="304" y="744"/>
                    <a:pt x="306" y="755"/>
                    <a:pt x="309" y="766"/>
                  </a:cubicBezTo>
                  <a:cubicBezTo>
                    <a:pt x="297" y="780"/>
                    <a:pt x="286" y="794"/>
                    <a:pt x="277" y="808"/>
                  </a:cubicBezTo>
                  <a:moveTo>
                    <a:pt x="206" y="825"/>
                  </a:moveTo>
                  <a:cubicBezTo>
                    <a:pt x="205" y="821"/>
                    <a:pt x="204" y="817"/>
                    <a:pt x="203" y="813"/>
                  </a:cubicBezTo>
                  <a:cubicBezTo>
                    <a:pt x="205" y="801"/>
                    <a:pt x="208" y="789"/>
                    <a:pt x="212" y="778"/>
                  </a:cubicBezTo>
                  <a:cubicBezTo>
                    <a:pt x="215" y="774"/>
                    <a:pt x="229" y="756"/>
                    <a:pt x="252" y="730"/>
                  </a:cubicBezTo>
                  <a:cubicBezTo>
                    <a:pt x="252" y="732"/>
                    <a:pt x="252" y="733"/>
                    <a:pt x="252" y="734"/>
                  </a:cubicBezTo>
                  <a:cubicBezTo>
                    <a:pt x="239" y="758"/>
                    <a:pt x="226" y="783"/>
                    <a:pt x="217" y="811"/>
                  </a:cubicBezTo>
                  <a:cubicBezTo>
                    <a:pt x="213" y="816"/>
                    <a:pt x="209" y="820"/>
                    <a:pt x="206" y="825"/>
                  </a:cubicBezTo>
                  <a:moveTo>
                    <a:pt x="482" y="780"/>
                  </a:moveTo>
                  <a:cubicBezTo>
                    <a:pt x="479" y="763"/>
                    <a:pt x="476" y="747"/>
                    <a:pt x="474" y="730"/>
                  </a:cubicBezTo>
                  <a:cubicBezTo>
                    <a:pt x="478" y="729"/>
                    <a:pt x="481" y="728"/>
                    <a:pt x="485" y="727"/>
                  </a:cubicBezTo>
                  <a:cubicBezTo>
                    <a:pt x="501" y="724"/>
                    <a:pt x="517" y="721"/>
                    <a:pt x="533" y="718"/>
                  </a:cubicBezTo>
                  <a:cubicBezTo>
                    <a:pt x="534" y="735"/>
                    <a:pt x="535" y="752"/>
                    <a:pt x="535" y="768"/>
                  </a:cubicBezTo>
                  <a:cubicBezTo>
                    <a:pt x="517" y="771"/>
                    <a:pt x="499" y="775"/>
                    <a:pt x="482" y="780"/>
                  </a:cubicBezTo>
                  <a:moveTo>
                    <a:pt x="547" y="766"/>
                  </a:moveTo>
                  <a:cubicBezTo>
                    <a:pt x="546" y="750"/>
                    <a:pt x="545" y="733"/>
                    <a:pt x="544" y="716"/>
                  </a:cubicBezTo>
                  <a:cubicBezTo>
                    <a:pt x="558" y="714"/>
                    <a:pt x="572" y="712"/>
                    <a:pt x="585" y="711"/>
                  </a:cubicBezTo>
                  <a:cubicBezTo>
                    <a:pt x="585" y="728"/>
                    <a:pt x="584" y="746"/>
                    <a:pt x="584" y="762"/>
                  </a:cubicBezTo>
                  <a:cubicBezTo>
                    <a:pt x="571" y="763"/>
                    <a:pt x="559" y="764"/>
                    <a:pt x="547" y="766"/>
                  </a:cubicBezTo>
                  <a:moveTo>
                    <a:pt x="328" y="794"/>
                  </a:moveTo>
                  <a:cubicBezTo>
                    <a:pt x="326" y="786"/>
                    <a:pt x="323" y="778"/>
                    <a:pt x="321" y="770"/>
                  </a:cubicBezTo>
                  <a:cubicBezTo>
                    <a:pt x="332" y="759"/>
                    <a:pt x="343" y="748"/>
                    <a:pt x="355" y="738"/>
                  </a:cubicBezTo>
                  <a:cubicBezTo>
                    <a:pt x="367" y="728"/>
                    <a:pt x="379" y="719"/>
                    <a:pt x="392" y="711"/>
                  </a:cubicBezTo>
                  <a:cubicBezTo>
                    <a:pt x="394" y="722"/>
                    <a:pt x="396" y="734"/>
                    <a:pt x="398" y="745"/>
                  </a:cubicBezTo>
                  <a:cubicBezTo>
                    <a:pt x="372" y="758"/>
                    <a:pt x="348" y="775"/>
                    <a:pt x="328" y="794"/>
                  </a:cubicBezTo>
                  <a:moveTo>
                    <a:pt x="595" y="762"/>
                  </a:moveTo>
                  <a:cubicBezTo>
                    <a:pt x="595" y="745"/>
                    <a:pt x="596" y="728"/>
                    <a:pt x="597" y="710"/>
                  </a:cubicBezTo>
                  <a:cubicBezTo>
                    <a:pt x="617" y="708"/>
                    <a:pt x="636" y="707"/>
                    <a:pt x="655" y="707"/>
                  </a:cubicBezTo>
                  <a:cubicBezTo>
                    <a:pt x="655" y="707"/>
                    <a:pt x="655" y="707"/>
                    <a:pt x="655" y="707"/>
                  </a:cubicBezTo>
                  <a:cubicBezTo>
                    <a:pt x="652" y="726"/>
                    <a:pt x="650" y="744"/>
                    <a:pt x="647" y="762"/>
                  </a:cubicBezTo>
                  <a:cubicBezTo>
                    <a:pt x="636" y="762"/>
                    <a:pt x="626" y="762"/>
                    <a:pt x="616" y="762"/>
                  </a:cubicBezTo>
                  <a:cubicBezTo>
                    <a:pt x="609" y="762"/>
                    <a:pt x="602" y="762"/>
                    <a:pt x="595" y="762"/>
                  </a:cubicBezTo>
                  <a:moveTo>
                    <a:pt x="266" y="757"/>
                  </a:moveTo>
                  <a:cubicBezTo>
                    <a:pt x="265" y="752"/>
                    <a:pt x="265" y="753"/>
                    <a:pt x="264" y="747"/>
                  </a:cubicBezTo>
                  <a:cubicBezTo>
                    <a:pt x="275" y="729"/>
                    <a:pt x="286" y="713"/>
                    <a:pt x="298" y="701"/>
                  </a:cubicBezTo>
                  <a:cubicBezTo>
                    <a:pt x="298" y="701"/>
                    <a:pt x="297" y="702"/>
                    <a:pt x="297" y="702"/>
                  </a:cubicBezTo>
                  <a:cubicBezTo>
                    <a:pt x="297" y="706"/>
                    <a:pt x="299" y="717"/>
                    <a:pt x="301" y="727"/>
                  </a:cubicBezTo>
                  <a:cubicBezTo>
                    <a:pt x="288" y="739"/>
                    <a:pt x="277" y="746"/>
                    <a:pt x="266" y="757"/>
                  </a:cubicBezTo>
                  <a:moveTo>
                    <a:pt x="298" y="701"/>
                  </a:moveTo>
                  <a:cubicBezTo>
                    <a:pt x="298" y="701"/>
                    <a:pt x="298" y="701"/>
                    <a:pt x="298" y="701"/>
                  </a:cubicBezTo>
                  <a:cubicBezTo>
                    <a:pt x="298" y="701"/>
                    <a:pt x="298" y="701"/>
                    <a:pt x="298" y="701"/>
                  </a:cubicBezTo>
                  <a:cubicBezTo>
                    <a:pt x="298" y="701"/>
                    <a:pt x="298" y="701"/>
                    <a:pt x="298" y="701"/>
                  </a:cubicBezTo>
                  <a:moveTo>
                    <a:pt x="225" y="744"/>
                  </a:moveTo>
                  <a:cubicBezTo>
                    <a:pt x="232" y="726"/>
                    <a:pt x="240" y="709"/>
                    <a:pt x="249" y="693"/>
                  </a:cubicBezTo>
                  <a:cubicBezTo>
                    <a:pt x="249" y="700"/>
                    <a:pt x="250" y="708"/>
                    <a:pt x="250" y="715"/>
                  </a:cubicBezTo>
                  <a:cubicBezTo>
                    <a:pt x="240" y="726"/>
                    <a:pt x="232" y="736"/>
                    <a:pt x="225" y="744"/>
                  </a:cubicBezTo>
                  <a:moveTo>
                    <a:pt x="409" y="740"/>
                  </a:moveTo>
                  <a:cubicBezTo>
                    <a:pt x="407" y="728"/>
                    <a:pt x="405" y="716"/>
                    <a:pt x="403" y="704"/>
                  </a:cubicBezTo>
                  <a:cubicBezTo>
                    <a:pt x="419" y="694"/>
                    <a:pt x="437" y="686"/>
                    <a:pt x="455" y="678"/>
                  </a:cubicBezTo>
                  <a:cubicBezTo>
                    <a:pt x="457" y="693"/>
                    <a:pt x="459" y="707"/>
                    <a:pt x="461" y="721"/>
                  </a:cubicBezTo>
                  <a:cubicBezTo>
                    <a:pt x="443" y="727"/>
                    <a:pt x="425" y="733"/>
                    <a:pt x="409" y="740"/>
                  </a:cubicBezTo>
                  <a:moveTo>
                    <a:pt x="318" y="756"/>
                  </a:moveTo>
                  <a:cubicBezTo>
                    <a:pt x="316" y="745"/>
                    <a:pt x="314" y="734"/>
                    <a:pt x="312" y="723"/>
                  </a:cubicBezTo>
                  <a:cubicBezTo>
                    <a:pt x="334" y="703"/>
                    <a:pt x="358" y="683"/>
                    <a:pt x="385" y="664"/>
                  </a:cubicBezTo>
                  <a:cubicBezTo>
                    <a:pt x="387" y="675"/>
                    <a:pt x="389" y="687"/>
                    <a:pt x="390" y="698"/>
                  </a:cubicBezTo>
                  <a:cubicBezTo>
                    <a:pt x="375" y="707"/>
                    <a:pt x="361" y="717"/>
                    <a:pt x="348" y="728"/>
                  </a:cubicBezTo>
                  <a:cubicBezTo>
                    <a:pt x="337" y="737"/>
                    <a:pt x="327" y="747"/>
                    <a:pt x="318" y="756"/>
                  </a:cubicBezTo>
                  <a:moveTo>
                    <a:pt x="472" y="719"/>
                  </a:moveTo>
                  <a:cubicBezTo>
                    <a:pt x="470" y="704"/>
                    <a:pt x="468" y="689"/>
                    <a:pt x="466" y="674"/>
                  </a:cubicBezTo>
                  <a:cubicBezTo>
                    <a:pt x="486" y="666"/>
                    <a:pt x="507" y="660"/>
                    <a:pt x="530" y="655"/>
                  </a:cubicBezTo>
                  <a:cubicBezTo>
                    <a:pt x="530" y="673"/>
                    <a:pt x="531" y="689"/>
                    <a:pt x="532" y="706"/>
                  </a:cubicBezTo>
                  <a:cubicBezTo>
                    <a:pt x="516" y="709"/>
                    <a:pt x="500" y="712"/>
                    <a:pt x="483" y="716"/>
                  </a:cubicBezTo>
                  <a:cubicBezTo>
                    <a:pt x="479" y="716"/>
                    <a:pt x="476" y="718"/>
                    <a:pt x="472" y="719"/>
                  </a:cubicBezTo>
                  <a:moveTo>
                    <a:pt x="543" y="704"/>
                  </a:moveTo>
                  <a:cubicBezTo>
                    <a:pt x="542" y="688"/>
                    <a:pt x="542" y="671"/>
                    <a:pt x="541" y="653"/>
                  </a:cubicBezTo>
                  <a:cubicBezTo>
                    <a:pt x="556" y="650"/>
                    <a:pt x="572" y="648"/>
                    <a:pt x="588" y="646"/>
                  </a:cubicBezTo>
                  <a:cubicBezTo>
                    <a:pt x="587" y="664"/>
                    <a:pt x="586" y="682"/>
                    <a:pt x="586" y="699"/>
                  </a:cubicBezTo>
                  <a:cubicBezTo>
                    <a:pt x="572" y="700"/>
                    <a:pt x="558" y="702"/>
                    <a:pt x="543" y="704"/>
                  </a:cubicBezTo>
                  <a:moveTo>
                    <a:pt x="597" y="698"/>
                  </a:moveTo>
                  <a:cubicBezTo>
                    <a:pt x="598" y="681"/>
                    <a:pt x="598" y="663"/>
                    <a:pt x="599" y="645"/>
                  </a:cubicBezTo>
                  <a:cubicBezTo>
                    <a:pt x="616" y="644"/>
                    <a:pt x="634" y="643"/>
                    <a:pt x="652" y="643"/>
                  </a:cubicBezTo>
                  <a:cubicBezTo>
                    <a:pt x="656" y="643"/>
                    <a:pt x="661" y="643"/>
                    <a:pt x="665" y="643"/>
                  </a:cubicBezTo>
                  <a:cubicBezTo>
                    <a:pt x="662" y="661"/>
                    <a:pt x="660" y="678"/>
                    <a:pt x="657" y="695"/>
                  </a:cubicBezTo>
                  <a:cubicBezTo>
                    <a:pt x="656" y="695"/>
                    <a:pt x="656" y="695"/>
                    <a:pt x="655" y="695"/>
                  </a:cubicBezTo>
                  <a:cubicBezTo>
                    <a:pt x="636" y="695"/>
                    <a:pt x="617" y="696"/>
                    <a:pt x="597" y="698"/>
                  </a:cubicBezTo>
                  <a:moveTo>
                    <a:pt x="261" y="704"/>
                  </a:moveTo>
                  <a:cubicBezTo>
                    <a:pt x="260" y="694"/>
                    <a:pt x="259" y="684"/>
                    <a:pt x="259" y="674"/>
                  </a:cubicBezTo>
                  <a:cubicBezTo>
                    <a:pt x="263" y="667"/>
                    <a:pt x="267" y="660"/>
                    <a:pt x="271" y="654"/>
                  </a:cubicBezTo>
                  <a:cubicBezTo>
                    <a:pt x="276" y="648"/>
                    <a:pt x="285" y="638"/>
                    <a:pt x="298" y="625"/>
                  </a:cubicBezTo>
                  <a:cubicBezTo>
                    <a:pt x="297" y="637"/>
                    <a:pt x="296" y="649"/>
                    <a:pt x="296" y="660"/>
                  </a:cubicBezTo>
                  <a:cubicBezTo>
                    <a:pt x="296" y="662"/>
                    <a:pt x="296" y="663"/>
                    <a:pt x="296" y="664"/>
                  </a:cubicBezTo>
                  <a:cubicBezTo>
                    <a:pt x="295" y="666"/>
                    <a:pt x="293" y="669"/>
                    <a:pt x="292" y="671"/>
                  </a:cubicBezTo>
                  <a:cubicBezTo>
                    <a:pt x="291" y="673"/>
                    <a:pt x="290" y="675"/>
                    <a:pt x="288" y="676"/>
                  </a:cubicBezTo>
                  <a:cubicBezTo>
                    <a:pt x="278" y="686"/>
                    <a:pt x="269" y="695"/>
                    <a:pt x="261" y="704"/>
                  </a:cubicBezTo>
                  <a:moveTo>
                    <a:pt x="401" y="692"/>
                  </a:moveTo>
                  <a:cubicBezTo>
                    <a:pt x="399" y="680"/>
                    <a:pt x="397" y="668"/>
                    <a:pt x="396" y="657"/>
                  </a:cubicBezTo>
                  <a:cubicBezTo>
                    <a:pt x="397" y="656"/>
                    <a:pt x="399" y="654"/>
                    <a:pt x="400" y="653"/>
                  </a:cubicBezTo>
                  <a:cubicBezTo>
                    <a:pt x="415" y="644"/>
                    <a:pt x="431" y="634"/>
                    <a:pt x="448" y="625"/>
                  </a:cubicBezTo>
                  <a:cubicBezTo>
                    <a:pt x="450" y="639"/>
                    <a:pt x="451" y="653"/>
                    <a:pt x="453" y="666"/>
                  </a:cubicBezTo>
                  <a:cubicBezTo>
                    <a:pt x="435" y="674"/>
                    <a:pt x="417" y="682"/>
                    <a:pt x="401" y="692"/>
                  </a:cubicBezTo>
                  <a:moveTo>
                    <a:pt x="310" y="709"/>
                  </a:moveTo>
                  <a:cubicBezTo>
                    <a:pt x="309" y="698"/>
                    <a:pt x="308" y="686"/>
                    <a:pt x="307" y="674"/>
                  </a:cubicBezTo>
                  <a:cubicBezTo>
                    <a:pt x="329" y="655"/>
                    <a:pt x="353" y="635"/>
                    <a:pt x="380" y="615"/>
                  </a:cubicBezTo>
                  <a:cubicBezTo>
                    <a:pt x="381" y="627"/>
                    <a:pt x="382" y="639"/>
                    <a:pt x="384" y="651"/>
                  </a:cubicBezTo>
                  <a:cubicBezTo>
                    <a:pt x="357" y="669"/>
                    <a:pt x="332" y="689"/>
                    <a:pt x="310" y="709"/>
                  </a:cubicBezTo>
                  <a:moveTo>
                    <a:pt x="464" y="662"/>
                  </a:moveTo>
                  <a:cubicBezTo>
                    <a:pt x="462" y="648"/>
                    <a:pt x="460" y="634"/>
                    <a:pt x="459" y="620"/>
                  </a:cubicBezTo>
                  <a:cubicBezTo>
                    <a:pt x="480" y="609"/>
                    <a:pt x="503" y="599"/>
                    <a:pt x="527" y="591"/>
                  </a:cubicBezTo>
                  <a:cubicBezTo>
                    <a:pt x="528" y="609"/>
                    <a:pt x="529" y="626"/>
                    <a:pt x="529" y="643"/>
                  </a:cubicBezTo>
                  <a:cubicBezTo>
                    <a:pt x="506" y="648"/>
                    <a:pt x="485" y="654"/>
                    <a:pt x="464" y="662"/>
                  </a:cubicBezTo>
                  <a:moveTo>
                    <a:pt x="307" y="647"/>
                  </a:moveTo>
                  <a:cubicBezTo>
                    <a:pt x="308" y="636"/>
                    <a:pt x="309" y="624"/>
                    <a:pt x="310" y="613"/>
                  </a:cubicBezTo>
                  <a:cubicBezTo>
                    <a:pt x="320" y="603"/>
                    <a:pt x="332" y="593"/>
                    <a:pt x="345" y="582"/>
                  </a:cubicBezTo>
                  <a:cubicBezTo>
                    <a:pt x="334" y="604"/>
                    <a:pt x="321" y="626"/>
                    <a:pt x="307" y="647"/>
                  </a:cubicBezTo>
                  <a:moveTo>
                    <a:pt x="540" y="641"/>
                  </a:moveTo>
                  <a:cubicBezTo>
                    <a:pt x="540" y="624"/>
                    <a:pt x="539" y="606"/>
                    <a:pt x="538" y="588"/>
                  </a:cubicBezTo>
                  <a:cubicBezTo>
                    <a:pt x="555" y="583"/>
                    <a:pt x="573" y="579"/>
                    <a:pt x="591" y="575"/>
                  </a:cubicBezTo>
                  <a:cubicBezTo>
                    <a:pt x="590" y="595"/>
                    <a:pt x="589" y="615"/>
                    <a:pt x="588" y="634"/>
                  </a:cubicBezTo>
                  <a:cubicBezTo>
                    <a:pt x="572" y="636"/>
                    <a:pt x="556" y="638"/>
                    <a:pt x="540" y="641"/>
                  </a:cubicBezTo>
                  <a:moveTo>
                    <a:pt x="394" y="643"/>
                  </a:moveTo>
                  <a:cubicBezTo>
                    <a:pt x="393" y="632"/>
                    <a:pt x="392" y="620"/>
                    <a:pt x="391" y="608"/>
                  </a:cubicBezTo>
                  <a:cubicBezTo>
                    <a:pt x="407" y="596"/>
                    <a:pt x="425" y="585"/>
                    <a:pt x="443" y="575"/>
                  </a:cubicBezTo>
                  <a:cubicBezTo>
                    <a:pt x="444" y="587"/>
                    <a:pt x="446" y="600"/>
                    <a:pt x="447" y="612"/>
                  </a:cubicBezTo>
                  <a:cubicBezTo>
                    <a:pt x="428" y="622"/>
                    <a:pt x="410" y="633"/>
                    <a:pt x="394" y="643"/>
                  </a:cubicBezTo>
                  <a:moveTo>
                    <a:pt x="599" y="633"/>
                  </a:moveTo>
                  <a:cubicBezTo>
                    <a:pt x="600" y="614"/>
                    <a:pt x="601" y="594"/>
                    <a:pt x="602" y="573"/>
                  </a:cubicBezTo>
                  <a:cubicBezTo>
                    <a:pt x="625" y="570"/>
                    <a:pt x="648" y="568"/>
                    <a:pt x="673" y="568"/>
                  </a:cubicBezTo>
                  <a:cubicBezTo>
                    <a:pt x="674" y="568"/>
                    <a:pt x="674" y="568"/>
                    <a:pt x="675" y="568"/>
                  </a:cubicBezTo>
                  <a:cubicBezTo>
                    <a:pt x="672" y="589"/>
                    <a:pt x="669" y="611"/>
                    <a:pt x="666" y="631"/>
                  </a:cubicBezTo>
                  <a:cubicBezTo>
                    <a:pt x="662" y="631"/>
                    <a:pt x="657" y="631"/>
                    <a:pt x="653" y="631"/>
                  </a:cubicBezTo>
                  <a:cubicBezTo>
                    <a:pt x="634" y="631"/>
                    <a:pt x="617" y="632"/>
                    <a:pt x="599" y="633"/>
                  </a:cubicBezTo>
                  <a:moveTo>
                    <a:pt x="321" y="647"/>
                  </a:moveTo>
                  <a:cubicBezTo>
                    <a:pt x="338" y="621"/>
                    <a:pt x="353" y="594"/>
                    <a:pt x="364" y="566"/>
                  </a:cubicBezTo>
                  <a:cubicBezTo>
                    <a:pt x="368" y="563"/>
                    <a:pt x="372" y="560"/>
                    <a:pt x="376" y="557"/>
                  </a:cubicBezTo>
                  <a:cubicBezTo>
                    <a:pt x="377" y="572"/>
                    <a:pt x="378" y="587"/>
                    <a:pt x="379" y="602"/>
                  </a:cubicBezTo>
                  <a:cubicBezTo>
                    <a:pt x="358" y="616"/>
                    <a:pt x="339" y="632"/>
                    <a:pt x="321" y="647"/>
                  </a:cubicBezTo>
                  <a:moveTo>
                    <a:pt x="458" y="607"/>
                  </a:moveTo>
                  <a:cubicBezTo>
                    <a:pt x="456" y="594"/>
                    <a:pt x="455" y="582"/>
                    <a:pt x="454" y="569"/>
                  </a:cubicBezTo>
                  <a:cubicBezTo>
                    <a:pt x="477" y="556"/>
                    <a:pt x="501" y="545"/>
                    <a:pt x="526" y="536"/>
                  </a:cubicBezTo>
                  <a:cubicBezTo>
                    <a:pt x="526" y="550"/>
                    <a:pt x="526" y="565"/>
                    <a:pt x="527" y="579"/>
                  </a:cubicBezTo>
                  <a:cubicBezTo>
                    <a:pt x="502" y="587"/>
                    <a:pt x="479" y="596"/>
                    <a:pt x="458" y="607"/>
                  </a:cubicBezTo>
                  <a:moveTo>
                    <a:pt x="371" y="546"/>
                  </a:moveTo>
                  <a:cubicBezTo>
                    <a:pt x="373" y="541"/>
                    <a:pt x="374" y="536"/>
                    <a:pt x="375" y="532"/>
                  </a:cubicBezTo>
                  <a:cubicBezTo>
                    <a:pt x="375" y="535"/>
                    <a:pt x="375" y="539"/>
                    <a:pt x="376" y="543"/>
                  </a:cubicBezTo>
                  <a:cubicBezTo>
                    <a:pt x="374" y="544"/>
                    <a:pt x="373" y="545"/>
                    <a:pt x="371" y="546"/>
                  </a:cubicBezTo>
                  <a:moveTo>
                    <a:pt x="313" y="594"/>
                  </a:moveTo>
                  <a:cubicBezTo>
                    <a:pt x="313" y="594"/>
                    <a:pt x="313" y="594"/>
                    <a:pt x="313" y="593"/>
                  </a:cubicBezTo>
                  <a:cubicBezTo>
                    <a:pt x="311" y="593"/>
                    <a:pt x="311" y="593"/>
                    <a:pt x="311" y="593"/>
                  </a:cubicBezTo>
                  <a:cubicBezTo>
                    <a:pt x="313" y="590"/>
                    <a:pt x="315" y="588"/>
                    <a:pt x="316" y="586"/>
                  </a:cubicBezTo>
                  <a:cubicBezTo>
                    <a:pt x="326" y="571"/>
                    <a:pt x="335" y="559"/>
                    <a:pt x="341" y="548"/>
                  </a:cubicBezTo>
                  <a:cubicBezTo>
                    <a:pt x="343" y="546"/>
                    <a:pt x="351" y="537"/>
                    <a:pt x="365" y="524"/>
                  </a:cubicBezTo>
                  <a:cubicBezTo>
                    <a:pt x="363" y="536"/>
                    <a:pt x="359" y="547"/>
                    <a:pt x="355" y="558"/>
                  </a:cubicBezTo>
                  <a:cubicBezTo>
                    <a:pt x="339" y="571"/>
                    <a:pt x="325" y="583"/>
                    <a:pt x="313" y="594"/>
                  </a:cubicBezTo>
                  <a:moveTo>
                    <a:pt x="538" y="576"/>
                  </a:moveTo>
                  <a:cubicBezTo>
                    <a:pt x="538" y="561"/>
                    <a:pt x="537" y="546"/>
                    <a:pt x="537" y="532"/>
                  </a:cubicBezTo>
                  <a:cubicBezTo>
                    <a:pt x="555" y="525"/>
                    <a:pt x="574" y="519"/>
                    <a:pt x="593" y="515"/>
                  </a:cubicBezTo>
                  <a:cubicBezTo>
                    <a:pt x="593" y="531"/>
                    <a:pt x="592" y="547"/>
                    <a:pt x="591" y="563"/>
                  </a:cubicBezTo>
                  <a:cubicBezTo>
                    <a:pt x="573" y="566"/>
                    <a:pt x="555" y="571"/>
                    <a:pt x="538" y="576"/>
                  </a:cubicBezTo>
                  <a:moveTo>
                    <a:pt x="390" y="594"/>
                  </a:moveTo>
                  <a:cubicBezTo>
                    <a:pt x="389" y="579"/>
                    <a:pt x="388" y="564"/>
                    <a:pt x="387" y="549"/>
                  </a:cubicBezTo>
                  <a:cubicBezTo>
                    <a:pt x="403" y="537"/>
                    <a:pt x="420" y="525"/>
                    <a:pt x="439" y="514"/>
                  </a:cubicBezTo>
                  <a:cubicBezTo>
                    <a:pt x="440" y="530"/>
                    <a:pt x="441" y="546"/>
                    <a:pt x="442" y="562"/>
                  </a:cubicBezTo>
                  <a:cubicBezTo>
                    <a:pt x="424" y="572"/>
                    <a:pt x="406" y="583"/>
                    <a:pt x="390" y="594"/>
                  </a:cubicBezTo>
                  <a:moveTo>
                    <a:pt x="602" y="561"/>
                  </a:moveTo>
                  <a:cubicBezTo>
                    <a:pt x="603" y="545"/>
                    <a:pt x="604" y="529"/>
                    <a:pt x="605" y="512"/>
                  </a:cubicBezTo>
                  <a:cubicBezTo>
                    <a:pt x="630" y="507"/>
                    <a:pt x="656" y="504"/>
                    <a:pt x="684" y="503"/>
                  </a:cubicBezTo>
                  <a:cubicBezTo>
                    <a:pt x="681" y="521"/>
                    <a:pt x="679" y="538"/>
                    <a:pt x="677" y="556"/>
                  </a:cubicBezTo>
                  <a:cubicBezTo>
                    <a:pt x="676" y="556"/>
                    <a:pt x="674" y="556"/>
                    <a:pt x="673" y="556"/>
                  </a:cubicBezTo>
                  <a:cubicBezTo>
                    <a:pt x="649" y="556"/>
                    <a:pt x="625" y="558"/>
                    <a:pt x="602" y="561"/>
                  </a:cubicBezTo>
                  <a:moveTo>
                    <a:pt x="698" y="494"/>
                  </a:moveTo>
                  <a:cubicBezTo>
                    <a:pt x="639" y="494"/>
                    <a:pt x="639" y="494"/>
                    <a:pt x="639" y="494"/>
                  </a:cubicBezTo>
                  <a:cubicBezTo>
                    <a:pt x="628" y="496"/>
                    <a:pt x="616" y="498"/>
                    <a:pt x="605" y="500"/>
                  </a:cubicBezTo>
                  <a:cubicBezTo>
                    <a:pt x="605" y="498"/>
                    <a:pt x="605" y="496"/>
                    <a:pt x="605" y="494"/>
                  </a:cubicBezTo>
                  <a:cubicBezTo>
                    <a:pt x="594" y="494"/>
                    <a:pt x="594" y="494"/>
                    <a:pt x="594" y="494"/>
                  </a:cubicBezTo>
                  <a:cubicBezTo>
                    <a:pt x="594" y="497"/>
                    <a:pt x="594" y="500"/>
                    <a:pt x="594" y="502"/>
                  </a:cubicBezTo>
                  <a:cubicBezTo>
                    <a:pt x="574" y="507"/>
                    <a:pt x="555" y="512"/>
                    <a:pt x="537" y="519"/>
                  </a:cubicBezTo>
                  <a:cubicBezTo>
                    <a:pt x="536" y="511"/>
                    <a:pt x="536" y="503"/>
                    <a:pt x="536" y="494"/>
                  </a:cubicBezTo>
                  <a:cubicBezTo>
                    <a:pt x="525" y="494"/>
                    <a:pt x="525" y="494"/>
                    <a:pt x="525" y="494"/>
                  </a:cubicBezTo>
                  <a:cubicBezTo>
                    <a:pt x="525" y="504"/>
                    <a:pt x="525" y="513"/>
                    <a:pt x="525" y="523"/>
                  </a:cubicBezTo>
                  <a:cubicBezTo>
                    <a:pt x="500" y="532"/>
                    <a:pt x="476" y="544"/>
                    <a:pt x="453" y="556"/>
                  </a:cubicBezTo>
                  <a:cubicBezTo>
                    <a:pt x="452" y="540"/>
                    <a:pt x="450" y="524"/>
                    <a:pt x="449" y="508"/>
                  </a:cubicBezTo>
                  <a:cubicBezTo>
                    <a:pt x="457" y="503"/>
                    <a:pt x="466" y="499"/>
                    <a:pt x="474" y="494"/>
                  </a:cubicBezTo>
                  <a:cubicBezTo>
                    <a:pt x="449" y="494"/>
                    <a:pt x="449" y="494"/>
                    <a:pt x="449" y="494"/>
                  </a:cubicBezTo>
                  <a:cubicBezTo>
                    <a:pt x="449" y="494"/>
                    <a:pt x="449" y="495"/>
                    <a:pt x="449" y="495"/>
                  </a:cubicBezTo>
                  <a:cubicBezTo>
                    <a:pt x="449" y="495"/>
                    <a:pt x="449" y="494"/>
                    <a:pt x="449" y="494"/>
                  </a:cubicBezTo>
                  <a:cubicBezTo>
                    <a:pt x="438" y="494"/>
                    <a:pt x="438" y="494"/>
                    <a:pt x="438" y="494"/>
                  </a:cubicBezTo>
                  <a:cubicBezTo>
                    <a:pt x="438" y="497"/>
                    <a:pt x="438" y="499"/>
                    <a:pt x="438" y="501"/>
                  </a:cubicBezTo>
                  <a:cubicBezTo>
                    <a:pt x="419" y="512"/>
                    <a:pt x="402" y="523"/>
                    <a:pt x="386" y="535"/>
                  </a:cubicBezTo>
                  <a:cubicBezTo>
                    <a:pt x="386" y="525"/>
                    <a:pt x="386" y="515"/>
                    <a:pt x="386" y="505"/>
                  </a:cubicBezTo>
                  <a:cubicBezTo>
                    <a:pt x="390" y="502"/>
                    <a:pt x="394" y="498"/>
                    <a:pt x="399" y="494"/>
                  </a:cubicBezTo>
                  <a:cubicBezTo>
                    <a:pt x="372" y="494"/>
                    <a:pt x="372" y="494"/>
                    <a:pt x="372" y="494"/>
                  </a:cubicBezTo>
                  <a:cubicBezTo>
                    <a:pt x="371" y="497"/>
                    <a:pt x="370" y="501"/>
                    <a:pt x="370" y="504"/>
                  </a:cubicBezTo>
                  <a:cubicBezTo>
                    <a:pt x="364" y="509"/>
                    <a:pt x="360" y="513"/>
                    <a:pt x="355" y="517"/>
                  </a:cubicBezTo>
                  <a:cubicBezTo>
                    <a:pt x="358" y="510"/>
                    <a:pt x="360" y="502"/>
                    <a:pt x="363" y="494"/>
                  </a:cubicBezTo>
                  <a:cubicBezTo>
                    <a:pt x="351" y="494"/>
                    <a:pt x="351" y="494"/>
                    <a:pt x="351" y="494"/>
                  </a:cubicBezTo>
                  <a:cubicBezTo>
                    <a:pt x="345" y="513"/>
                    <a:pt x="340" y="529"/>
                    <a:pt x="332" y="541"/>
                  </a:cubicBezTo>
                  <a:cubicBezTo>
                    <a:pt x="326" y="552"/>
                    <a:pt x="317" y="564"/>
                    <a:pt x="307" y="579"/>
                  </a:cubicBezTo>
                  <a:cubicBezTo>
                    <a:pt x="294" y="597"/>
                    <a:pt x="279" y="620"/>
                    <a:pt x="263" y="645"/>
                  </a:cubicBezTo>
                  <a:cubicBezTo>
                    <a:pt x="261" y="648"/>
                    <a:pt x="260" y="649"/>
                    <a:pt x="260" y="649"/>
                  </a:cubicBezTo>
                  <a:cubicBezTo>
                    <a:pt x="260" y="650"/>
                    <a:pt x="260" y="650"/>
                    <a:pt x="260" y="650"/>
                  </a:cubicBezTo>
                  <a:cubicBezTo>
                    <a:pt x="239" y="685"/>
                    <a:pt x="218" y="725"/>
                    <a:pt x="204" y="770"/>
                  </a:cubicBezTo>
                  <a:cubicBezTo>
                    <a:pt x="203" y="771"/>
                    <a:pt x="203" y="771"/>
                    <a:pt x="203" y="772"/>
                  </a:cubicBezTo>
                  <a:cubicBezTo>
                    <a:pt x="203" y="772"/>
                    <a:pt x="203" y="772"/>
                    <a:pt x="203" y="772"/>
                  </a:cubicBezTo>
                  <a:cubicBezTo>
                    <a:pt x="199" y="784"/>
                    <a:pt x="196" y="796"/>
                    <a:pt x="193" y="809"/>
                  </a:cubicBezTo>
                  <a:cubicBezTo>
                    <a:pt x="190" y="810"/>
                    <a:pt x="190" y="810"/>
                    <a:pt x="190" y="810"/>
                  </a:cubicBezTo>
                  <a:cubicBezTo>
                    <a:pt x="190" y="812"/>
                    <a:pt x="191" y="814"/>
                    <a:pt x="192" y="816"/>
                  </a:cubicBezTo>
                  <a:cubicBezTo>
                    <a:pt x="189" y="828"/>
                    <a:pt x="187" y="841"/>
                    <a:pt x="186" y="854"/>
                  </a:cubicBezTo>
                  <a:cubicBezTo>
                    <a:pt x="185" y="856"/>
                    <a:pt x="184" y="856"/>
                    <a:pt x="184" y="856"/>
                  </a:cubicBezTo>
                  <a:cubicBezTo>
                    <a:pt x="185" y="857"/>
                    <a:pt x="185" y="857"/>
                    <a:pt x="185" y="857"/>
                  </a:cubicBezTo>
                  <a:cubicBezTo>
                    <a:pt x="184" y="867"/>
                    <a:pt x="184" y="878"/>
                    <a:pt x="184" y="889"/>
                  </a:cubicBezTo>
                  <a:cubicBezTo>
                    <a:pt x="159" y="868"/>
                    <a:pt x="87" y="810"/>
                    <a:pt x="0" y="771"/>
                  </a:cubicBezTo>
                  <a:cubicBezTo>
                    <a:pt x="0" y="816"/>
                    <a:pt x="0" y="816"/>
                    <a:pt x="0" y="816"/>
                  </a:cubicBezTo>
                  <a:cubicBezTo>
                    <a:pt x="0" y="819"/>
                    <a:pt x="0" y="821"/>
                    <a:pt x="0" y="824"/>
                  </a:cubicBezTo>
                  <a:cubicBezTo>
                    <a:pt x="0" y="824"/>
                    <a:pt x="0" y="824"/>
                    <a:pt x="0" y="824"/>
                  </a:cubicBezTo>
                  <a:cubicBezTo>
                    <a:pt x="0" y="837"/>
                    <a:pt x="0" y="837"/>
                    <a:pt x="0" y="837"/>
                  </a:cubicBezTo>
                  <a:cubicBezTo>
                    <a:pt x="0" y="837"/>
                    <a:pt x="0" y="837"/>
                    <a:pt x="0" y="837"/>
                  </a:cubicBezTo>
                  <a:cubicBezTo>
                    <a:pt x="0" y="838"/>
                    <a:pt x="0" y="839"/>
                    <a:pt x="0" y="841"/>
                  </a:cubicBezTo>
                  <a:cubicBezTo>
                    <a:pt x="0" y="849"/>
                    <a:pt x="0" y="858"/>
                    <a:pt x="0" y="867"/>
                  </a:cubicBezTo>
                  <a:cubicBezTo>
                    <a:pt x="0" y="984"/>
                    <a:pt x="0" y="984"/>
                    <a:pt x="0" y="984"/>
                  </a:cubicBezTo>
                  <a:cubicBezTo>
                    <a:pt x="0" y="982"/>
                    <a:pt x="0" y="981"/>
                    <a:pt x="1" y="979"/>
                  </a:cubicBezTo>
                  <a:cubicBezTo>
                    <a:pt x="8" y="982"/>
                    <a:pt x="15" y="986"/>
                    <a:pt x="22" y="990"/>
                  </a:cubicBezTo>
                  <a:cubicBezTo>
                    <a:pt x="45" y="990"/>
                    <a:pt x="45" y="990"/>
                    <a:pt x="45" y="990"/>
                  </a:cubicBezTo>
                  <a:cubicBezTo>
                    <a:pt x="30" y="982"/>
                    <a:pt x="16" y="973"/>
                    <a:pt x="2" y="966"/>
                  </a:cubicBezTo>
                  <a:cubicBezTo>
                    <a:pt x="5" y="945"/>
                    <a:pt x="7" y="925"/>
                    <a:pt x="9" y="905"/>
                  </a:cubicBezTo>
                  <a:cubicBezTo>
                    <a:pt x="22" y="911"/>
                    <a:pt x="36" y="918"/>
                    <a:pt x="50" y="926"/>
                  </a:cubicBezTo>
                  <a:cubicBezTo>
                    <a:pt x="50" y="947"/>
                    <a:pt x="48" y="969"/>
                    <a:pt x="46" y="990"/>
                  </a:cubicBezTo>
                  <a:cubicBezTo>
                    <a:pt x="58" y="990"/>
                    <a:pt x="58" y="990"/>
                    <a:pt x="58" y="990"/>
                  </a:cubicBezTo>
                  <a:cubicBezTo>
                    <a:pt x="59" y="971"/>
                    <a:pt x="60" y="952"/>
                    <a:pt x="61" y="933"/>
                  </a:cubicBezTo>
                  <a:cubicBezTo>
                    <a:pt x="73" y="940"/>
                    <a:pt x="86" y="948"/>
                    <a:pt x="98" y="957"/>
                  </a:cubicBezTo>
                  <a:cubicBezTo>
                    <a:pt x="98" y="964"/>
                    <a:pt x="98" y="970"/>
                    <a:pt x="98" y="976"/>
                  </a:cubicBezTo>
                  <a:cubicBezTo>
                    <a:pt x="98" y="981"/>
                    <a:pt x="98" y="986"/>
                    <a:pt x="98" y="990"/>
                  </a:cubicBezTo>
                  <a:cubicBezTo>
                    <a:pt x="109" y="990"/>
                    <a:pt x="109" y="990"/>
                    <a:pt x="109" y="990"/>
                  </a:cubicBezTo>
                  <a:cubicBezTo>
                    <a:pt x="109" y="986"/>
                    <a:pt x="109" y="981"/>
                    <a:pt x="109" y="977"/>
                  </a:cubicBezTo>
                  <a:cubicBezTo>
                    <a:pt x="109" y="973"/>
                    <a:pt x="109" y="969"/>
                    <a:pt x="109" y="966"/>
                  </a:cubicBezTo>
                  <a:cubicBezTo>
                    <a:pt x="119" y="973"/>
                    <a:pt x="129" y="982"/>
                    <a:pt x="139" y="990"/>
                  </a:cubicBezTo>
                  <a:cubicBezTo>
                    <a:pt x="156" y="990"/>
                    <a:pt x="156" y="990"/>
                    <a:pt x="156" y="990"/>
                  </a:cubicBezTo>
                  <a:cubicBezTo>
                    <a:pt x="141" y="976"/>
                    <a:pt x="125" y="963"/>
                    <a:pt x="109" y="951"/>
                  </a:cubicBezTo>
                  <a:cubicBezTo>
                    <a:pt x="108" y="930"/>
                    <a:pt x="107" y="910"/>
                    <a:pt x="105" y="890"/>
                  </a:cubicBezTo>
                  <a:cubicBezTo>
                    <a:pt x="120" y="900"/>
                    <a:pt x="135" y="911"/>
                    <a:pt x="149" y="921"/>
                  </a:cubicBezTo>
                  <a:cubicBezTo>
                    <a:pt x="154" y="944"/>
                    <a:pt x="156" y="967"/>
                    <a:pt x="158" y="990"/>
                  </a:cubicBezTo>
                  <a:cubicBezTo>
                    <a:pt x="169" y="990"/>
                    <a:pt x="169" y="990"/>
                    <a:pt x="169" y="990"/>
                  </a:cubicBezTo>
                  <a:cubicBezTo>
                    <a:pt x="168" y="971"/>
                    <a:pt x="166" y="951"/>
                    <a:pt x="162" y="931"/>
                  </a:cubicBezTo>
                  <a:cubicBezTo>
                    <a:pt x="172" y="939"/>
                    <a:pt x="181" y="946"/>
                    <a:pt x="190" y="954"/>
                  </a:cubicBezTo>
                  <a:cubicBezTo>
                    <a:pt x="191" y="958"/>
                    <a:pt x="191" y="961"/>
                    <a:pt x="192" y="965"/>
                  </a:cubicBezTo>
                  <a:cubicBezTo>
                    <a:pt x="190" y="966"/>
                    <a:pt x="190" y="966"/>
                    <a:pt x="190" y="966"/>
                  </a:cubicBezTo>
                  <a:cubicBezTo>
                    <a:pt x="193" y="974"/>
                    <a:pt x="195" y="982"/>
                    <a:pt x="198" y="990"/>
                  </a:cubicBezTo>
                  <a:cubicBezTo>
                    <a:pt x="217" y="990"/>
                    <a:pt x="217" y="990"/>
                    <a:pt x="217" y="990"/>
                  </a:cubicBezTo>
                  <a:cubicBezTo>
                    <a:pt x="220" y="976"/>
                    <a:pt x="224" y="952"/>
                    <a:pt x="233" y="924"/>
                  </a:cubicBezTo>
                  <a:cubicBezTo>
                    <a:pt x="237" y="933"/>
                    <a:pt x="242" y="942"/>
                    <a:pt x="246" y="951"/>
                  </a:cubicBezTo>
                  <a:cubicBezTo>
                    <a:pt x="244" y="964"/>
                    <a:pt x="242" y="978"/>
                    <a:pt x="241" y="990"/>
                  </a:cubicBezTo>
                  <a:cubicBezTo>
                    <a:pt x="253" y="990"/>
                    <a:pt x="253" y="990"/>
                    <a:pt x="253" y="990"/>
                  </a:cubicBezTo>
                  <a:cubicBezTo>
                    <a:pt x="253" y="983"/>
                    <a:pt x="254" y="975"/>
                    <a:pt x="255" y="967"/>
                  </a:cubicBezTo>
                  <a:cubicBezTo>
                    <a:pt x="260" y="975"/>
                    <a:pt x="264" y="983"/>
                    <a:pt x="269" y="990"/>
                  </a:cubicBezTo>
                  <a:cubicBezTo>
                    <a:pt x="291" y="990"/>
                    <a:pt x="291" y="990"/>
                    <a:pt x="291" y="990"/>
                  </a:cubicBezTo>
                  <a:cubicBezTo>
                    <a:pt x="295" y="971"/>
                    <a:pt x="302" y="951"/>
                    <a:pt x="311" y="932"/>
                  </a:cubicBezTo>
                  <a:cubicBezTo>
                    <a:pt x="319" y="948"/>
                    <a:pt x="328" y="964"/>
                    <a:pt x="338" y="978"/>
                  </a:cubicBezTo>
                  <a:cubicBezTo>
                    <a:pt x="336" y="982"/>
                    <a:pt x="333" y="986"/>
                    <a:pt x="331" y="990"/>
                  </a:cubicBezTo>
                  <a:cubicBezTo>
                    <a:pt x="344" y="990"/>
                    <a:pt x="344" y="990"/>
                    <a:pt x="344" y="990"/>
                  </a:cubicBezTo>
                  <a:cubicBezTo>
                    <a:pt x="344" y="990"/>
                    <a:pt x="345" y="989"/>
                    <a:pt x="345" y="988"/>
                  </a:cubicBezTo>
                  <a:cubicBezTo>
                    <a:pt x="346" y="989"/>
                    <a:pt x="346" y="990"/>
                    <a:pt x="346" y="990"/>
                  </a:cubicBezTo>
                  <a:cubicBezTo>
                    <a:pt x="361" y="990"/>
                    <a:pt x="361" y="990"/>
                    <a:pt x="361" y="990"/>
                  </a:cubicBezTo>
                  <a:cubicBezTo>
                    <a:pt x="358" y="986"/>
                    <a:pt x="355" y="982"/>
                    <a:pt x="352" y="978"/>
                  </a:cubicBezTo>
                  <a:cubicBezTo>
                    <a:pt x="360" y="965"/>
                    <a:pt x="370" y="952"/>
                    <a:pt x="382" y="941"/>
                  </a:cubicBezTo>
                  <a:cubicBezTo>
                    <a:pt x="393" y="958"/>
                    <a:pt x="403" y="975"/>
                    <a:pt x="414" y="990"/>
                  </a:cubicBezTo>
                  <a:cubicBezTo>
                    <a:pt x="428" y="990"/>
                    <a:pt x="428" y="990"/>
                    <a:pt x="428" y="990"/>
                  </a:cubicBezTo>
                  <a:cubicBezTo>
                    <a:pt x="415" y="972"/>
                    <a:pt x="403" y="953"/>
                    <a:pt x="391" y="933"/>
                  </a:cubicBezTo>
                  <a:cubicBezTo>
                    <a:pt x="405" y="921"/>
                    <a:pt x="421" y="910"/>
                    <a:pt x="439" y="901"/>
                  </a:cubicBezTo>
                  <a:cubicBezTo>
                    <a:pt x="447" y="927"/>
                    <a:pt x="456" y="950"/>
                    <a:pt x="465" y="972"/>
                  </a:cubicBezTo>
                  <a:cubicBezTo>
                    <a:pt x="455" y="978"/>
                    <a:pt x="445" y="984"/>
                    <a:pt x="436" y="990"/>
                  </a:cubicBezTo>
                  <a:cubicBezTo>
                    <a:pt x="458" y="990"/>
                    <a:pt x="458" y="990"/>
                    <a:pt x="458" y="990"/>
                  </a:cubicBezTo>
                  <a:cubicBezTo>
                    <a:pt x="462" y="988"/>
                    <a:pt x="465" y="985"/>
                    <a:pt x="469" y="983"/>
                  </a:cubicBezTo>
                  <a:cubicBezTo>
                    <a:pt x="470" y="985"/>
                    <a:pt x="471" y="988"/>
                    <a:pt x="472" y="990"/>
                  </a:cubicBezTo>
                  <a:cubicBezTo>
                    <a:pt x="485" y="990"/>
                    <a:pt x="485" y="990"/>
                    <a:pt x="485" y="990"/>
                  </a:cubicBezTo>
                  <a:cubicBezTo>
                    <a:pt x="483" y="986"/>
                    <a:pt x="481" y="982"/>
                    <a:pt x="479" y="977"/>
                  </a:cubicBezTo>
                  <a:cubicBezTo>
                    <a:pt x="489" y="972"/>
                    <a:pt x="499" y="966"/>
                    <a:pt x="510" y="961"/>
                  </a:cubicBezTo>
                  <a:cubicBezTo>
                    <a:pt x="512" y="971"/>
                    <a:pt x="515" y="981"/>
                    <a:pt x="517" y="990"/>
                  </a:cubicBezTo>
                  <a:cubicBezTo>
                    <a:pt x="529" y="990"/>
                    <a:pt x="529" y="990"/>
                    <a:pt x="529" y="990"/>
                  </a:cubicBezTo>
                  <a:cubicBezTo>
                    <a:pt x="526" y="979"/>
                    <a:pt x="523" y="968"/>
                    <a:pt x="520" y="956"/>
                  </a:cubicBezTo>
                  <a:cubicBezTo>
                    <a:pt x="529" y="952"/>
                    <a:pt x="539" y="948"/>
                    <a:pt x="548" y="944"/>
                  </a:cubicBezTo>
                  <a:cubicBezTo>
                    <a:pt x="550" y="960"/>
                    <a:pt x="551" y="976"/>
                    <a:pt x="552" y="990"/>
                  </a:cubicBezTo>
                  <a:cubicBezTo>
                    <a:pt x="564" y="990"/>
                    <a:pt x="564" y="990"/>
                    <a:pt x="564" y="990"/>
                  </a:cubicBezTo>
                  <a:cubicBezTo>
                    <a:pt x="562" y="974"/>
                    <a:pt x="561" y="957"/>
                    <a:pt x="559" y="939"/>
                  </a:cubicBezTo>
                  <a:cubicBezTo>
                    <a:pt x="566" y="937"/>
                    <a:pt x="572" y="934"/>
                    <a:pt x="579" y="932"/>
                  </a:cubicBezTo>
                  <a:cubicBezTo>
                    <a:pt x="578" y="953"/>
                    <a:pt x="578" y="972"/>
                    <a:pt x="577" y="990"/>
                  </a:cubicBezTo>
                  <a:cubicBezTo>
                    <a:pt x="577" y="990"/>
                    <a:pt x="577" y="990"/>
                    <a:pt x="577" y="990"/>
                  </a:cubicBezTo>
                  <a:cubicBezTo>
                    <a:pt x="623" y="990"/>
                    <a:pt x="623" y="990"/>
                    <a:pt x="623" y="990"/>
                  </a:cubicBezTo>
                  <a:cubicBezTo>
                    <a:pt x="631" y="989"/>
                    <a:pt x="639" y="987"/>
                    <a:pt x="647" y="986"/>
                  </a:cubicBezTo>
                  <a:cubicBezTo>
                    <a:pt x="648" y="986"/>
                    <a:pt x="648" y="986"/>
                    <a:pt x="649" y="986"/>
                  </a:cubicBezTo>
                  <a:cubicBezTo>
                    <a:pt x="648" y="987"/>
                    <a:pt x="647" y="989"/>
                    <a:pt x="647" y="990"/>
                  </a:cubicBezTo>
                  <a:cubicBezTo>
                    <a:pt x="659" y="990"/>
                    <a:pt x="659" y="990"/>
                    <a:pt x="659" y="990"/>
                  </a:cubicBezTo>
                  <a:cubicBezTo>
                    <a:pt x="660" y="988"/>
                    <a:pt x="660" y="986"/>
                    <a:pt x="661" y="984"/>
                  </a:cubicBezTo>
                  <a:cubicBezTo>
                    <a:pt x="673" y="982"/>
                    <a:pt x="685" y="982"/>
                    <a:pt x="696" y="981"/>
                  </a:cubicBezTo>
                  <a:cubicBezTo>
                    <a:pt x="695" y="984"/>
                    <a:pt x="693" y="987"/>
                    <a:pt x="691" y="990"/>
                  </a:cubicBezTo>
                  <a:cubicBezTo>
                    <a:pt x="698" y="990"/>
                    <a:pt x="698" y="990"/>
                    <a:pt x="698" y="990"/>
                  </a:cubicBezTo>
                  <a:cubicBezTo>
                    <a:pt x="698" y="969"/>
                    <a:pt x="698" y="969"/>
                    <a:pt x="698" y="969"/>
                  </a:cubicBezTo>
                  <a:cubicBezTo>
                    <a:pt x="688" y="969"/>
                    <a:pt x="677" y="970"/>
                    <a:pt x="666" y="971"/>
                  </a:cubicBezTo>
                  <a:cubicBezTo>
                    <a:pt x="673" y="950"/>
                    <a:pt x="681" y="928"/>
                    <a:pt x="689" y="904"/>
                  </a:cubicBezTo>
                  <a:cubicBezTo>
                    <a:pt x="689" y="904"/>
                    <a:pt x="690" y="904"/>
                    <a:pt x="691" y="903"/>
                  </a:cubicBezTo>
                  <a:cubicBezTo>
                    <a:pt x="693" y="903"/>
                    <a:pt x="696" y="903"/>
                    <a:pt x="698" y="902"/>
                  </a:cubicBezTo>
                  <a:cubicBezTo>
                    <a:pt x="698" y="890"/>
                    <a:pt x="698" y="890"/>
                    <a:pt x="698" y="890"/>
                  </a:cubicBezTo>
                  <a:cubicBezTo>
                    <a:pt x="696" y="891"/>
                    <a:pt x="695" y="891"/>
                    <a:pt x="693" y="891"/>
                  </a:cubicBezTo>
                  <a:cubicBezTo>
                    <a:pt x="695" y="885"/>
                    <a:pt x="696" y="879"/>
                    <a:pt x="698" y="874"/>
                  </a:cubicBezTo>
                  <a:cubicBezTo>
                    <a:pt x="698" y="828"/>
                    <a:pt x="698" y="828"/>
                    <a:pt x="698" y="828"/>
                  </a:cubicBezTo>
                  <a:cubicBezTo>
                    <a:pt x="695" y="828"/>
                    <a:pt x="692" y="828"/>
                    <a:pt x="689" y="828"/>
                  </a:cubicBezTo>
                  <a:cubicBezTo>
                    <a:pt x="676" y="828"/>
                    <a:pt x="662" y="828"/>
                    <a:pt x="648" y="829"/>
                  </a:cubicBezTo>
                  <a:cubicBezTo>
                    <a:pt x="650" y="812"/>
                    <a:pt x="653" y="793"/>
                    <a:pt x="656" y="774"/>
                  </a:cubicBezTo>
                  <a:cubicBezTo>
                    <a:pt x="671" y="776"/>
                    <a:pt x="685" y="778"/>
                    <a:pt x="698" y="780"/>
                  </a:cubicBezTo>
                  <a:cubicBezTo>
                    <a:pt x="698" y="769"/>
                    <a:pt x="698" y="769"/>
                    <a:pt x="698" y="769"/>
                  </a:cubicBezTo>
                  <a:cubicBezTo>
                    <a:pt x="685" y="766"/>
                    <a:pt x="671" y="765"/>
                    <a:pt x="658" y="763"/>
                  </a:cubicBezTo>
                  <a:cubicBezTo>
                    <a:pt x="661" y="745"/>
                    <a:pt x="664" y="726"/>
                    <a:pt x="667" y="707"/>
                  </a:cubicBezTo>
                  <a:cubicBezTo>
                    <a:pt x="677" y="707"/>
                    <a:pt x="688" y="708"/>
                    <a:pt x="698" y="709"/>
                  </a:cubicBezTo>
                  <a:cubicBezTo>
                    <a:pt x="698" y="697"/>
                    <a:pt x="698" y="697"/>
                    <a:pt x="698" y="697"/>
                  </a:cubicBezTo>
                  <a:cubicBezTo>
                    <a:pt x="688" y="696"/>
                    <a:pt x="678" y="696"/>
                    <a:pt x="668" y="695"/>
                  </a:cubicBezTo>
                  <a:cubicBezTo>
                    <a:pt x="671" y="678"/>
                    <a:pt x="673" y="661"/>
                    <a:pt x="676" y="644"/>
                  </a:cubicBezTo>
                  <a:cubicBezTo>
                    <a:pt x="683" y="644"/>
                    <a:pt x="691" y="644"/>
                    <a:pt x="698" y="645"/>
                  </a:cubicBezTo>
                  <a:cubicBezTo>
                    <a:pt x="698" y="633"/>
                    <a:pt x="698" y="633"/>
                    <a:pt x="698" y="633"/>
                  </a:cubicBezTo>
                  <a:cubicBezTo>
                    <a:pt x="691" y="632"/>
                    <a:pt x="684" y="632"/>
                    <a:pt x="678" y="632"/>
                  </a:cubicBezTo>
                  <a:cubicBezTo>
                    <a:pt x="680" y="611"/>
                    <a:pt x="683" y="590"/>
                    <a:pt x="686" y="568"/>
                  </a:cubicBezTo>
                  <a:cubicBezTo>
                    <a:pt x="690" y="568"/>
                    <a:pt x="694" y="568"/>
                    <a:pt x="698" y="569"/>
                  </a:cubicBezTo>
                  <a:cubicBezTo>
                    <a:pt x="698" y="556"/>
                    <a:pt x="698" y="556"/>
                    <a:pt x="698" y="556"/>
                  </a:cubicBezTo>
                  <a:cubicBezTo>
                    <a:pt x="695" y="556"/>
                    <a:pt x="691" y="556"/>
                    <a:pt x="688" y="556"/>
                  </a:cubicBezTo>
                  <a:cubicBezTo>
                    <a:pt x="690" y="538"/>
                    <a:pt x="693" y="521"/>
                    <a:pt x="695" y="502"/>
                  </a:cubicBezTo>
                  <a:cubicBezTo>
                    <a:pt x="696" y="502"/>
                    <a:pt x="697" y="502"/>
                    <a:pt x="698" y="502"/>
                  </a:cubicBezTo>
                  <a:cubicBezTo>
                    <a:pt x="698" y="494"/>
                    <a:pt x="698" y="494"/>
                    <a:pt x="698" y="494"/>
                  </a:cubicBezTo>
                  <a:moveTo>
                    <a:pt x="1672" y="971"/>
                  </a:moveTo>
                  <a:cubicBezTo>
                    <a:pt x="1653" y="969"/>
                    <a:pt x="1636" y="966"/>
                    <a:pt x="1619" y="963"/>
                  </a:cubicBezTo>
                  <a:cubicBezTo>
                    <a:pt x="1617" y="955"/>
                    <a:pt x="1615" y="947"/>
                    <a:pt x="1613" y="939"/>
                  </a:cubicBezTo>
                  <a:cubicBezTo>
                    <a:pt x="1631" y="943"/>
                    <a:pt x="1649" y="945"/>
                    <a:pt x="1668" y="947"/>
                  </a:cubicBezTo>
                  <a:cubicBezTo>
                    <a:pt x="1669" y="955"/>
                    <a:pt x="1670" y="963"/>
                    <a:pt x="1672" y="971"/>
                  </a:cubicBezTo>
                  <a:moveTo>
                    <a:pt x="1701" y="948"/>
                  </a:moveTo>
                  <a:cubicBezTo>
                    <a:pt x="1705" y="948"/>
                    <a:pt x="1708" y="948"/>
                    <a:pt x="1712" y="948"/>
                  </a:cubicBezTo>
                  <a:cubicBezTo>
                    <a:pt x="1712" y="938"/>
                    <a:pt x="1712" y="938"/>
                    <a:pt x="1712" y="938"/>
                  </a:cubicBezTo>
                  <a:cubicBezTo>
                    <a:pt x="1713" y="947"/>
                    <a:pt x="1715" y="959"/>
                    <a:pt x="1718" y="973"/>
                  </a:cubicBezTo>
                  <a:cubicBezTo>
                    <a:pt x="1715" y="973"/>
                    <a:pt x="1713" y="973"/>
                    <a:pt x="1710" y="973"/>
                  </a:cubicBezTo>
                  <a:cubicBezTo>
                    <a:pt x="1701" y="973"/>
                    <a:pt x="1692" y="972"/>
                    <a:pt x="1683" y="972"/>
                  </a:cubicBezTo>
                  <a:cubicBezTo>
                    <a:pt x="1682" y="963"/>
                    <a:pt x="1681" y="955"/>
                    <a:pt x="1679" y="947"/>
                  </a:cubicBezTo>
                  <a:cubicBezTo>
                    <a:pt x="1686" y="948"/>
                    <a:pt x="1694" y="948"/>
                    <a:pt x="1701" y="948"/>
                  </a:cubicBezTo>
                  <a:moveTo>
                    <a:pt x="1556" y="979"/>
                  </a:moveTo>
                  <a:cubicBezTo>
                    <a:pt x="1538" y="973"/>
                    <a:pt x="1521" y="967"/>
                    <a:pt x="1505" y="960"/>
                  </a:cubicBezTo>
                  <a:cubicBezTo>
                    <a:pt x="1502" y="951"/>
                    <a:pt x="1499" y="942"/>
                    <a:pt x="1497" y="933"/>
                  </a:cubicBezTo>
                  <a:cubicBezTo>
                    <a:pt x="1513" y="941"/>
                    <a:pt x="1530" y="948"/>
                    <a:pt x="1549" y="955"/>
                  </a:cubicBezTo>
                  <a:cubicBezTo>
                    <a:pt x="1551" y="963"/>
                    <a:pt x="1553" y="971"/>
                    <a:pt x="1556" y="979"/>
                  </a:cubicBezTo>
                  <a:moveTo>
                    <a:pt x="1606" y="960"/>
                  </a:moveTo>
                  <a:cubicBezTo>
                    <a:pt x="1590" y="956"/>
                    <a:pt x="1573" y="951"/>
                    <a:pt x="1558" y="945"/>
                  </a:cubicBezTo>
                  <a:cubicBezTo>
                    <a:pt x="1555" y="938"/>
                    <a:pt x="1553" y="930"/>
                    <a:pt x="1551" y="922"/>
                  </a:cubicBezTo>
                  <a:cubicBezTo>
                    <a:pt x="1567" y="928"/>
                    <a:pt x="1584" y="933"/>
                    <a:pt x="1601" y="937"/>
                  </a:cubicBezTo>
                  <a:cubicBezTo>
                    <a:pt x="1603" y="944"/>
                    <a:pt x="1605" y="952"/>
                    <a:pt x="1606" y="960"/>
                  </a:cubicBezTo>
                  <a:moveTo>
                    <a:pt x="1701" y="936"/>
                  </a:moveTo>
                  <a:cubicBezTo>
                    <a:pt x="1693" y="936"/>
                    <a:pt x="1685" y="936"/>
                    <a:pt x="1678" y="935"/>
                  </a:cubicBezTo>
                  <a:cubicBezTo>
                    <a:pt x="1676" y="926"/>
                    <a:pt x="1675" y="917"/>
                    <a:pt x="1674" y="909"/>
                  </a:cubicBezTo>
                  <a:cubicBezTo>
                    <a:pt x="1682" y="909"/>
                    <a:pt x="1690" y="909"/>
                    <a:pt x="1698" y="909"/>
                  </a:cubicBezTo>
                  <a:cubicBezTo>
                    <a:pt x="1702" y="909"/>
                    <a:pt x="1705" y="909"/>
                    <a:pt x="1709" y="909"/>
                  </a:cubicBezTo>
                  <a:cubicBezTo>
                    <a:pt x="1709" y="913"/>
                    <a:pt x="1709" y="917"/>
                    <a:pt x="1709" y="921"/>
                  </a:cubicBezTo>
                  <a:cubicBezTo>
                    <a:pt x="1710" y="923"/>
                    <a:pt x="1710" y="928"/>
                    <a:pt x="1711" y="936"/>
                  </a:cubicBezTo>
                  <a:cubicBezTo>
                    <a:pt x="1708" y="936"/>
                    <a:pt x="1704" y="936"/>
                    <a:pt x="1701" y="936"/>
                  </a:cubicBezTo>
                  <a:moveTo>
                    <a:pt x="1491" y="954"/>
                  </a:moveTo>
                  <a:cubicBezTo>
                    <a:pt x="1481" y="950"/>
                    <a:pt x="1470" y="945"/>
                    <a:pt x="1460" y="940"/>
                  </a:cubicBezTo>
                  <a:cubicBezTo>
                    <a:pt x="1454" y="938"/>
                    <a:pt x="1448" y="935"/>
                    <a:pt x="1442" y="933"/>
                  </a:cubicBezTo>
                  <a:cubicBezTo>
                    <a:pt x="1438" y="922"/>
                    <a:pt x="1435" y="911"/>
                    <a:pt x="1431" y="900"/>
                  </a:cubicBezTo>
                  <a:cubicBezTo>
                    <a:pt x="1447" y="908"/>
                    <a:pt x="1464" y="918"/>
                    <a:pt x="1483" y="927"/>
                  </a:cubicBezTo>
                  <a:cubicBezTo>
                    <a:pt x="1485" y="936"/>
                    <a:pt x="1488" y="945"/>
                    <a:pt x="1491" y="954"/>
                  </a:cubicBezTo>
                  <a:moveTo>
                    <a:pt x="1666" y="935"/>
                  </a:moveTo>
                  <a:cubicBezTo>
                    <a:pt x="1647" y="933"/>
                    <a:pt x="1628" y="930"/>
                    <a:pt x="1610" y="926"/>
                  </a:cubicBezTo>
                  <a:cubicBezTo>
                    <a:pt x="1608" y="917"/>
                    <a:pt x="1606" y="908"/>
                    <a:pt x="1604" y="899"/>
                  </a:cubicBezTo>
                  <a:cubicBezTo>
                    <a:pt x="1623" y="903"/>
                    <a:pt x="1642" y="906"/>
                    <a:pt x="1662" y="908"/>
                  </a:cubicBezTo>
                  <a:cubicBezTo>
                    <a:pt x="1663" y="916"/>
                    <a:pt x="1665" y="925"/>
                    <a:pt x="1666" y="935"/>
                  </a:cubicBezTo>
                  <a:moveTo>
                    <a:pt x="1545" y="941"/>
                  </a:moveTo>
                  <a:cubicBezTo>
                    <a:pt x="1526" y="933"/>
                    <a:pt x="1508" y="926"/>
                    <a:pt x="1492" y="918"/>
                  </a:cubicBezTo>
                  <a:cubicBezTo>
                    <a:pt x="1489" y="910"/>
                    <a:pt x="1487" y="902"/>
                    <a:pt x="1485" y="894"/>
                  </a:cubicBezTo>
                  <a:cubicBezTo>
                    <a:pt x="1502" y="903"/>
                    <a:pt x="1520" y="911"/>
                    <a:pt x="1538" y="918"/>
                  </a:cubicBezTo>
                  <a:cubicBezTo>
                    <a:pt x="1540" y="925"/>
                    <a:pt x="1542" y="933"/>
                    <a:pt x="1545" y="941"/>
                  </a:cubicBezTo>
                  <a:moveTo>
                    <a:pt x="1598" y="924"/>
                  </a:moveTo>
                  <a:cubicBezTo>
                    <a:pt x="1581" y="919"/>
                    <a:pt x="1564" y="914"/>
                    <a:pt x="1548" y="908"/>
                  </a:cubicBezTo>
                  <a:cubicBezTo>
                    <a:pt x="1545" y="899"/>
                    <a:pt x="1543" y="890"/>
                    <a:pt x="1541" y="881"/>
                  </a:cubicBezTo>
                  <a:cubicBezTo>
                    <a:pt x="1557" y="887"/>
                    <a:pt x="1574" y="892"/>
                    <a:pt x="1592" y="897"/>
                  </a:cubicBezTo>
                  <a:cubicBezTo>
                    <a:pt x="1594" y="905"/>
                    <a:pt x="1596" y="914"/>
                    <a:pt x="1598" y="924"/>
                  </a:cubicBezTo>
                  <a:moveTo>
                    <a:pt x="1698" y="897"/>
                  </a:moveTo>
                  <a:cubicBezTo>
                    <a:pt x="1689" y="897"/>
                    <a:pt x="1681" y="897"/>
                    <a:pt x="1672" y="896"/>
                  </a:cubicBezTo>
                  <a:cubicBezTo>
                    <a:pt x="1670" y="879"/>
                    <a:pt x="1668" y="866"/>
                    <a:pt x="1668" y="860"/>
                  </a:cubicBezTo>
                  <a:cubicBezTo>
                    <a:pt x="1688" y="865"/>
                    <a:pt x="1702" y="869"/>
                    <a:pt x="1709" y="871"/>
                  </a:cubicBezTo>
                  <a:cubicBezTo>
                    <a:pt x="1708" y="875"/>
                    <a:pt x="1708" y="879"/>
                    <a:pt x="1708" y="883"/>
                  </a:cubicBezTo>
                  <a:cubicBezTo>
                    <a:pt x="1708" y="887"/>
                    <a:pt x="1708" y="892"/>
                    <a:pt x="1709" y="897"/>
                  </a:cubicBezTo>
                  <a:cubicBezTo>
                    <a:pt x="1705" y="897"/>
                    <a:pt x="1702" y="897"/>
                    <a:pt x="1698" y="897"/>
                  </a:cubicBezTo>
                  <a:moveTo>
                    <a:pt x="1974" y="988"/>
                  </a:moveTo>
                  <a:cubicBezTo>
                    <a:pt x="1967" y="961"/>
                    <a:pt x="1960" y="934"/>
                    <a:pt x="1952" y="908"/>
                  </a:cubicBezTo>
                  <a:cubicBezTo>
                    <a:pt x="1962" y="899"/>
                    <a:pt x="1972" y="890"/>
                    <a:pt x="1983" y="881"/>
                  </a:cubicBezTo>
                  <a:cubicBezTo>
                    <a:pt x="1994" y="873"/>
                    <a:pt x="2006" y="865"/>
                    <a:pt x="2019" y="857"/>
                  </a:cubicBezTo>
                  <a:cubicBezTo>
                    <a:pt x="2026" y="882"/>
                    <a:pt x="2034" y="907"/>
                    <a:pt x="2042" y="933"/>
                  </a:cubicBezTo>
                  <a:cubicBezTo>
                    <a:pt x="2034" y="938"/>
                    <a:pt x="2026" y="943"/>
                    <a:pt x="2019" y="948"/>
                  </a:cubicBezTo>
                  <a:cubicBezTo>
                    <a:pt x="2002" y="960"/>
                    <a:pt x="1987" y="973"/>
                    <a:pt x="1974" y="988"/>
                  </a:cubicBezTo>
                  <a:moveTo>
                    <a:pt x="1478" y="911"/>
                  </a:moveTo>
                  <a:cubicBezTo>
                    <a:pt x="1459" y="902"/>
                    <a:pt x="1442" y="892"/>
                    <a:pt x="1426" y="883"/>
                  </a:cubicBezTo>
                  <a:cubicBezTo>
                    <a:pt x="1423" y="874"/>
                    <a:pt x="1420" y="865"/>
                    <a:pt x="1417" y="856"/>
                  </a:cubicBezTo>
                  <a:cubicBezTo>
                    <a:pt x="1434" y="867"/>
                    <a:pt x="1452" y="877"/>
                    <a:pt x="1471" y="887"/>
                  </a:cubicBezTo>
                  <a:cubicBezTo>
                    <a:pt x="1473" y="895"/>
                    <a:pt x="1475" y="903"/>
                    <a:pt x="1478" y="911"/>
                  </a:cubicBezTo>
                  <a:moveTo>
                    <a:pt x="1535" y="903"/>
                  </a:moveTo>
                  <a:cubicBezTo>
                    <a:pt x="1515" y="896"/>
                    <a:pt x="1497" y="887"/>
                    <a:pt x="1480" y="878"/>
                  </a:cubicBezTo>
                  <a:cubicBezTo>
                    <a:pt x="1477" y="869"/>
                    <a:pt x="1474" y="859"/>
                    <a:pt x="1472" y="851"/>
                  </a:cubicBezTo>
                  <a:cubicBezTo>
                    <a:pt x="1490" y="860"/>
                    <a:pt x="1508" y="869"/>
                    <a:pt x="1528" y="877"/>
                  </a:cubicBezTo>
                  <a:cubicBezTo>
                    <a:pt x="1530" y="885"/>
                    <a:pt x="1532" y="894"/>
                    <a:pt x="1535" y="903"/>
                  </a:cubicBezTo>
                  <a:moveTo>
                    <a:pt x="1661" y="896"/>
                  </a:moveTo>
                  <a:cubicBezTo>
                    <a:pt x="1640" y="894"/>
                    <a:pt x="1620" y="891"/>
                    <a:pt x="1601" y="887"/>
                  </a:cubicBezTo>
                  <a:cubicBezTo>
                    <a:pt x="1597" y="867"/>
                    <a:pt x="1594" y="852"/>
                    <a:pt x="1593" y="845"/>
                  </a:cubicBezTo>
                  <a:cubicBezTo>
                    <a:pt x="1617" y="849"/>
                    <a:pt x="1639" y="853"/>
                    <a:pt x="1656" y="857"/>
                  </a:cubicBezTo>
                  <a:cubicBezTo>
                    <a:pt x="1657" y="860"/>
                    <a:pt x="1658" y="874"/>
                    <a:pt x="1661" y="896"/>
                  </a:cubicBezTo>
                  <a:moveTo>
                    <a:pt x="1709" y="859"/>
                  </a:moveTo>
                  <a:cubicBezTo>
                    <a:pt x="1698" y="856"/>
                    <a:pt x="1675" y="849"/>
                    <a:pt x="1642" y="842"/>
                  </a:cubicBezTo>
                  <a:cubicBezTo>
                    <a:pt x="1663" y="844"/>
                    <a:pt x="1685" y="846"/>
                    <a:pt x="1709" y="848"/>
                  </a:cubicBezTo>
                  <a:cubicBezTo>
                    <a:pt x="1709" y="852"/>
                    <a:pt x="1709" y="855"/>
                    <a:pt x="1709" y="859"/>
                  </a:cubicBezTo>
                  <a:moveTo>
                    <a:pt x="1589" y="884"/>
                  </a:moveTo>
                  <a:cubicBezTo>
                    <a:pt x="1571" y="879"/>
                    <a:pt x="1554" y="874"/>
                    <a:pt x="1537" y="867"/>
                  </a:cubicBezTo>
                  <a:cubicBezTo>
                    <a:pt x="1534" y="854"/>
                    <a:pt x="1532" y="843"/>
                    <a:pt x="1530" y="836"/>
                  </a:cubicBezTo>
                  <a:cubicBezTo>
                    <a:pt x="1536" y="837"/>
                    <a:pt x="1542" y="838"/>
                    <a:pt x="1548" y="839"/>
                  </a:cubicBezTo>
                  <a:cubicBezTo>
                    <a:pt x="1559" y="840"/>
                    <a:pt x="1570" y="842"/>
                    <a:pt x="1581" y="843"/>
                  </a:cubicBezTo>
                  <a:cubicBezTo>
                    <a:pt x="1582" y="847"/>
                    <a:pt x="1585" y="862"/>
                    <a:pt x="1589" y="884"/>
                  </a:cubicBezTo>
                  <a:moveTo>
                    <a:pt x="1833" y="975"/>
                  </a:moveTo>
                  <a:cubicBezTo>
                    <a:pt x="1823" y="946"/>
                    <a:pt x="1815" y="918"/>
                    <a:pt x="1807" y="892"/>
                  </a:cubicBezTo>
                  <a:cubicBezTo>
                    <a:pt x="1812" y="868"/>
                    <a:pt x="1819" y="843"/>
                    <a:pt x="1829" y="820"/>
                  </a:cubicBezTo>
                  <a:cubicBezTo>
                    <a:pt x="1835" y="849"/>
                    <a:pt x="1842" y="880"/>
                    <a:pt x="1850" y="913"/>
                  </a:cubicBezTo>
                  <a:cubicBezTo>
                    <a:pt x="1842" y="933"/>
                    <a:pt x="1837" y="954"/>
                    <a:pt x="1833" y="975"/>
                  </a:cubicBezTo>
                  <a:moveTo>
                    <a:pt x="1525" y="862"/>
                  </a:moveTo>
                  <a:cubicBezTo>
                    <a:pt x="1505" y="854"/>
                    <a:pt x="1486" y="845"/>
                    <a:pt x="1468" y="835"/>
                  </a:cubicBezTo>
                  <a:cubicBezTo>
                    <a:pt x="1465" y="826"/>
                    <a:pt x="1463" y="819"/>
                    <a:pt x="1462" y="813"/>
                  </a:cubicBezTo>
                  <a:cubicBezTo>
                    <a:pt x="1480" y="821"/>
                    <a:pt x="1499" y="828"/>
                    <a:pt x="1518" y="833"/>
                  </a:cubicBezTo>
                  <a:cubicBezTo>
                    <a:pt x="1519" y="839"/>
                    <a:pt x="1521" y="849"/>
                    <a:pt x="1525" y="862"/>
                  </a:cubicBezTo>
                  <a:moveTo>
                    <a:pt x="1466" y="871"/>
                  </a:moveTo>
                  <a:cubicBezTo>
                    <a:pt x="1447" y="860"/>
                    <a:pt x="1428" y="849"/>
                    <a:pt x="1412" y="839"/>
                  </a:cubicBezTo>
                  <a:cubicBezTo>
                    <a:pt x="1408" y="829"/>
                    <a:pt x="1406" y="820"/>
                    <a:pt x="1403" y="811"/>
                  </a:cubicBezTo>
                  <a:cubicBezTo>
                    <a:pt x="1420" y="822"/>
                    <a:pt x="1439" y="833"/>
                    <a:pt x="1458" y="844"/>
                  </a:cubicBezTo>
                  <a:cubicBezTo>
                    <a:pt x="1461" y="852"/>
                    <a:pt x="1463" y="861"/>
                    <a:pt x="1466" y="871"/>
                  </a:cubicBezTo>
                  <a:moveTo>
                    <a:pt x="1788" y="974"/>
                  </a:moveTo>
                  <a:cubicBezTo>
                    <a:pt x="1778" y="950"/>
                    <a:pt x="1769" y="926"/>
                    <a:pt x="1762" y="905"/>
                  </a:cubicBezTo>
                  <a:cubicBezTo>
                    <a:pt x="1762" y="904"/>
                    <a:pt x="1762" y="904"/>
                    <a:pt x="1762" y="903"/>
                  </a:cubicBezTo>
                  <a:cubicBezTo>
                    <a:pt x="1762" y="871"/>
                    <a:pt x="1764" y="837"/>
                    <a:pt x="1771" y="805"/>
                  </a:cubicBezTo>
                  <a:cubicBezTo>
                    <a:pt x="1778" y="831"/>
                    <a:pt x="1786" y="861"/>
                    <a:pt x="1796" y="894"/>
                  </a:cubicBezTo>
                  <a:cubicBezTo>
                    <a:pt x="1791" y="921"/>
                    <a:pt x="1789" y="948"/>
                    <a:pt x="1788" y="974"/>
                  </a:cubicBezTo>
                  <a:moveTo>
                    <a:pt x="1713" y="809"/>
                  </a:moveTo>
                  <a:cubicBezTo>
                    <a:pt x="1709" y="809"/>
                    <a:pt x="1705" y="808"/>
                    <a:pt x="1701" y="807"/>
                  </a:cubicBezTo>
                  <a:cubicBezTo>
                    <a:pt x="1703" y="801"/>
                    <a:pt x="1703" y="801"/>
                    <a:pt x="1703" y="801"/>
                  </a:cubicBezTo>
                  <a:cubicBezTo>
                    <a:pt x="1702" y="801"/>
                    <a:pt x="1701" y="800"/>
                    <a:pt x="1700" y="800"/>
                  </a:cubicBezTo>
                  <a:cubicBezTo>
                    <a:pt x="1704" y="800"/>
                    <a:pt x="1704" y="800"/>
                    <a:pt x="1704" y="800"/>
                  </a:cubicBezTo>
                  <a:cubicBezTo>
                    <a:pt x="1704" y="800"/>
                    <a:pt x="1704" y="799"/>
                    <a:pt x="1704" y="797"/>
                  </a:cubicBezTo>
                  <a:cubicBezTo>
                    <a:pt x="1704" y="795"/>
                    <a:pt x="1704" y="792"/>
                    <a:pt x="1704" y="788"/>
                  </a:cubicBezTo>
                  <a:cubicBezTo>
                    <a:pt x="1716" y="788"/>
                    <a:pt x="1716" y="788"/>
                    <a:pt x="1716" y="788"/>
                  </a:cubicBezTo>
                  <a:cubicBezTo>
                    <a:pt x="1715" y="793"/>
                    <a:pt x="1715" y="797"/>
                    <a:pt x="1714" y="802"/>
                  </a:cubicBezTo>
                  <a:cubicBezTo>
                    <a:pt x="1714" y="802"/>
                    <a:pt x="1714" y="802"/>
                    <a:pt x="1714" y="802"/>
                  </a:cubicBezTo>
                  <a:cubicBezTo>
                    <a:pt x="1714" y="803"/>
                    <a:pt x="1714" y="803"/>
                    <a:pt x="1714" y="803"/>
                  </a:cubicBezTo>
                  <a:cubicBezTo>
                    <a:pt x="1713" y="805"/>
                    <a:pt x="1713" y="807"/>
                    <a:pt x="1713" y="809"/>
                  </a:cubicBezTo>
                  <a:moveTo>
                    <a:pt x="1693" y="797"/>
                  </a:moveTo>
                  <a:cubicBezTo>
                    <a:pt x="1688" y="794"/>
                    <a:pt x="1681" y="790"/>
                    <a:pt x="1676" y="786"/>
                  </a:cubicBezTo>
                  <a:cubicBezTo>
                    <a:pt x="1693" y="787"/>
                    <a:pt x="1693" y="787"/>
                    <a:pt x="1693" y="787"/>
                  </a:cubicBezTo>
                  <a:cubicBezTo>
                    <a:pt x="1693" y="790"/>
                    <a:pt x="1693" y="793"/>
                    <a:pt x="1693" y="795"/>
                  </a:cubicBezTo>
                  <a:cubicBezTo>
                    <a:pt x="1693" y="796"/>
                    <a:pt x="1693" y="796"/>
                    <a:pt x="1693" y="797"/>
                  </a:cubicBezTo>
                  <a:moveTo>
                    <a:pt x="1678" y="802"/>
                  </a:moveTo>
                  <a:cubicBezTo>
                    <a:pt x="1656" y="796"/>
                    <a:pt x="1637" y="790"/>
                    <a:pt x="1627" y="784"/>
                  </a:cubicBezTo>
                  <a:cubicBezTo>
                    <a:pt x="1659" y="785"/>
                    <a:pt x="1659" y="785"/>
                    <a:pt x="1659" y="785"/>
                  </a:cubicBezTo>
                  <a:cubicBezTo>
                    <a:pt x="1664" y="792"/>
                    <a:pt x="1671" y="798"/>
                    <a:pt x="1678" y="802"/>
                  </a:cubicBezTo>
                  <a:moveTo>
                    <a:pt x="1711" y="826"/>
                  </a:moveTo>
                  <a:cubicBezTo>
                    <a:pt x="1650" y="816"/>
                    <a:pt x="1584" y="800"/>
                    <a:pt x="1575" y="790"/>
                  </a:cubicBezTo>
                  <a:cubicBezTo>
                    <a:pt x="1577" y="788"/>
                    <a:pt x="1580" y="785"/>
                    <a:pt x="1582" y="782"/>
                  </a:cubicBezTo>
                  <a:cubicBezTo>
                    <a:pt x="1609" y="783"/>
                    <a:pt x="1609" y="783"/>
                    <a:pt x="1609" y="783"/>
                  </a:cubicBezTo>
                  <a:cubicBezTo>
                    <a:pt x="1618" y="802"/>
                    <a:pt x="1681" y="816"/>
                    <a:pt x="1712" y="821"/>
                  </a:cubicBezTo>
                  <a:cubicBezTo>
                    <a:pt x="1711" y="823"/>
                    <a:pt x="1711" y="825"/>
                    <a:pt x="1711" y="826"/>
                  </a:cubicBezTo>
                  <a:moveTo>
                    <a:pt x="1685" y="834"/>
                  </a:moveTo>
                  <a:cubicBezTo>
                    <a:pt x="1599" y="826"/>
                    <a:pt x="1515" y="815"/>
                    <a:pt x="1495" y="807"/>
                  </a:cubicBezTo>
                  <a:cubicBezTo>
                    <a:pt x="1499" y="803"/>
                    <a:pt x="1505" y="799"/>
                    <a:pt x="1512" y="792"/>
                  </a:cubicBezTo>
                  <a:cubicBezTo>
                    <a:pt x="1516" y="788"/>
                    <a:pt x="1522" y="784"/>
                    <a:pt x="1527" y="779"/>
                  </a:cubicBezTo>
                  <a:cubicBezTo>
                    <a:pt x="1568" y="781"/>
                    <a:pt x="1568" y="781"/>
                    <a:pt x="1568" y="781"/>
                  </a:cubicBezTo>
                  <a:cubicBezTo>
                    <a:pt x="1568" y="781"/>
                    <a:pt x="1567" y="782"/>
                    <a:pt x="1567" y="782"/>
                  </a:cubicBezTo>
                  <a:cubicBezTo>
                    <a:pt x="1565" y="784"/>
                    <a:pt x="1564" y="787"/>
                    <a:pt x="1564" y="790"/>
                  </a:cubicBezTo>
                  <a:cubicBezTo>
                    <a:pt x="1564" y="791"/>
                    <a:pt x="1564" y="792"/>
                    <a:pt x="1564" y="793"/>
                  </a:cubicBezTo>
                  <a:cubicBezTo>
                    <a:pt x="1569" y="810"/>
                    <a:pt x="1637" y="825"/>
                    <a:pt x="1685" y="834"/>
                  </a:cubicBezTo>
                  <a:moveTo>
                    <a:pt x="1949" y="895"/>
                  </a:moveTo>
                  <a:cubicBezTo>
                    <a:pt x="1942" y="868"/>
                    <a:pt x="1935" y="841"/>
                    <a:pt x="1928" y="815"/>
                  </a:cubicBezTo>
                  <a:cubicBezTo>
                    <a:pt x="1932" y="812"/>
                    <a:pt x="1936" y="808"/>
                    <a:pt x="1941" y="805"/>
                  </a:cubicBezTo>
                  <a:cubicBezTo>
                    <a:pt x="1957" y="792"/>
                    <a:pt x="1974" y="780"/>
                    <a:pt x="1991" y="770"/>
                  </a:cubicBezTo>
                  <a:cubicBezTo>
                    <a:pt x="1999" y="794"/>
                    <a:pt x="2007" y="819"/>
                    <a:pt x="2015" y="845"/>
                  </a:cubicBezTo>
                  <a:cubicBezTo>
                    <a:pt x="2002" y="854"/>
                    <a:pt x="1989" y="862"/>
                    <a:pt x="1976" y="871"/>
                  </a:cubicBezTo>
                  <a:cubicBezTo>
                    <a:pt x="1966" y="879"/>
                    <a:pt x="1957" y="887"/>
                    <a:pt x="1949" y="895"/>
                  </a:cubicBezTo>
                  <a:moveTo>
                    <a:pt x="1751" y="877"/>
                  </a:moveTo>
                  <a:cubicBezTo>
                    <a:pt x="1743" y="855"/>
                    <a:pt x="1737" y="836"/>
                    <a:pt x="1732" y="823"/>
                  </a:cubicBezTo>
                  <a:cubicBezTo>
                    <a:pt x="1738" y="805"/>
                    <a:pt x="1746" y="783"/>
                    <a:pt x="1758" y="757"/>
                  </a:cubicBezTo>
                  <a:cubicBezTo>
                    <a:pt x="1760" y="764"/>
                    <a:pt x="1763" y="773"/>
                    <a:pt x="1765" y="782"/>
                  </a:cubicBezTo>
                  <a:cubicBezTo>
                    <a:pt x="1757" y="813"/>
                    <a:pt x="1753" y="845"/>
                    <a:pt x="1751" y="877"/>
                  </a:cubicBezTo>
                  <a:moveTo>
                    <a:pt x="1718" y="776"/>
                  </a:moveTo>
                  <a:cubicBezTo>
                    <a:pt x="1705" y="776"/>
                    <a:pt x="1705" y="776"/>
                    <a:pt x="1705" y="776"/>
                  </a:cubicBezTo>
                  <a:cubicBezTo>
                    <a:pt x="1706" y="768"/>
                    <a:pt x="1707" y="759"/>
                    <a:pt x="1709" y="748"/>
                  </a:cubicBezTo>
                  <a:cubicBezTo>
                    <a:pt x="1725" y="749"/>
                    <a:pt x="1725" y="749"/>
                    <a:pt x="1725" y="749"/>
                  </a:cubicBezTo>
                  <a:cubicBezTo>
                    <a:pt x="1722" y="758"/>
                    <a:pt x="1720" y="767"/>
                    <a:pt x="1718" y="776"/>
                  </a:cubicBezTo>
                  <a:moveTo>
                    <a:pt x="1694" y="775"/>
                  </a:moveTo>
                  <a:cubicBezTo>
                    <a:pt x="1665" y="774"/>
                    <a:pt x="1665" y="774"/>
                    <a:pt x="1665" y="774"/>
                  </a:cubicBezTo>
                  <a:cubicBezTo>
                    <a:pt x="1665" y="773"/>
                    <a:pt x="1665" y="773"/>
                    <a:pt x="1665" y="773"/>
                  </a:cubicBezTo>
                  <a:cubicBezTo>
                    <a:pt x="1664" y="771"/>
                    <a:pt x="1663" y="769"/>
                    <a:pt x="1663" y="768"/>
                  </a:cubicBezTo>
                  <a:cubicBezTo>
                    <a:pt x="1663" y="766"/>
                    <a:pt x="1664" y="765"/>
                    <a:pt x="1664" y="763"/>
                  </a:cubicBezTo>
                  <a:cubicBezTo>
                    <a:pt x="1666" y="759"/>
                    <a:pt x="1668" y="753"/>
                    <a:pt x="1671" y="747"/>
                  </a:cubicBezTo>
                  <a:cubicBezTo>
                    <a:pt x="1698" y="748"/>
                    <a:pt x="1698" y="748"/>
                    <a:pt x="1698" y="748"/>
                  </a:cubicBezTo>
                  <a:cubicBezTo>
                    <a:pt x="1696" y="758"/>
                    <a:pt x="1695" y="767"/>
                    <a:pt x="1694" y="775"/>
                  </a:cubicBezTo>
                  <a:moveTo>
                    <a:pt x="1653" y="773"/>
                  </a:moveTo>
                  <a:cubicBezTo>
                    <a:pt x="1623" y="772"/>
                    <a:pt x="1623" y="772"/>
                    <a:pt x="1623" y="772"/>
                  </a:cubicBezTo>
                  <a:cubicBezTo>
                    <a:pt x="1627" y="765"/>
                    <a:pt x="1633" y="756"/>
                    <a:pt x="1642" y="745"/>
                  </a:cubicBezTo>
                  <a:cubicBezTo>
                    <a:pt x="1659" y="746"/>
                    <a:pt x="1659" y="746"/>
                    <a:pt x="1659" y="746"/>
                  </a:cubicBezTo>
                  <a:cubicBezTo>
                    <a:pt x="1657" y="751"/>
                    <a:pt x="1655" y="755"/>
                    <a:pt x="1654" y="759"/>
                  </a:cubicBezTo>
                  <a:cubicBezTo>
                    <a:pt x="1653" y="762"/>
                    <a:pt x="1652" y="765"/>
                    <a:pt x="1652" y="768"/>
                  </a:cubicBezTo>
                  <a:cubicBezTo>
                    <a:pt x="1652" y="769"/>
                    <a:pt x="1652" y="771"/>
                    <a:pt x="1653" y="773"/>
                  </a:cubicBezTo>
                  <a:moveTo>
                    <a:pt x="1610" y="771"/>
                  </a:moveTo>
                  <a:cubicBezTo>
                    <a:pt x="1591" y="770"/>
                    <a:pt x="1591" y="770"/>
                    <a:pt x="1591" y="770"/>
                  </a:cubicBezTo>
                  <a:cubicBezTo>
                    <a:pt x="1597" y="763"/>
                    <a:pt x="1604" y="754"/>
                    <a:pt x="1614" y="744"/>
                  </a:cubicBezTo>
                  <a:cubicBezTo>
                    <a:pt x="1628" y="745"/>
                    <a:pt x="1628" y="745"/>
                    <a:pt x="1628" y="745"/>
                  </a:cubicBezTo>
                  <a:cubicBezTo>
                    <a:pt x="1619" y="755"/>
                    <a:pt x="1614" y="764"/>
                    <a:pt x="1610" y="770"/>
                  </a:cubicBezTo>
                  <a:cubicBezTo>
                    <a:pt x="1610" y="771"/>
                    <a:pt x="1610" y="771"/>
                    <a:pt x="1610" y="771"/>
                  </a:cubicBezTo>
                  <a:moveTo>
                    <a:pt x="1577" y="769"/>
                  </a:moveTo>
                  <a:cubicBezTo>
                    <a:pt x="1540" y="768"/>
                    <a:pt x="1540" y="768"/>
                    <a:pt x="1540" y="768"/>
                  </a:cubicBezTo>
                  <a:cubicBezTo>
                    <a:pt x="1550" y="760"/>
                    <a:pt x="1560" y="751"/>
                    <a:pt x="1571" y="742"/>
                  </a:cubicBezTo>
                  <a:cubicBezTo>
                    <a:pt x="1598" y="744"/>
                    <a:pt x="1598" y="744"/>
                    <a:pt x="1598" y="744"/>
                  </a:cubicBezTo>
                  <a:cubicBezTo>
                    <a:pt x="1590" y="753"/>
                    <a:pt x="1583" y="762"/>
                    <a:pt x="1577" y="769"/>
                  </a:cubicBezTo>
                  <a:moveTo>
                    <a:pt x="1524" y="767"/>
                  </a:moveTo>
                  <a:cubicBezTo>
                    <a:pt x="1519" y="766"/>
                    <a:pt x="1519" y="766"/>
                    <a:pt x="1519" y="766"/>
                  </a:cubicBezTo>
                  <a:cubicBezTo>
                    <a:pt x="1528" y="760"/>
                    <a:pt x="1536" y="751"/>
                    <a:pt x="1543" y="741"/>
                  </a:cubicBezTo>
                  <a:cubicBezTo>
                    <a:pt x="1553" y="742"/>
                    <a:pt x="1553" y="742"/>
                    <a:pt x="1553" y="742"/>
                  </a:cubicBezTo>
                  <a:cubicBezTo>
                    <a:pt x="1542" y="751"/>
                    <a:pt x="1532" y="759"/>
                    <a:pt x="1524" y="767"/>
                  </a:cubicBezTo>
                  <a:moveTo>
                    <a:pt x="1857" y="895"/>
                  </a:moveTo>
                  <a:cubicBezTo>
                    <a:pt x="1850" y="863"/>
                    <a:pt x="1843" y="832"/>
                    <a:pt x="1837" y="804"/>
                  </a:cubicBezTo>
                  <a:cubicBezTo>
                    <a:pt x="1851" y="777"/>
                    <a:pt x="1870" y="752"/>
                    <a:pt x="1895" y="731"/>
                  </a:cubicBezTo>
                  <a:cubicBezTo>
                    <a:pt x="1901" y="756"/>
                    <a:pt x="1908" y="783"/>
                    <a:pt x="1915" y="811"/>
                  </a:cubicBezTo>
                  <a:cubicBezTo>
                    <a:pt x="1890" y="836"/>
                    <a:pt x="1871" y="864"/>
                    <a:pt x="1857" y="895"/>
                  </a:cubicBezTo>
                  <a:moveTo>
                    <a:pt x="2025" y="839"/>
                  </a:moveTo>
                  <a:cubicBezTo>
                    <a:pt x="2017" y="813"/>
                    <a:pt x="2009" y="788"/>
                    <a:pt x="2001" y="764"/>
                  </a:cubicBezTo>
                  <a:cubicBezTo>
                    <a:pt x="2023" y="751"/>
                    <a:pt x="2045" y="740"/>
                    <a:pt x="2068" y="730"/>
                  </a:cubicBezTo>
                  <a:cubicBezTo>
                    <a:pt x="2077" y="755"/>
                    <a:pt x="2086" y="780"/>
                    <a:pt x="2095" y="805"/>
                  </a:cubicBezTo>
                  <a:cubicBezTo>
                    <a:pt x="2070" y="815"/>
                    <a:pt x="2047" y="827"/>
                    <a:pt x="2025" y="839"/>
                  </a:cubicBezTo>
                  <a:moveTo>
                    <a:pt x="1726" y="805"/>
                  </a:moveTo>
                  <a:cubicBezTo>
                    <a:pt x="1726" y="804"/>
                    <a:pt x="1726" y="803"/>
                    <a:pt x="1725" y="802"/>
                  </a:cubicBezTo>
                  <a:cubicBezTo>
                    <a:pt x="1730" y="770"/>
                    <a:pt x="1738" y="740"/>
                    <a:pt x="1748" y="713"/>
                  </a:cubicBezTo>
                  <a:cubicBezTo>
                    <a:pt x="1749" y="719"/>
                    <a:pt x="1751" y="728"/>
                    <a:pt x="1754" y="740"/>
                  </a:cubicBezTo>
                  <a:cubicBezTo>
                    <a:pt x="1742" y="764"/>
                    <a:pt x="1733" y="787"/>
                    <a:pt x="1726" y="805"/>
                  </a:cubicBezTo>
                  <a:moveTo>
                    <a:pt x="1664" y="734"/>
                  </a:moveTo>
                  <a:cubicBezTo>
                    <a:pt x="1652" y="734"/>
                    <a:pt x="1652" y="734"/>
                    <a:pt x="1652" y="734"/>
                  </a:cubicBezTo>
                  <a:cubicBezTo>
                    <a:pt x="1659" y="726"/>
                    <a:pt x="1667" y="718"/>
                    <a:pt x="1678" y="710"/>
                  </a:cubicBezTo>
                  <a:cubicBezTo>
                    <a:pt x="1672" y="719"/>
                    <a:pt x="1668" y="727"/>
                    <a:pt x="1664" y="734"/>
                  </a:cubicBezTo>
                  <a:moveTo>
                    <a:pt x="1801" y="870"/>
                  </a:moveTo>
                  <a:cubicBezTo>
                    <a:pt x="1791" y="837"/>
                    <a:pt x="1783" y="807"/>
                    <a:pt x="1777" y="782"/>
                  </a:cubicBezTo>
                  <a:cubicBezTo>
                    <a:pt x="1784" y="756"/>
                    <a:pt x="1794" y="731"/>
                    <a:pt x="1808" y="708"/>
                  </a:cubicBezTo>
                  <a:cubicBezTo>
                    <a:pt x="1813" y="735"/>
                    <a:pt x="1818" y="766"/>
                    <a:pt x="1826" y="802"/>
                  </a:cubicBezTo>
                  <a:cubicBezTo>
                    <a:pt x="1815" y="824"/>
                    <a:pt x="1807" y="847"/>
                    <a:pt x="1801" y="870"/>
                  </a:cubicBezTo>
                  <a:moveTo>
                    <a:pt x="1567" y="730"/>
                  </a:moveTo>
                  <a:cubicBezTo>
                    <a:pt x="1552" y="730"/>
                    <a:pt x="1552" y="730"/>
                    <a:pt x="1552" y="730"/>
                  </a:cubicBezTo>
                  <a:cubicBezTo>
                    <a:pt x="1558" y="721"/>
                    <a:pt x="1565" y="712"/>
                    <a:pt x="1573" y="705"/>
                  </a:cubicBezTo>
                  <a:cubicBezTo>
                    <a:pt x="1601" y="704"/>
                    <a:pt x="1601" y="704"/>
                    <a:pt x="1601" y="704"/>
                  </a:cubicBezTo>
                  <a:cubicBezTo>
                    <a:pt x="1589" y="713"/>
                    <a:pt x="1578" y="722"/>
                    <a:pt x="1567" y="730"/>
                  </a:cubicBezTo>
                  <a:moveTo>
                    <a:pt x="1609" y="732"/>
                  </a:moveTo>
                  <a:cubicBezTo>
                    <a:pt x="1585" y="731"/>
                    <a:pt x="1585" y="731"/>
                    <a:pt x="1585" y="731"/>
                  </a:cubicBezTo>
                  <a:cubicBezTo>
                    <a:pt x="1596" y="722"/>
                    <a:pt x="1608" y="713"/>
                    <a:pt x="1621" y="703"/>
                  </a:cubicBezTo>
                  <a:cubicBezTo>
                    <a:pt x="1641" y="703"/>
                    <a:pt x="1641" y="703"/>
                    <a:pt x="1641" y="703"/>
                  </a:cubicBezTo>
                  <a:cubicBezTo>
                    <a:pt x="1628" y="713"/>
                    <a:pt x="1618" y="723"/>
                    <a:pt x="1609" y="732"/>
                  </a:cubicBezTo>
                  <a:moveTo>
                    <a:pt x="1637" y="733"/>
                  </a:moveTo>
                  <a:cubicBezTo>
                    <a:pt x="1625" y="733"/>
                    <a:pt x="1625" y="733"/>
                    <a:pt x="1625" y="733"/>
                  </a:cubicBezTo>
                  <a:cubicBezTo>
                    <a:pt x="1635" y="723"/>
                    <a:pt x="1646" y="713"/>
                    <a:pt x="1660" y="702"/>
                  </a:cubicBezTo>
                  <a:cubicBezTo>
                    <a:pt x="1669" y="702"/>
                    <a:pt x="1669" y="702"/>
                    <a:pt x="1669" y="702"/>
                  </a:cubicBezTo>
                  <a:cubicBezTo>
                    <a:pt x="1656" y="713"/>
                    <a:pt x="1645" y="724"/>
                    <a:pt x="1637" y="733"/>
                  </a:cubicBezTo>
                  <a:moveTo>
                    <a:pt x="1700" y="736"/>
                  </a:moveTo>
                  <a:cubicBezTo>
                    <a:pt x="1676" y="735"/>
                    <a:pt x="1676" y="735"/>
                    <a:pt x="1676" y="735"/>
                  </a:cubicBezTo>
                  <a:cubicBezTo>
                    <a:pt x="1681" y="725"/>
                    <a:pt x="1688" y="713"/>
                    <a:pt x="1697" y="702"/>
                  </a:cubicBezTo>
                  <a:cubicBezTo>
                    <a:pt x="1711" y="701"/>
                    <a:pt x="1711" y="701"/>
                    <a:pt x="1711" y="701"/>
                  </a:cubicBezTo>
                  <a:cubicBezTo>
                    <a:pt x="1706" y="713"/>
                    <a:pt x="1703" y="725"/>
                    <a:pt x="1700" y="736"/>
                  </a:cubicBezTo>
                  <a:moveTo>
                    <a:pt x="1728" y="737"/>
                  </a:moveTo>
                  <a:cubicBezTo>
                    <a:pt x="1712" y="736"/>
                    <a:pt x="1712" y="736"/>
                    <a:pt x="1712" y="736"/>
                  </a:cubicBezTo>
                  <a:cubicBezTo>
                    <a:pt x="1714" y="725"/>
                    <a:pt x="1718" y="713"/>
                    <a:pt x="1723" y="701"/>
                  </a:cubicBezTo>
                  <a:cubicBezTo>
                    <a:pt x="1740" y="701"/>
                    <a:pt x="1740" y="701"/>
                    <a:pt x="1740" y="701"/>
                  </a:cubicBezTo>
                  <a:cubicBezTo>
                    <a:pt x="1735" y="712"/>
                    <a:pt x="1731" y="725"/>
                    <a:pt x="1728" y="737"/>
                  </a:cubicBezTo>
                  <a:moveTo>
                    <a:pt x="1925" y="803"/>
                  </a:moveTo>
                  <a:cubicBezTo>
                    <a:pt x="1917" y="775"/>
                    <a:pt x="1911" y="748"/>
                    <a:pt x="1904" y="723"/>
                  </a:cubicBezTo>
                  <a:cubicBezTo>
                    <a:pt x="1923" y="709"/>
                    <a:pt x="1943" y="696"/>
                    <a:pt x="1963" y="683"/>
                  </a:cubicBezTo>
                  <a:cubicBezTo>
                    <a:pt x="1971" y="707"/>
                    <a:pt x="1979" y="732"/>
                    <a:pt x="1988" y="758"/>
                  </a:cubicBezTo>
                  <a:cubicBezTo>
                    <a:pt x="1969" y="770"/>
                    <a:pt x="1951" y="782"/>
                    <a:pt x="1934" y="795"/>
                  </a:cubicBezTo>
                  <a:cubicBezTo>
                    <a:pt x="1931" y="798"/>
                    <a:pt x="1928" y="800"/>
                    <a:pt x="1925" y="803"/>
                  </a:cubicBezTo>
                  <a:moveTo>
                    <a:pt x="1771" y="761"/>
                  </a:moveTo>
                  <a:cubicBezTo>
                    <a:pt x="1769" y="754"/>
                    <a:pt x="1768" y="747"/>
                    <a:pt x="1766" y="741"/>
                  </a:cubicBezTo>
                  <a:cubicBezTo>
                    <a:pt x="1776" y="721"/>
                    <a:pt x="1789" y="700"/>
                    <a:pt x="1803" y="679"/>
                  </a:cubicBezTo>
                  <a:cubicBezTo>
                    <a:pt x="1804" y="683"/>
                    <a:pt x="1805" y="687"/>
                    <a:pt x="1805" y="691"/>
                  </a:cubicBezTo>
                  <a:cubicBezTo>
                    <a:pt x="1791" y="713"/>
                    <a:pt x="1779" y="736"/>
                    <a:pt x="1771" y="761"/>
                  </a:cubicBezTo>
                  <a:moveTo>
                    <a:pt x="1707" y="689"/>
                  </a:moveTo>
                  <a:cubicBezTo>
                    <a:pt x="1708" y="688"/>
                    <a:pt x="1709" y="687"/>
                    <a:pt x="1710" y="686"/>
                  </a:cubicBezTo>
                  <a:cubicBezTo>
                    <a:pt x="1714" y="684"/>
                    <a:pt x="1718" y="681"/>
                    <a:pt x="1722" y="679"/>
                  </a:cubicBezTo>
                  <a:cubicBezTo>
                    <a:pt x="1720" y="682"/>
                    <a:pt x="1718" y="686"/>
                    <a:pt x="1717" y="689"/>
                  </a:cubicBezTo>
                  <a:cubicBezTo>
                    <a:pt x="1707" y="689"/>
                    <a:pt x="1707" y="689"/>
                    <a:pt x="1707" y="689"/>
                  </a:cubicBezTo>
                  <a:moveTo>
                    <a:pt x="1678" y="690"/>
                  </a:moveTo>
                  <a:cubicBezTo>
                    <a:pt x="1688" y="684"/>
                    <a:pt x="1698" y="677"/>
                    <a:pt x="1710" y="671"/>
                  </a:cubicBezTo>
                  <a:cubicBezTo>
                    <a:pt x="1707" y="673"/>
                    <a:pt x="1705" y="675"/>
                    <a:pt x="1703" y="677"/>
                  </a:cubicBezTo>
                  <a:cubicBezTo>
                    <a:pt x="1697" y="681"/>
                    <a:pt x="1690" y="686"/>
                    <a:pt x="1685" y="690"/>
                  </a:cubicBezTo>
                  <a:cubicBezTo>
                    <a:pt x="1678" y="690"/>
                    <a:pt x="1678" y="690"/>
                    <a:pt x="1678" y="690"/>
                  </a:cubicBezTo>
                  <a:moveTo>
                    <a:pt x="1585" y="692"/>
                  </a:moveTo>
                  <a:cubicBezTo>
                    <a:pt x="1593" y="685"/>
                    <a:pt x="1602" y="678"/>
                    <a:pt x="1611" y="671"/>
                  </a:cubicBezTo>
                  <a:cubicBezTo>
                    <a:pt x="1654" y="666"/>
                    <a:pt x="1654" y="666"/>
                    <a:pt x="1654" y="666"/>
                  </a:cubicBezTo>
                  <a:cubicBezTo>
                    <a:pt x="1641" y="674"/>
                    <a:pt x="1629" y="683"/>
                    <a:pt x="1617" y="691"/>
                  </a:cubicBezTo>
                  <a:cubicBezTo>
                    <a:pt x="1585" y="692"/>
                    <a:pt x="1585" y="692"/>
                    <a:pt x="1585" y="692"/>
                  </a:cubicBezTo>
                  <a:moveTo>
                    <a:pt x="1638" y="691"/>
                  </a:moveTo>
                  <a:cubicBezTo>
                    <a:pt x="1651" y="681"/>
                    <a:pt x="1665" y="672"/>
                    <a:pt x="1680" y="662"/>
                  </a:cubicBezTo>
                  <a:cubicBezTo>
                    <a:pt x="1706" y="659"/>
                    <a:pt x="1706" y="659"/>
                    <a:pt x="1706" y="659"/>
                  </a:cubicBezTo>
                  <a:cubicBezTo>
                    <a:pt x="1687" y="670"/>
                    <a:pt x="1671" y="680"/>
                    <a:pt x="1657" y="691"/>
                  </a:cubicBezTo>
                  <a:cubicBezTo>
                    <a:pt x="1638" y="691"/>
                    <a:pt x="1638" y="691"/>
                    <a:pt x="1638" y="691"/>
                  </a:cubicBezTo>
                  <a:moveTo>
                    <a:pt x="1729" y="689"/>
                  </a:moveTo>
                  <a:cubicBezTo>
                    <a:pt x="1734" y="681"/>
                    <a:pt x="1739" y="674"/>
                    <a:pt x="1744" y="667"/>
                  </a:cubicBezTo>
                  <a:cubicBezTo>
                    <a:pt x="1749" y="664"/>
                    <a:pt x="1754" y="662"/>
                    <a:pt x="1760" y="659"/>
                  </a:cubicBezTo>
                  <a:cubicBezTo>
                    <a:pt x="1754" y="669"/>
                    <a:pt x="1750" y="678"/>
                    <a:pt x="1745" y="689"/>
                  </a:cubicBezTo>
                  <a:cubicBezTo>
                    <a:pt x="1729" y="689"/>
                    <a:pt x="1729" y="689"/>
                    <a:pt x="1729" y="689"/>
                  </a:cubicBezTo>
                  <a:moveTo>
                    <a:pt x="1998" y="753"/>
                  </a:moveTo>
                  <a:cubicBezTo>
                    <a:pt x="1989" y="726"/>
                    <a:pt x="1981" y="701"/>
                    <a:pt x="1973" y="677"/>
                  </a:cubicBezTo>
                  <a:cubicBezTo>
                    <a:pt x="1993" y="666"/>
                    <a:pt x="2014" y="656"/>
                    <a:pt x="2035" y="647"/>
                  </a:cubicBezTo>
                  <a:cubicBezTo>
                    <a:pt x="2044" y="670"/>
                    <a:pt x="2054" y="695"/>
                    <a:pt x="2064" y="721"/>
                  </a:cubicBezTo>
                  <a:cubicBezTo>
                    <a:pt x="2041" y="730"/>
                    <a:pt x="2019" y="741"/>
                    <a:pt x="1998" y="753"/>
                  </a:cubicBezTo>
                  <a:moveTo>
                    <a:pt x="1834" y="787"/>
                  </a:moveTo>
                  <a:cubicBezTo>
                    <a:pt x="1827" y="751"/>
                    <a:pt x="1821" y="720"/>
                    <a:pt x="1817" y="694"/>
                  </a:cubicBezTo>
                  <a:cubicBezTo>
                    <a:pt x="1828" y="679"/>
                    <a:pt x="1841" y="664"/>
                    <a:pt x="1856" y="651"/>
                  </a:cubicBezTo>
                  <a:cubicBezTo>
                    <a:pt x="1862" y="647"/>
                    <a:pt x="1867" y="643"/>
                    <a:pt x="1872" y="639"/>
                  </a:cubicBezTo>
                  <a:cubicBezTo>
                    <a:pt x="1878" y="662"/>
                    <a:pt x="1884" y="689"/>
                    <a:pt x="1892" y="719"/>
                  </a:cubicBezTo>
                  <a:cubicBezTo>
                    <a:pt x="1867" y="738"/>
                    <a:pt x="1849" y="761"/>
                    <a:pt x="1834" y="787"/>
                  </a:cubicBezTo>
                  <a:moveTo>
                    <a:pt x="1752" y="702"/>
                  </a:moveTo>
                  <a:cubicBezTo>
                    <a:pt x="1759" y="684"/>
                    <a:pt x="1768" y="667"/>
                    <a:pt x="1778" y="651"/>
                  </a:cubicBezTo>
                  <a:cubicBezTo>
                    <a:pt x="1778" y="651"/>
                    <a:pt x="1779" y="651"/>
                    <a:pt x="1779" y="650"/>
                  </a:cubicBezTo>
                  <a:cubicBezTo>
                    <a:pt x="1779" y="649"/>
                    <a:pt x="1779" y="649"/>
                    <a:pt x="1779" y="649"/>
                  </a:cubicBezTo>
                  <a:cubicBezTo>
                    <a:pt x="1782" y="644"/>
                    <a:pt x="1785" y="639"/>
                    <a:pt x="1789" y="634"/>
                  </a:cubicBezTo>
                  <a:cubicBezTo>
                    <a:pt x="1789" y="634"/>
                    <a:pt x="1790" y="634"/>
                    <a:pt x="1791" y="633"/>
                  </a:cubicBezTo>
                  <a:cubicBezTo>
                    <a:pt x="1790" y="632"/>
                    <a:pt x="1790" y="632"/>
                    <a:pt x="1790" y="632"/>
                  </a:cubicBezTo>
                  <a:cubicBezTo>
                    <a:pt x="1792" y="630"/>
                    <a:pt x="1794" y="627"/>
                    <a:pt x="1795" y="625"/>
                  </a:cubicBezTo>
                  <a:cubicBezTo>
                    <a:pt x="1796" y="632"/>
                    <a:pt x="1798" y="645"/>
                    <a:pt x="1801" y="663"/>
                  </a:cubicBezTo>
                  <a:cubicBezTo>
                    <a:pt x="1786" y="684"/>
                    <a:pt x="1773" y="705"/>
                    <a:pt x="1762" y="724"/>
                  </a:cubicBezTo>
                  <a:cubicBezTo>
                    <a:pt x="1759" y="710"/>
                    <a:pt x="1757" y="702"/>
                    <a:pt x="1757" y="701"/>
                  </a:cubicBezTo>
                  <a:cubicBezTo>
                    <a:pt x="1752" y="702"/>
                    <a:pt x="1752" y="702"/>
                    <a:pt x="1752" y="702"/>
                  </a:cubicBezTo>
                  <a:moveTo>
                    <a:pt x="1631" y="656"/>
                  </a:moveTo>
                  <a:cubicBezTo>
                    <a:pt x="1646" y="646"/>
                    <a:pt x="1661" y="637"/>
                    <a:pt x="1677" y="628"/>
                  </a:cubicBezTo>
                  <a:cubicBezTo>
                    <a:pt x="1738" y="614"/>
                    <a:pt x="1738" y="614"/>
                    <a:pt x="1738" y="614"/>
                  </a:cubicBezTo>
                  <a:cubicBezTo>
                    <a:pt x="1716" y="626"/>
                    <a:pt x="1696" y="638"/>
                    <a:pt x="1676" y="651"/>
                  </a:cubicBezTo>
                  <a:cubicBezTo>
                    <a:pt x="1631" y="656"/>
                    <a:pt x="1631" y="656"/>
                    <a:pt x="1631" y="656"/>
                  </a:cubicBezTo>
                  <a:moveTo>
                    <a:pt x="1815" y="679"/>
                  </a:moveTo>
                  <a:cubicBezTo>
                    <a:pt x="1814" y="674"/>
                    <a:pt x="1813" y="670"/>
                    <a:pt x="1813" y="666"/>
                  </a:cubicBezTo>
                  <a:cubicBezTo>
                    <a:pt x="1828" y="646"/>
                    <a:pt x="1845" y="627"/>
                    <a:pt x="1865" y="608"/>
                  </a:cubicBezTo>
                  <a:cubicBezTo>
                    <a:pt x="1866" y="614"/>
                    <a:pt x="1867" y="620"/>
                    <a:pt x="1869" y="626"/>
                  </a:cubicBezTo>
                  <a:cubicBezTo>
                    <a:pt x="1862" y="631"/>
                    <a:pt x="1856" y="637"/>
                    <a:pt x="1849" y="642"/>
                  </a:cubicBezTo>
                  <a:cubicBezTo>
                    <a:pt x="1836" y="653"/>
                    <a:pt x="1825" y="665"/>
                    <a:pt x="1815" y="679"/>
                  </a:cubicBezTo>
                  <a:moveTo>
                    <a:pt x="1704" y="648"/>
                  </a:moveTo>
                  <a:cubicBezTo>
                    <a:pt x="1730" y="632"/>
                    <a:pt x="1758" y="617"/>
                    <a:pt x="1787" y="603"/>
                  </a:cubicBezTo>
                  <a:cubicBezTo>
                    <a:pt x="1800" y="600"/>
                    <a:pt x="1800" y="600"/>
                    <a:pt x="1800" y="600"/>
                  </a:cubicBezTo>
                  <a:cubicBezTo>
                    <a:pt x="1793" y="608"/>
                    <a:pt x="1787" y="616"/>
                    <a:pt x="1781" y="624"/>
                  </a:cubicBezTo>
                  <a:cubicBezTo>
                    <a:pt x="1765" y="631"/>
                    <a:pt x="1750" y="637"/>
                    <a:pt x="1736" y="644"/>
                  </a:cubicBezTo>
                  <a:cubicBezTo>
                    <a:pt x="1704" y="648"/>
                    <a:pt x="1704" y="648"/>
                    <a:pt x="1704" y="648"/>
                  </a:cubicBezTo>
                  <a:moveTo>
                    <a:pt x="1901" y="711"/>
                  </a:moveTo>
                  <a:cubicBezTo>
                    <a:pt x="1894" y="681"/>
                    <a:pt x="1887" y="654"/>
                    <a:pt x="1882" y="631"/>
                  </a:cubicBezTo>
                  <a:cubicBezTo>
                    <a:pt x="1899" y="618"/>
                    <a:pt x="1916" y="606"/>
                    <a:pt x="1934" y="595"/>
                  </a:cubicBezTo>
                  <a:cubicBezTo>
                    <a:pt x="1942" y="617"/>
                    <a:pt x="1950" y="643"/>
                    <a:pt x="1960" y="672"/>
                  </a:cubicBezTo>
                  <a:cubicBezTo>
                    <a:pt x="1939" y="684"/>
                    <a:pt x="1920" y="697"/>
                    <a:pt x="1901" y="711"/>
                  </a:cubicBezTo>
                  <a:moveTo>
                    <a:pt x="1725" y="605"/>
                  </a:moveTo>
                  <a:cubicBezTo>
                    <a:pt x="1769" y="585"/>
                    <a:pt x="1810" y="572"/>
                    <a:pt x="1832" y="566"/>
                  </a:cubicBezTo>
                  <a:cubicBezTo>
                    <a:pt x="1829" y="569"/>
                    <a:pt x="1826" y="572"/>
                    <a:pt x="1823" y="575"/>
                  </a:cubicBezTo>
                  <a:cubicBezTo>
                    <a:pt x="1823" y="574"/>
                    <a:pt x="1823" y="574"/>
                    <a:pt x="1823" y="574"/>
                  </a:cubicBezTo>
                  <a:cubicBezTo>
                    <a:pt x="1809" y="580"/>
                    <a:pt x="1796" y="585"/>
                    <a:pt x="1783" y="591"/>
                  </a:cubicBezTo>
                  <a:cubicBezTo>
                    <a:pt x="1725" y="605"/>
                    <a:pt x="1725" y="605"/>
                    <a:pt x="1725" y="605"/>
                  </a:cubicBezTo>
                  <a:moveTo>
                    <a:pt x="1800" y="618"/>
                  </a:moveTo>
                  <a:cubicBezTo>
                    <a:pt x="1816" y="598"/>
                    <a:pt x="1834" y="579"/>
                    <a:pt x="1854" y="562"/>
                  </a:cubicBezTo>
                  <a:cubicBezTo>
                    <a:pt x="1855" y="568"/>
                    <a:pt x="1858" y="579"/>
                    <a:pt x="1861" y="595"/>
                  </a:cubicBezTo>
                  <a:cubicBezTo>
                    <a:pt x="1842" y="613"/>
                    <a:pt x="1825" y="632"/>
                    <a:pt x="1810" y="651"/>
                  </a:cubicBezTo>
                  <a:cubicBezTo>
                    <a:pt x="1807" y="630"/>
                    <a:pt x="1806" y="618"/>
                    <a:pt x="1806" y="617"/>
                  </a:cubicBezTo>
                  <a:cubicBezTo>
                    <a:pt x="1800" y="618"/>
                    <a:pt x="1800" y="618"/>
                    <a:pt x="1800" y="618"/>
                  </a:cubicBezTo>
                  <a:moveTo>
                    <a:pt x="1879" y="619"/>
                  </a:moveTo>
                  <a:cubicBezTo>
                    <a:pt x="1877" y="612"/>
                    <a:pt x="1875" y="605"/>
                    <a:pt x="1874" y="599"/>
                  </a:cubicBezTo>
                  <a:cubicBezTo>
                    <a:pt x="1889" y="586"/>
                    <a:pt x="1905" y="573"/>
                    <a:pt x="1923" y="561"/>
                  </a:cubicBezTo>
                  <a:cubicBezTo>
                    <a:pt x="1925" y="569"/>
                    <a:pt x="1928" y="576"/>
                    <a:pt x="1931" y="585"/>
                  </a:cubicBezTo>
                  <a:cubicBezTo>
                    <a:pt x="1913" y="595"/>
                    <a:pt x="1895" y="607"/>
                    <a:pt x="1879" y="619"/>
                  </a:cubicBezTo>
                  <a:moveTo>
                    <a:pt x="1970" y="666"/>
                  </a:moveTo>
                  <a:cubicBezTo>
                    <a:pt x="1960" y="637"/>
                    <a:pt x="1951" y="611"/>
                    <a:pt x="1944" y="589"/>
                  </a:cubicBezTo>
                  <a:cubicBezTo>
                    <a:pt x="1962" y="578"/>
                    <a:pt x="1981" y="569"/>
                    <a:pt x="1999" y="560"/>
                  </a:cubicBezTo>
                  <a:cubicBezTo>
                    <a:pt x="2009" y="582"/>
                    <a:pt x="2019" y="607"/>
                    <a:pt x="2031" y="636"/>
                  </a:cubicBezTo>
                  <a:cubicBezTo>
                    <a:pt x="2010" y="645"/>
                    <a:pt x="1989" y="655"/>
                    <a:pt x="1970" y="666"/>
                  </a:cubicBezTo>
                  <a:moveTo>
                    <a:pt x="1941" y="579"/>
                  </a:moveTo>
                  <a:cubicBezTo>
                    <a:pt x="1938" y="570"/>
                    <a:pt x="1935" y="562"/>
                    <a:pt x="1932" y="555"/>
                  </a:cubicBezTo>
                  <a:cubicBezTo>
                    <a:pt x="1949" y="545"/>
                    <a:pt x="1966" y="535"/>
                    <a:pt x="1985" y="527"/>
                  </a:cubicBezTo>
                  <a:cubicBezTo>
                    <a:pt x="1988" y="534"/>
                    <a:pt x="1992" y="542"/>
                    <a:pt x="1996" y="551"/>
                  </a:cubicBezTo>
                  <a:cubicBezTo>
                    <a:pt x="1977" y="560"/>
                    <a:pt x="1958" y="569"/>
                    <a:pt x="1941" y="579"/>
                  </a:cubicBezTo>
                  <a:moveTo>
                    <a:pt x="1863" y="555"/>
                  </a:moveTo>
                  <a:cubicBezTo>
                    <a:pt x="1877" y="544"/>
                    <a:pt x="1893" y="533"/>
                    <a:pt x="1909" y="523"/>
                  </a:cubicBezTo>
                  <a:cubicBezTo>
                    <a:pt x="1912" y="529"/>
                    <a:pt x="1915" y="538"/>
                    <a:pt x="1919" y="550"/>
                  </a:cubicBezTo>
                  <a:cubicBezTo>
                    <a:pt x="1901" y="561"/>
                    <a:pt x="1886" y="573"/>
                    <a:pt x="1871" y="586"/>
                  </a:cubicBezTo>
                  <a:cubicBezTo>
                    <a:pt x="1866" y="567"/>
                    <a:pt x="1864" y="555"/>
                    <a:pt x="1864" y="555"/>
                  </a:cubicBezTo>
                  <a:cubicBezTo>
                    <a:pt x="1863" y="555"/>
                    <a:pt x="1863" y="555"/>
                    <a:pt x="1863" y="555"/>
                  </a:cubicBezTo>
                  <a:moveTo>
                    <a:pt x="2006" y="547"/>
                  </a:moveTo>
                  <a:cubicBezTo>
                    <a:pt x="2002" y="538"/>
                    <a:pt x="1999" y="530"/>
                    <a:pt x="1996" y="522"/>
                  </a:cubicBezTo>
                  <a:cubicBezTo>
                    <a:pt x="2014" y="515"/>
                    <a:pt x="2034" y="508"/>
                    <a:pt x="2054" y="503"/>
                  </a:cubicBezTo>
                  <a:cubicBezTo>
                    <a:pt x="2058" y="510"/>
                    <a:pt x="2062" y="517"/>
                    <a:pt x="2066" y="525"/>
                  </a:cubicBezTo>
                  <a:cubicBezTo>
                    <a:pt x="2045" y="531"/>
                    <a:pt x="2026" y="539"/>
                    <a:pt x="2006" y="547"/>
                  </a:cubicBezTo>
                  <a:moveTo>
                    <a:pt x="2093" y="494"/>
                  </a:moveTo>
                  <a:cubicBezTo>
                    <a:pt x="2041" y="494"/>
                    <a:pt x="2041" y="494"/>
                    <a:pt x="2041" y="494"/>
                  </a:cubicBezTo>
                  <a:cubicBezTo>
                    <a:pt x="2023" y="499"/>
                    <a:pt x="2007" y="505"/>
                    <a:pt x="1991" y="512"/>
                  </a:cubicBezTo>
                  <a:cubicBezTo>
                    <a:pt x="1988" y="505"/>
                    <a:pt x="1985" y="499"/>
                    <a:pt x="1983" y="494"/>
                  </a:cubicBezTo>
                  <a:cubicBezTo>
                    <a:pt x="1971" y="494"/>
                    <a:pt x="1971" y="494"/>
                    <a:pt x="1971" y="494"/>
                  </a:cubicBezTo>
                  <a:cubicBezTo>
                    <a:pt x="1973" y="499"/>
                    <a:pt x="1976" y="507"/>
                    <a:pt x="1981" y="516"/>
                  </a:cubicBezTo>
                  <a:cubicBezTo>
                    <a:pt x="1962" y="524"/>
                    <a:pt x="1945" y="534"/>
                    <a:pt x="1928" y="544"/>
                  </a:cubicBezTo>
                  <a:cubicBezTo>
                    <a:pt x="1924" y="532"/>
                    <a:pt x="1921" y="523"/>
                    <a:pt x="1919" y="517"/>
                  </a:cubicBezTo>
                  <a:cubicBezTo>
                    <a:pt x="1934" y="509"/>
                    <a:pt x="1949" y="501"/>
                    <a:pt x="1966" y="494"/>
                  </a:cubicBezTo>
                  <a:cubicBezTo>
                    <a:pt x="1937" y="494"/>
                    <a:pt x="1937" y="494"/>
                    <a:pt x="1937" y="494"/>
                  </a:cubicBezTo>
                  <a:cubicBezTo>
                    <a:pt x="1904" y="511"/>
                    <a:pt x="1874" y="530"/>
                    <a:pt x="1848" y="552"/>
                  </a:cubicBezTo>
                  <a:cubicBezTo>
                    <a:pt x="1848" y="549"/>
                    <a:pt x="1848" y="549"/>
                    <a:pt x="1848" y="549"/>
                  </a:cubicBezTo>
                  <a:cubicBezTo>
                    <a:pt x="1842" y="551"/>
                    <a:pt x="1756" y="572"/>
                    <a:pt x="1672" y="617"/>
                  </a:cubicBezTo>
                  <a:cubicBezTo>
                    <a:pt x="1661" y="620"/>
                    <a:pt x="1661" y="620"/>
                    <a:pt x="1661" y="620"/>
                  </a:cubicBezTo>
                  <a:cubicBezTo>
                    <a:pt x="1662" y="623"/>
                    <a:pt x="1662" y="623"/>
                    <a:pt x="1662" y="623"/>
                  </a:cubicBezTo>
                  <a:cubicBezTo>
                    <a:pt x="1628" y="642"/>
                    <a:pt x="1595" y="665"/>
                    <a:pt x="1568" y="693"/>
                  </a:cubicBezTo>
                  <a:cubicBezTo>
                    <a:pt x="1567" y="693"/>
                    <a:pt x="1567" y="693"/>
                    <a:pt x="1567" y="693"/>
                  </a:cubicBezTo>
                  <a:cubicBezTo>
                    <a:pt x="1567" y="694"/>
                    <a:pt x="1567" y="694"/>
                    <a:pt x="1567" y="694"/>
                  </a:cubicBezTo>
                  <a:cubicBezTo>
                    <a:pt x="1557" y="705"/>
                    <a:pt x="1547" y="716"/>
                    <a:pt x="1539" y="728"/>
                  </a:cubicBezTo>
                  <a:cubicBezTo>
                    <a:pt x="1520" y="757"/>
                    <a:pt x="1496" y="771"/>
                    <a:pt x="1468" y="771"/>
                  </a:cubicBezTo>
                  <a:cubicBezTo>
                    <a:pt x="1465" y="771"/>
                    <a:pt x="1462" y="771"/>
                    <a:pt x="1459" y="771"/>
                  </a:cubicBezTo>
                  <a:cubicBezTo>
                    <a:pt x="1439" y="768"/>
                    <a:pt x="1418" y="759"/>
                    <a:pt x="1399" y="747"/>
                  </a:cubicBezTo>
                  <a:cubicBezTo>
                    <a:pt x="1399" y="761"/>
                    <a:pt x="1399" y="761"/>
                    <a:pt x="1399" y="761"/>
                  </a:cubicBezTo>
                  <a:cubicBezTo>
                    <a:pt x="1418" y="772"/>
                    <a:pt x="1438" y="780"/>
                    <a:pt x="1458" y="782"/>
                  </a:cubicBezTo>
                  <a:cubicBezTo>
                    <a:pt x="1461" y="783"/>
                    <a:pt x="1464" y="783"/>
                    <a:pt x="1468" y="783"/>
                  </a:cubicBezTo>
                  <a:cubicBezTo>
                    <a:pt x="1478" y="783"/>
                    <a:pt x="1489" y="781"/>
                    <a:pt x="1498" y="777"/>
                  </a:cubicBezTo>
                  <a:cubicBezTo>
                    <a:pt x="1511" y="778"/>
                    <a:pt x="1511" y="778"/>
                    <a:pt x="1511" y="778"/>
                  </a:cubicBezTo>
                  <a:cubicBezTo>
                    <a:pt x="1509" y="780"/>
                    <a:pt x="1507" y="781"/>
                    <a:pt x="1505" y="783"/>
                  </a:cubicBezTo>
                  <a:cubicBezTo>
                    <a:pt x="1496" y="791"/>
                    <a:pt x="1489" y="797"/>
                    <a:pt x="1485" y="800"/>
                  </a:cubicBezTo>
                  <a:cubicBezTo>
                    <a:pt x="1482" y="802"/>
                    <a:pt x="1481" y="805"/>
                    <a:pt x="1481" y="807"/>
                  </a:cubicBezTo>
                  <a:cubicBezTo>
                    <a:pt x="1481" y="807"/>
                    <a:pt x="1481" y="808"/>
                    <a:pt x="1481" y="808"/>
                  </a:cubicBezTo>
                  <a:cubicBezTo>
                    <a:pt x="1453" y="797"/>
                    <a:pt x="1425" y="782"/>
                    <a:pt x="1399" y="766"/>
                  </a:cubicBezTo>
                  <a:cubicBezTo>
                    <a:pt x="1399" y="780"/>
                    <a:pt x="1399" y="780"/>
                    <a:pt x="1399" y="780"/>
                  </a:cubicBezTo>
                  <a:cubicBezTo>
                    <a:pt x="1415" y="790"/>
                    <a:pt x="1431" y="799"/>
                    <a:pt x="1448" y="807"/>
                  </a:cubicBezTo>
                  <a:cubicBezTo>
                    <a:pt x="1449" y="811"/>
                    <a:pt x="1451" y="818"/>
                    <a:pt x="1454" y="828"/>
                  </a:cubicBezTo>
                  <a:cubicBezTo>
                    <a:pt x="1435" y="817"/>
                    <a:pt x="1416" y="805"/>
                    <a:pt x="1399" y="794"/>
                  </a:cubicBezTo>
                  <a:cubicBezTo>
                    <a:pt x="1399" y="845"/>
                    <a:pt x="1399" y="845"/>
                    <a:pt x="1399" y="845"/>
                  </a:cubicBezTo>
                  <a:cubicBezTo>
                    <a:pt x="1400" y="846"/>
                    <a:pt x="1401" y="847"/>
                    <a:pt x="1402" y="847"/>
                  </a:cubicBezTo>
                  <a:cubicBezTo>
                    <a:pt x="1405" y="856"/>
                    <a:pt x="1408" y="866"/>
                    <a:pt x="1411" y="876"/>
                  </a:cubicBezTo>
                  <a:cubicBezTo>
                    <a:pt x="1407" y="873"/>
                    <a:pt x="1403" y="871"/>
                    <a:pt x="1399" y="869"/>
                  </a:cubicBezTo>
                  <a:cubicBezTo>
                    <a:pt x="1399" y="882"/>
                    <a:pt x="1399" y="882"/>
                    <a:pt x="1399" y="882"/>
                  </a:cubicBezTo>
                  <a:cubicBezTo>
                    <a:pt x="1405" y="885"/>
                    <a:pt x="1410" y="889"/>
                    <a:pt x="1416" y="892"/>
                  </a:cubicBezTo>
                  <a:cubicBezTo>
                    <a:pt x="1420" y="903"/>
                    <a:pt x="1424" y="915"/>
                    <a:pt x="1428" y="926"/>
                  </a:cubicBezTo>
                  <a:cubicBezTo>
                    <a:pt x="1418" y="922"/>
                    <a:pt x="1408" y="918"/>
                    <a:pt x="1399" y="915"/>
                  </a:cubicBezTo>
                  <a:cubicBezTo>
                    <a:pt x="1399" y="928"/>
                    <a:pt x="1399" y="928"/>
                    <a:pt x="1399" y="928"/>
                  </a:cubicBezTo>
                  <a:cubicBezTo>
                    <a:pt x="1410" y="931"/>
                    <a:pt x="1421" y="936"/>
                    <a:pt x="1433" y="942"/>
                  </a:cubicBezTo>
                  <a:cubicBezTo>
                    <a:pt x="1438" y="955"/>
                    <a:pt x="1443" y="968"/>
                    <a:pt x="1448" y="981"/>
                  </a:cubicBezTo>
                  <a:cubicBezTo>
                    <a:pt x="1431" y="976"/>
                    <a:pt x="1415" y="972"/>
                    <a:pt x="1401" y="970"/>
                  </a:cubicBezTo>
                  <a:cubicBezTo>
                    <a:pt x="1400" y="969"/>
                    <a:pt x="1400" y="967"/>
                    <a:pt x="1399" y="965"/>
                  </a:cubicBezTo>
                  <a:cubicBezTo>
                    <a:pt x="1399" y="990"/>
                    <a:pt x="1399" y="990"/>
                    <a:pt x="1399" y="990"/>
                  </a:cubicBezTo>
                  <a:cubicBezTo>
                    <a:pt x="1410" y="990"/>
                    <a:pt x="1410" y="990"/>
                    <a:pt x="1410" y="990"/>
                  </a:cubicBezTo>
                  <a:cubicBezTo>
                    <a:pt x="1409" y="988"/>
                    <a:pt x="1408" y="986"/>
                    <a:pt x="1407" y="983"/>
                  </a:cubicBezTo>
                  <a:cubicBezTo>
                    <a:pt x="1416" y="985"/>
                    <a:pt x="1426" y="987"/>
                    <a:pt x="1437" y="990"/>
                  </a:cubicBezTo>
                  <a:cubicBezTo>
                    <a:pt x="1477" y="990"/>
                    <a:pt x="1477" y="990"/>
                    <a:pt x="1477" y="990"/>
                  </a:cubicBezTo>
                  <a:cubicBezTo>
                    <a:pt x="1472" y="989"/>
                    <a:pt x="1467" y="987"/>
                    <a:pt x="1462" y="985"/>
                  </a:cubicBezTo>
                  <a:cubicBezTo>
                    <a:pt x="1457" y="973"/>
                    <a:pt x="1452" y="960"/>
                    <a:pt x="1448" y="948"/>
                  </a:cubicBezTo>
                  <a:cubicBezTo>
                    <a:pt x="1450" y="949"/>
                    <a:pt x="1453" y="950"/>
                    <a:pt x="1456" y="951"/>
                  </a:cubicBezTo>
                  <a:cubicBezTo>
                    <a:pt x="1469" y="957"/>
                    <a:pt x="1482" y="963"/>
                    <a:pt x="1496" y="969"/>
                  </a:cubicBezTo>
                  <a:cubicBezTo>
                    <a:pt x="1499" y="976"/>
                    <a:pt x="1501" y="983"/>
                    <a:pt x="1504" y="990"/>
                  </a:cubicBezTo>
                  <a:cubicBezTo>
                    <a:pt x="1516" y="990"/>
                    <a:pt x="1516" y="990"/>
                    <a:pt x="1516" y="990"/>
                  </a:cubicBezTo>
                  <a:cubicBezTo>
                    <a:pt x="1514" y="985"/>
                    <a:pt x="1512" y="980"/>
                    <a:pt x="1510" y="975"/>
                  </a:cubicBezTo>
                  <a:cubicBezTo>
                    <a:pt x="1523" y="980"/>
                    <a:pt x="1537" y="985"/>
                    <a:pt x="1550" y="990"/>
                  </a:cubicBezTo>
                  <a:cubicBezTo>
                    <a:pt x="1590" y="990"/>
                    <a:pt x="1590" y="990"/>
                    <a:pt x="1590" y="990"/>
                  </a:cubicBezTo>
                  <a:cubicBezTo>
                    <a:pt x="1583" y="988"/>
                    <a:pt x="1576" y="986"/>
                    <a:pt x="1569" y="984"/>
                  </a:cubicBezTo>
                  <a:cubicBezTo>
                    <a:pt x="1566" y="976"/>
                    <a:pt x="1564" y="967"/>
                    <a:pt x="1562" y="959"/>
                  </a:cubicBezTo>
                  <a:cubicBezTo>
                    <a:pt x="1577" y="965"/>
                    <a:pt x="1593" y="969"/>
                    <a:pt x="1610" y="973"/>
                  </a:cubicBezTo>
                  <a:cubicBezTo>
                    <a:pt x="1611" y="979"/>
                    <a:pt x="1613" y="985"/>
                    <a:pt x="1614" y="990"/>
                  </a:cubicBezTo>
                  <a:cubicBezTo>
                    <a:pt x="1626" y="990"/>
                    <a:pt x="1626" y="990"/>
                    <a:pt x="1626" y="990"/>
                  </a:cubicBezTo>
                  <a:cubicBezTo>
                    <a:pt x="1625" y="985"/>
                    <a:pt x="1623" y="981"/>
                    <a:pt x="1622" y="976"/>
                  </a:cubicBezTo>
                  <a:cubicBezTo>
                    <a:pt x="1639" y="979"/>
                    <a:pt x="1656" y="982"/>
                    <a:pt x="1674" y="983"/>
                  </a:cubicBezTo>
                  <a:cubicBezTo>
                    <a:pt x="1674" y="986"/>
                    <a:pt x="1675" y="988"/>
                    <a:pt x="1675" y="990"/>
                  </a:cubicBezTo>
                  <a:cubicBezTo>
                    <a:pt x="1686" y="990"/>
                    <a:pt x="1686" y="990"/>
                    <a:pt x="1686" y="990"/>
                  </a:cubicBezTo>
                  <a:cubicBezTo>
                    <a:pt x="1686" y="988"/>
                    <a:pt x="1686" y="986"/>
                    <a:pt x="1685" y="984"/>
                  </a:cubicBezTo>
                  <a:cubicBezTo>
                    <a:pt x="1694" y="984"/>
                    <a:pt x="1702" y="985"/>
                    <a:pt x="1711" y="985"/>
                  </a:cubicBezTo>
                  <a:cubicBezTo>
                    <a:pt x="1714" y="985"/>
                    <a:pt x="1717" y="985"/>
                    <a:pt x="1720" y="985"/>
                  </a:cubicBezTo>
                  <a:cubicBezTo>
                    <a:pt x="1720" y="983"/>
                    <a:pt x="1720" y="983"/>
                    <a:pt x="1720" y="983"/>
                  </a:cubicBezTo>
                  <a:cubicBezTo>
                    <a:pt x="1720" y="984"/>
                    <a:pt x="1720" y="984"/>
                    <a:pt x="1720" y="984"/>
                  </a:cubicBezTo>
                  <a:cubicBezTo>
                    <a:pt x="1720" y="986"/>
                    <a:pt x="1721" y="988"/>
                    <a:pt x="1721" y="990"/>
                  </a:cubicBezTo>
                  <a:cubicBezTo>
                    <a:pt x="1738" y="990"/>
                    <a:pt x="1738" y="990"/>
                    <a:pt x="1738" y="990"/>
                  </a:cubicBezTo>
                  <a:cubicBezTo>
                    <a:pt x="1735" y="986"/>
                    <a:pt x="1733" y="982"/>
                    <a:pt x="1731" y="979"/>
                  </a:cubicBezTo>
                  <a:cubicBezTo>
                    <a:pt x="1724" y="946"/>
                    <a:pt x="1721" y="921"/>
                    <a:pt x="1721" y="920"/>
                  </a:cubicBezTo>
                  <a:cubicBezTo>
                    <a:pt x="1720" y="908"/>
                    <a:pt x="1720" y="896"/>
                    <a:pt x="1720" y="884"/>
                  </a:cubicBezTo>
                  <a:cubicBezTo>
                    <a:pt x="1720" y="874"/>
                    <a:pt x="1720" y="864"/>
                    <a:pt x="1720" y="854"/>
                  </a:cubicBezTo>
                  <a:cubicBezTo>
                    <a:pt x="1723" y="855"/>
                    <a:pt x="1723" y="855"/>
                    <a:pt x="1723" y="855"/>
                  </a:cubicBezTo>
                  <a:cubicBezTo>
                    <a:pt x="1723" y="855"/>
                    <a:pt x="1724" y="850"/>
                    <a:pt x="1727" y="841"/>
                  </a:cubicBezTo>
                  <a:cubicBezTo>
                    <a:pt x="1733" y="859"/>
                    <a:pt x="1741" y="882"/>
                    <a:pt x="1751" y="908"/>
                  </a:cubicBezTo>
                  <a:cubicBezTo>
                    <a:pt x="1751" y="936"/>
                    <a:pt x="1753" y="964"/>
                    <a:pt x="1756" y="990"/>
                  </a:cubicBezTo>
                  <a:cubicBezTo>
                    <a:pt x="1767" y="990"/>
                    <a:pt x="1767" y="990"/>
                    <a:pt x="1767" y="990"/>
                  </a:cubicBezTo>
                  <a:cubicBezTo>
                    <a:pt x="1765" y="974"/>
                    <a:pt x="1764" y="957"/>
                    <a:pt x="1763" y="940"/>
                  </a:cubicBezTo>
                  <a:cubicBezTo>
                    <a:pt x="1769" y="956"/>
                    <a:pt x="1776" y="973"/>
                    <a:pt x="1783" y="990"/>
                  </a:cubicBezTo>
                  <a:cubicBezTo>
                    <a:pt x="1799" y="990"/>
                    <a:pt x="1799" y="990"/>
                    <a:pt x="1799" y="990"/>
                  </a:cubicBezTo>
                  <a:cubicBezTo>
                    <a:pt x="1799" y="988"/>
                    <a:pt x="1799" y="986"/>
                    <a:pt x="1799" y="984"/>
                  </a:cubicBezTo>
                  <a:cubicBezTo>
                    <a:pt x="1799" y="963"/>
                    <a:pt x="1800" y="941"/>
                    <a:pt x="1803" y="919"/>
                  </a:cubicBezTo>
                  <a:cubicBezTo>
                    <a:pt x="1810" y="941"/>
                    <a:pt x="1817" y="965"/>
                    <a:pt x="1825" y="990"/>
                  </a:cubicBezTo>
                  <a:cubicBezTo>
                    <a:pt x="1841" y="990"/>
                    <a:pt x="1841" y="990"/>
                    <a:pt x="1841" y="990"/>
                  </a:cubicBezTo>
                  <a:cubicBezTo>
                    <a:pt x="1844" y="971"/>
                    <a:pt x="1849" y="952"/>
                    <a:pt x="1855" y="933"/>
                  </a:cubicBezTo>
                  <a:cubicBezTo>
                    <a:pt x="1859" y="952"/>
                    <a:pt x="1864" y="971"/>
                    <a:pt x="1869" y="990"/>
                  </a:cubicBezTo>
                  <a:cubicBezTo>
                    <a:pt x="1881" y="990"/>
                    <a:pt x="1881" y="990"/>
                    <a:pt x="1881" y="990"/>
                  </a:cubicBezTo>
                  <a:cubicBezTo>
                    <a:pt x="1874" y="964"/>
                    <a:pt x="1867" y="938"/>
                    <a:pt x="1861" y="914"/>
                  </a:cubicBezTo>
                  <a:cubicBezTo>
                    <a:pt x="1874" y="881"/>
                    <a:pt x="1893" y="850"/>
                    <a:pt x="1919" y="824"/>
                  </a:cubicBezTo>
                  <a:cubicBezTo>
                    <a:pt x="1925" y="850"/>
                    <a:pt x="1932" y="877"/>
                    <a:pt x="1940" y="905"/>
                  </a:cubicBezTo>
                  <a:cubicBezTo>
                    <a:pt x="1917" y="931"/>
                    <a:pt x="1900" y="960"/>
                    <a:pt x="1888" y="990"/>
                  </a:cubicBezTo>
                  <a:cubicBezTo>
                    <a:pt x="1900" y="990"/>
                    <a:pt x="1900" y="990"/>
                    <a:pt x="1900" y="990"/>
                  </a:cubicBezTo>
                  <a:cubicBezTo>
                    <a:pt x="1911" y="965"/>
                    <a:pt x="1925" y="940"/>
                    <a:pt x="1943" y="918"/>
                  </a:cubicBezTo>
                  <a:cubicBezTo>
                    <a:pt x="1950" y="942"/>
                    <a:pt x="1957" y="966"/>
                    <a:pt x="1963" y="990"/>
                  </a:cubicBezTo>
                  <a:cubicBezTo>
                    <a:pt x="1988" y="990"/>
                    <a:pt x="1988" y="990"/>
                    <a:pt x="1988" y="990"/>
                  </a:cubicBezTo>
                  <a:cubicBezTo>
                    <a:pt x="1999" y="979"/>
                    <a:pt x="2011" y="968"/>
                    <a:pt x="2025" y="958"/>
                  </a:cubicBezTo>
                  <a:cubicBezTo>
                    <a:pt x="2031" y="953"/>
                    <a:pt x="2038" y="949"/>
                    <a:pt x="2045" y="944"/>
                  </a:cubicBezTo>
                  <a:cubicBezTo>
                    <a:pt x="2050" y="960"/>
                    <a:pt x="2054" y="975"/>
                    <a:pt x="2058" y="990"/>
                  </a:cubicBezTo>
                  <a:cubicBezTo>
                    <a:pt x="2070" y="990"/>
                    <a:pt x="2070" y="990"/>
                    <a:pt x="2070" y="990"/>
                  </a:cubicBezTo>
                  <a:cubicBezTo>
                    <a:pt x="2065" y="973"/>
                    <a:pt x="2060" y="956"/>
                    <a:pt x="2055" y="938"/>
                  </a:cubicBezTo>
                  <a:cubicBezTo>
                    <a:pt x="2068" y="930"/>
                    <a:pt x="2083" y="923"/>
                    <a:pt x="2097" y="916"/>
                  </a:cubicBezTo>
                  <a:cubicBezTo>
                    <a:pt x="2097" y="903"/>
                    <a:pt x="2097" y="903"/>
                    <a:pt x="2097" y="903"/>
                  </a:cubicBezTo>
                  <a:cubicBezTo>
                    <a:pt x="2081" y="910"/>
                    <a:pt x="2066" y="918"/>
                    <a:pt x="2052" y="927"/>
                  </a:cubicBezTo>
                  <a:cubicBezTo>
                    <a:pt x="2044" y="901"/>
                    <a:pt x="2036" y="876"/>
                    <a:pt x="2029" y="851"/>
                  </a:cubicBezTo>
                  <a:cubicBezTo>
                    <a:pt x="2050" y="839"/>
                    <a:pt x="2073" y="827"/>
                    <a:pt x="2097" y="818"/>
                  </a:cubicBezTo>
                  <a:cubicBezTo>
                    <a:pt x="2097" y="779"/>
                    <a:pt x="2097" y="779"/>
                    <a:pt x="2097" y="779"/>
                  </a:cubicBezTo>
                  <a:cubicBezTo>
                    <a:pt x="2091" y="761"/>
                    <a:pt x="2084" y="743"/>
                    <a:pt x="2078" y="726"/>
                  </a:cubicBezTo>
                  <a:cubicBezTo>
                    <a:pt x="2084" y="724"/>
                    <a:pt x="2091" y="721"/>
                    <a:pt x="2097" y="719"/>
                  </a:cubicBezTo>
                  <a:cubicBezTo>
                    <a:pt x="2097" y="708"/>
                    <a:pt x="2097" y="708"/>
                    <a:pt x="2097" y="708"/>
                  </a:cubicBezTo>
                  <a:cubicBezTo>
                    <a:pt x="2090" y="711"/>
                    <a:pt x="2082" y="714"/>
                    <a:pt x="2074" y="717"/>
                  </a:cubicBezTo>
                  <a:cubicBezTo>
                    <a:pt x="2065" y="691"/>
                    <a:pt x="2055" y="666"/>
                    <a:pt x="2046" y="643"/>
                  </a:cubicBezTo>
                  <a:cubicBezTo>
                    <a:pt x="2063" y="636"/>
                    <a:pt x="2080" y="630"/>
                    <a:pt x="2097" y="624"/>
                  </a:cubicBezTo>
                  <a:cubicBezTo>
                    <a:pt x="2097" y="612"/>
                    <a:pt x="2097" y="612"/>
                    <a:pt x="2097" y="612"/>
                  </a:cubicBezTo>
                  <a:cubicBezTo>
                    <a:pt x="2078" y="617"/>
                    <a:pt x="2060" y="624"/>
                    <a:pt x="2041" y="631"/>
                  </a:cubicBezTo>
                  <a:cubicBezTo>
                    <a:pt x="2030" y="603"/>
                    <a:pt x="2019" y="577"/>
                    <a:pt x="2010" y="556"/>
                  </a:cubicBezTo>
                  <a:cubicBezTo>
                    <a:pt x="2030" y="547"/>
                    <a:pt x="2050" y="540"/>
                    <a:pt x="2070" y="533"/>
                  </a:cubicBezTo>
                  <a:cubicBezTo>
                    <a:pt x="2078" y="550"/>
                    <a:pt x="2087" y="569"/>
                    <a:pt x="2097" y="590"/>
                  </a:cubicBezTo>
                  <a:cubicBezTo>
                    <a:pt x="2097" y="564"/>
                    <a:pt x="2097" y="564"/>
                    <a:pt x="2097" y="564"/>
                  </a:cubicBezTo>
                  <a:cubicBezTo>
                    <a:pt x="2092" y="552"/>
                    <a:pt x="2086" y="541"/>
                    <a:pt x="2081" y="530"/>
                  </a:cubicBezTo>
                  <a:cubicBezTo>
                    <a:pt x="2086" y="529"/>
                    <a:pt x="2092" y="527"/>
                    <a:pt x="2097" y="526"/>
                  </a:cubicBezTo>
                  <a:cubicBezTo>
                    <a:pt x="2097" y="516"/>
                    <a:pt x="2097" y="516"/>
                    <a:pt x="2097" y="516"/>
                  </a:cubicBezTo>
                  <a:cubicBezTo>
                    <a:pt x="2090" y="518"/>
                    <a:pt x="2084" y="520"/>
                    <a:pt x="2077" y="522"/>
                  </a:cubicBezTo>
                  <a:cubicBezTo>
                    <a:pt x="2073" y="514"/>
                    <a:pt x="2069" y="507"/>
                    <a:pt x="2066" y="500"/>
                  </a:cubicBezTo>
                  <a:cubicBezTo>
                    <a:pt x="2067" y="500"/>
                    <a:pt x="2069" y="499"/>
                    <a:pt x="2071" y="499"/>
                  </a:cubicBezTo>
                  <a:cubicBezTo>
                    <a:pt x="2079" y="497"/>
                    <a:pt x="2086" y="496"/>
                    <a:pt x="2093" y="494"/>
                  </a:cubicBezTo>
                  <a:moveTo>
                    <a:pt x="701" y="490"/>
                  </a:moveTo>
                  <a:cubicBezTo>
                    <a:pt x="700" y="490"/>
                    <a:pt x="699" y="490"/>
                    <a:pt x="698" y="490"/>
                  </a:cubicBezTo>
                  <a:cubicBezTo>
                    <a:pt x="698" y="494"/>
                    <a:pt x="698" y="494"/>
                    <a:pt x="698" y="494"/>
                  </a:cubicBezTo>
                  <a:cubicBezTo>
                    <a:pt x="762" y="494"/>
                    <a:pt x="762" y="494"/>
                    <a:pt x="762" y="494"/>
                  </a:cubicBezTo>
                  <a:cubicBezTo>
                    <a:pt x="741" y="492"/>
                    <a:pt x="721" y="490"/>
                    <a:pt x="701" y="490"/>
                  </a:cubicBezTo>
                  <a:moveTo>
                    <a:pt x="1207" y="430"/>
                  </a:moveTo>
                  <a:cubicBezTo>
                    <a:pt x="1206" y="430"/>
                    <a:pt x="1206" y="430"/>
                    <a:pt x="1205" y="430"/>
                  </a:cubicBezTo>
                  <a:cubicBezTo>
                    <a:pt x="1206" y="427"/>
                    <a:pt x="1206" y="425"/>
                    <a:pt x="1207" y="423"/>
                  </a:cubicBezTo>
                  <a:cubicBezTo>
                    <a:pt x="1207" y="424"/>
                    <a:pt x="1208" y="425"/>
                    <a:pt x="1208" y="426"/>
                  </a:cubicBezTo>
                  <a:cubicBezTo>
                    <a:pt x="1208" y="428"/>
                    <a:pt x="1207" y="429"/>
                    <a:pt x="1207" y="430"/>
                  </a:cubicBezTo>
                  <a:moveTo>
                    <a:pt x="1195" y="425"/>
                  </a:moveTo>
                  <a:cubicBezTo>
                    <a:pt x="1189" y="423"/>
                    <a:pt x="1184" y="422"/>
                    <a:pt x="1179" y="421"/>
                  </a:cubicBezTo>
                  <a:cubicBezTo>
                    <a:pt x="1181" y="410"/>
                    <a:pt x="1183" y="399"/>
                    <a:pt x="1185" y="388"/>
                  </a:cubicBezTo>
                  <a:cubicBezTo>
                    <a:pt x="1189" y="394"/>
                    <a:pt x="1193" y="400"/>
                    <a:pt x="1197" y="406"/>
                  </a:cubicBezTo>
                  <a:cubicBezTo>
                    <a:pt x="1197" y="412"/>
                    <a:pt x="1196" y="418"/>
                    <a:pt x="1195" y="425"/>
                  </a:cubicBezTo>
                  <a:moveTo>
                    <a:pt x="906" y="459"/>
                  </a:moveTo>
                  <a:cubicBezTo>
                    <a:pt x="874" y="446"/>
                    <a:pt x="843" y="436"/>
                    <a:pt x="813" y="430"/>
                  </a:cubicBezTo>
                  <a:cubicBezTo>
                    <a:pt x="816" y="411"/>
                    <a:pt x="820" y="391"/>
                    <a:pt x="824" y="372"/>
                  </a:cubicBezTo>
                  <a:cubicBezTo>
                    <a:pt x="855" y="378"/>
                    <a:pt x="887" y="388"/>
                    <a:pt x="920" y="402"/>
                  </a:cubicBezTo>
                  <a:cubicBezTo>
                    <a:pt x="915" y="421"/>
                    <a:pt x="911" y="440"/>
                    <a:pt x="906" y="459"/>
                  </a:cubicBezTo>
                  <a:moveTo>
                    <a:pt x="705" y="420"/>
                  </a:moveTo>
                  <a:cubicBezTo>
                    <a:pt x="708" y="401"/>
                    <a:pt x="710" y="382"/>
                    <a:pt x="712" y="363"/>
                  </a:cubicBezTo>
                  <a:cubicBezTo>
                    <a:pt x="720" y="363"/>
                    <a:pt x="728" y="363"/>
                    <a:pt x="736" y="363"/>
                  </a:cubicBezTo>
                  <a:cubicBezTo>
                    <a:pt x="761" y="363"/>
                    <a:pt x="786" y="365"/>
                    <a:pt x="813" y="369"/>
                  </a:cubicBezTo>
                  <a:cubicBezTo>
                    <a:pt x="809" y="389"/>
                    <a:pt x="805" y="409"/>
                    <a:pt x="802" y="428"/>
                  </a:cubicBezTo>
                  <a:cubicBezTo>
                    <a:pt x="772" y="422"/>
                    <a:pt x="743" y="420"/>
                    <a:pt x="715" y="420"/>
                  </a:cubicBezTo>
                  <a:cubicBezTo>
                    <a:pt x="712" y="420"/>
                    <a:pt x="708" y="420"/>
                    <a:pt x="705" y="420"/>
                  </a:cubicBezTo>
                  <a:moveTo>
                    <a:pt x="1155" y="422"/>
                  </a:moveTo>
                  <a:cubicBezTo>
                    <a:pt x="1159" y="401"/>
                    <a:pt x="1162" y="380"/>
                    <a:pt x="1165" y="359"/>
                  </a:cubicBezTo>
                  <a:cubicBezTo>
                    <a:pt x="1168" y="363"/>
                    <a:pt x="1172" y="369"/>
                    <a:pt x="1176" y="375"/>
                  </a:cubicBezTo>
                  <a:cubicBezTo>
                    <a:pt x="1174" y="390"/>
                    <a:pt x="1170" y="406"/>
                    <a:pt x="1167" y="421"/>
                  </a:cubicBezTo>
                  <a:cubicBezTo>
                    <a:pt x="1163" y="421"/>
                    <a:pt x="1158" y="421"/>
                    <a:pt x="1155" y="422"/>
                  </a:cubicBezTo>
                  <a:moveTo>
                    <a:pt x="1198" y="386"/>
                  </a:moveTo>
                  <a:cubicBezTo>
                    <a:pt x="1194" y="381"/>
                    <a:pt x="1191" y="376"/>
                    <a:pt x="1188" y="372"/>
                  </a:cubicBezTo>
                  <a:cubicBezTo>
                    <a:pt x="1189" y="361"/>
                    <a:pt x="1190" y="350"/>
                    <a:pt x="1191" y="340"/>
                  </a:cubicBezTo>
                  <a:cubicBezTo>
                    <a:pt x="1196" y="357"/>
                    <a:pt x="1199" y="372"/>
                    <a:pt x="1202" y="386"/>
                  </a:cubicBezTo>
                  <a:cubicBezTo>
                    <a:pt x="1198" y="386"/>
                    <a:pt x="1198" y="386"/>
                    <a:pt x="1198" y="386"/>
                  </a:cubicBezTo>
                  <a:moveTo>
                    <a:pt x="1048" y="471"/>
                  </a:moveTo>
                  <a:cubicBezTo>
                    <a:pt x="1036" y="456"/>
                    <a:pt x="1021" y="443"/>
                    <a:pt x="1000" y="430"/>
                  </a:cubicBezTo>
                  <a:cubicBezTo>
                    <a:pt x="978" y="416"/>
                    <a:pt x="955" y="405"/>
                    <a:pt x="933" y="395"/>
                  </a:cubicBezTo>
                  <a:cubicBezTo>
                    <a:pt x="938" y="376"/>
                    <a:pt x="942" y="357"/>
                    <a:pt x="946" y="337"/>
                  </a:cubicBezTo>
                  <a:cubicBezTo>
                    <a:pt x="966" y="346"/>
                    <a:pt x="987" y="357"/>
                    <a:pt x="1007" y="370"/>
                  </a:cubicBezTo>
                  <a:cubicBezTo>
                    <a:pt x="1031" y="385"/>
                    <a:pt x="1049" y="401"/>
                    <a:pt x="1063" y="418"/>
                  </a:cubicBezTo>
                  <a:cubicBezTo>
                    <a:pt x="1058" y="436"/>
                    <a:pt x="1053" y="453"/>
                    <a:pt x="1048" y="471"/>
                  </a:cubicBezTo>
                  <a:moveTo>
                    <a:pt x="923" y="390"/>
                  </a:moveTo>
                  <a:cubicBezTo>
                    <a:pt x="890" y="376"/>
                    <a:pt x="857" y="366"/>
                    <a:pt x="826" y="360"/>
                  </a:cubicBezTo>
                  <a:cubicBezTo>
                    <a:pt x="829" y="341"/>
                    <a:pt x="832" y="322"/>
                    <a:pt x="835" y="303"/>
                  </a:cubicBezTo>
                  <a:cubicBezTo>
                    <a:pt x="868" y="309"/>
                    <a:pt x="902" y="318"/>
                    <a:pt x="936" y="333"/>
                  </a:cubicBezTo>
                  <a:cubicBezTo>
                    <a:pt x="932" y="352"/>
                    <a:pt x="927" y="371"/>
                    <a:pt x="923" y="390"/>
                  </a:cubicBezTo>
                  <a:moveTo>
                    <a:pt x="1178" y="358"/>
                  </a:moveTo>
                  <a:cubicBezTo>
                    <a:pt x="1173" y="351"/>
                    <a:pt x="1169" y="345"/>
                    <a:pt x="1167" y="343"/>
                  </a:cubicBezTo>
                  <a:cubicBezTo>
                    <a:pt x="1169" y="327"/>
                    <a:pt x="1170" y="312"/>
                    <a:pt x="1172" y="298"/>
                  </a:cubicBezTo>
                  <a:cubicBezTo>
                    <a:pt x="1175" y="304"/>
                    <a:pt x="1177" y="309"/>
                    <a:pt x="1180" y="315"/>
                  </a:cubicBezTo>
                  <a:cubicBezTo>
                    <a:pt x="1181" y="315"/>
                    <a:pt x="1181" y="315"/>
                    <a:pt x="1181" y="315"/>
                  </a:cubicBezTo>
                  <a:cubicBezTo>
                    <a:pt x="1181" y="316"/>
                    <a:pt x="1181" y="317"/>
                    <a:pt x="1181" y="318"/>
                  </a:cubicBezTo>
                  <a:cubicBezTo>
                    <a:pt x="1181" y="331"/>
                    <a:pt x="1180" y="344"/>
                    <a:pt x="1178" y="358"/>
                  </a:cubicBezTo>
                  <a:moveTo>
                    <a:pt x="713" y="351"/>
                  </a:moveTo>
                  <a:cubicBezTo>
                    <a:pt x="715" y="334"/>
                    <a:pt x="717" y="317"/>
                    <a:pt x="719" y="299"/>
                  </a:cubicBezTo>
                  <a:cubicBezTo>
                    <a:pt x="733" y="298"/>
                    <a:pt x="748" y="297"/>
                    <a:pt x="763" y="297"/>
                  </a:cubicBezTo>
                  <a:cubicBezTo>
                    <a:pt x="783" y="297"/>
                    <a:pt x="803" y="299"/>
                    <a:pt x="824" y="302"/>
                  </a:cubicBezTo>
                  <a:cubicBezTo>
                    <a:pt x="821" y="321"/>
                    <a:pt x="818" y="339"/>
                    <a:pt x="815" y="358"/>
                  </a:cubicBezTo>
                  <a:cubicBezTo>
                    <a:pt x="788" y="353"/>
                    <a:pt x="761" y="351"/>
                    <a:pt x="736" y="351"/>
                  </a:cubicBezTo>
                  <a:cubicBezTo>
                    <a:pt x="728" y="351"/>
                    <a:pt x="721" y="351"/>
                    <a:pt x="713" y="351"/>
                  </a:cubicBezTo>
                  <a:moveTo>
                    <a:pt x="1137" y="458"/>
                  </a:moveTo>
                  <a:cubicBezTo>
                    <a:pt x="1134" y="451"/>
                    <a:pt x="1132" y="444"/>
                    <a:pt x="1130" y="437"/>
                  </a:cubicBezTo>
                  <a:cubicBezTo>
                    <a:pt x="1120" y="408"/>
                    <a:pt x="1111" y="378"/>
                    <a:pt x="1090" y="349"/>
                  </a:cubicBezTo>
                  <a:cubicBezTo>
                    <a:pt x="1094" y="329"/>
                    <a:pt x="1098" y="309"/>
                    <a:pt x="1101" y="288"/>
                  </a:cubicBezTo>
                  <a:cubicBezTo>
                    <a:pt x="1120" y="312"/>
                    <a:pt x="1133" y="340"/>
                    <a:pt x="1150" y="381"/>
                  </a:cubicBezTo>
                  <a:cubicBezTo>
                    <a:pt x="1148" y="396"/>
                    <a:pt x="1146" y="411"/>
                    <a:pt x="1143" y="425"/>
                  </a:cubicBezTo>
                  <a:cubicBezTo>
                    <a:pt x="1143" y="426"/>
                    <a:pt x="1142" y="426"/>
                    <a:pt x="1142" y="426"/>
                  </a:cubicBezTo>
                  <a:cubicBezTo>
                    <a:pt x="1143" y="427"/>
                    <a:pt x="1143" y="427"/>
                    <a:pt x="1143" y="427"/>
                  </a:cubicBezTo>
                  <a:cubicBezTo>
                    <a:pt x="1141" y="438"/>
                    <a:pt x="1139" y="448"/>
                    <a:pt x="1137" y="458"/>
                  </a:cubicBezTo>
                  <a:moveTo>
                    <a:pt x="1066" y="404"/>
                  </a:moveTo>
                  <a:cubicBezTo>
                    <a:pt x="1052" y="389"/>
                    <a:pt x="1035" y="374"/>
                    <a:pt x="1013" y="360"/>
                  </a:cubicBezTo>
                  <a:cubicBezTo>
                    <a:pt x="991" y="346"/>
                    <a:pt x="970" y="335"/>
                    <a:pt x="949" y="325"/>
                  </a:cubicBezTo>
                  <a:cubicBezTo>
                    <a:pt x="953" y="306"/>
                    <a:pt x="956" y="287"/>
                    <a:pt x="960" y="267"/>
                  </a:cubicBezTo>
                  <a:cubicBezTo>
                    <a:pt x="980" y="276"/>
                    <a:pt x="1000" y="287"/>
                    <a:pt x="1020" y="300"/>
                  </a:cubicBezTo>
                  <a:cubicBezTo>
                    <a:pt x="1046" y="316"/>
                    <a:pt x="1064" y="334"/>
                    <a:pt x="1078" y="351"/>
                  </a:cubicBezTo>
                  <a:cubicBezTo>
                    <a:pt x="1074" y="369"/>
                    <a:pt x="1070" y="387"/>
                    <a:pt x="1066" y="404"/>
                  </a:cubicBezTo>
                  <a:moveTo>
                    <a:pt x="938" y="321"/>
                  </a:moveTo>
                  <a:cubicBezTo>
                    <a:pt x="904" y="307"/>
                    <a:pt x="870" y="297"/>
                    <a:pt x="837" y="292"/>
                  </a:cubicBezTo>
                  <a:cubicBezTo>
                    <a:pt x="840" y="273"/>
                    <a:pt x="843" y="254"/>
                    <a:pt x="846" y="235"/>
                  </a:cubicBezTo>
                  <a:cubicBezTo>
                    <a:pt x="880" y="240"/>
                    <a:pt x="915" y="249"/>
                    <a:pt x="949" y="263"/>
                  </a:cubicBezTo>
                  <a:cubicBezTo>
                    <a:pt x="946" y="282"/>
                    <a:pt x="942" y="302"/>
                    <a:pt x="938" y="321"/>
                  </a:cubicBezTo>
                  <a:moveTo>
                    <a:pt x="720" y="287"/>
                  </a:moveTo>
                  <a:cubicBezTo>
                    <a:pt x="722" y="270"/>
                    <a:pt x="724" y="252"/>
                    <a:pt x="726" y="234"/>
                  </a:cubicBezTo>
                  <a:cubicBezTo>
                    <a:pt x="744" y="232"/>
                    <a:pt x="763" y="231"/>
                    <a:pt x="783" y="231"/>
                  </a:cubicBezTo>
                  <a:cubicBezTo>
                    <a:pt x="800" y="231"/>
                    <a:pt x="817" y="231"/>
                    <a:pt x="835" y="233"/>
                  </a:cubicBezTo>
                  <a:cubicBezTo>
                    <a:pt x="832" y="252"/>
                    <a:pt x="829" y="271"/>
                    <a:pt x="826" y="290"/>
                  </a:cubicBezTo>
                  <a:cubicBezTo>
                    <a:pt x="805" y="287"/>
                    <a:pt x="784" y="285"/>
                    <a:pt x="763" y="285"/>
                  </a:cubicBezTo>
                  <a:cubicBezTo>
                    <a:pt x="749" y="285"/>
                    <a:pt x="734" y="286"/>
                    <a:pt x="720" y="287"/>
                  </a:cubicBezTo>
                  <a:moveTo>
                    <a:pt x="1153" y="359"/>
                  </a:moveTo>
                  <a:cubicBezTo>
                    <a:pt x="1138" y="323"/>
                    <a:pt x="1125" y="297"/>
                    <a:pt x="1104" y="273"/>
                  </a:cubicBezTo>
                  <a:cubicBezTo>
                    <a:pt x="1107" y="250"/>
                    <a:pt x="1111" y="226"/>
                    <a:pt x="1113" y="202"/>
                  </a:cubicBezTo>
                  <a:cubicBezTo>
                    <a:pt x="1132" y="224"/>
                    <a:pt x="1148" y="250"/>
                    <a:pt x="1162" y="278"/>
                  </a:cubicBezTo>
                  <a:cubicBezTo>
                    <a:pt x="1160" y="306"/>
                    <a:pt x="1157" y="333"/>
                    <a:pt x="1153" y="359"/>
                  </a:cubicBezTo>
                  <a:moveTo>
                    <a:pt x="1081" y="337"/>
                  </a:moveTo>
                  <a:cubicBezTo>
                    <a:pt x="1067" y="321"/>
                    <a:pt x="1049" y="305"/>
                    <a:pt x="1026" y="289"/>
                  </a:cubicBezTo>
                  <a:cubicBezTo>
                    <a:pt x="1004" y="276"/>
                    <a:pt x="983" y="265"/>
                    <a:pt x="962" y="255"/>
                  </a:cubicBezTo>
                  <a:cubicBezTo>
                    <a:pt x="965" y="236"/>
                    <a:pt x="968" y="216"/>
                    <a:pt x="971" y="196"/>
                  </a:cubicBezTo>
                  <a:cubicBezTo>
                    <a:pt x="992" y="205"/>
                    <a:pt x="1012" y="216"/>
                    <a:pt x="1032" y="229"/>
                  </a:cubicBezTo>
                  <a:cubicBezTo>
                    <a:pt x="1058" y="246"/>
                    <a:pt x="1077" y="261"/>
                    <a:pt x="1092" y="277"/>
                  </a:cubicBezTo>
                  <a:cubicBezTo>
                    <a:pt x="1088" y="297"/>
                    <a:pt x="1085" y="317"/>
                    <a:pt x="1081" y="337"/>
                  </a:cubicBezTo>
                  <a:moveTo>
                    <a:pt x="1168" y="265"/>
                  </a:moveTo>
                  <a:cubicBezTo>
                    <a:pt x="1153" y="235"/>
                    <a:pt x="1135" y="209"/>
                    <a:pt x="1115" y="186"/>
                  </a:cubicBezTo>
                  <a:cubicBezTo>
                    <a:pt x="1115" y="185"/>
                    <a:pt x="1115" y="184"/>
                    <a:pt x="1115" y="183"/>
                  </a:cubicBezTo>
                  <a:cubicBezTo>
                    <a:pt x="1128" y="199"/>
                    <a:pt x="1141" y="217"/>
                    <a:pt x="1152" y="236"/>
                  </a:cubicBezTo>
                  <a:cubicBezTo>
                    <a:pt x="1156" y="233"/>
                    <a:pt x="1156" y="233"/>
                    <a:pt x="1156" y="233"/>
                  </a:cubicBezTo>
                  <a:cubicBezTo>
                    <a:pt x="1160" y="244"/>
                    <a:pt x="1165" y="255"/>
                    <a:pt x="1168" y="265"/>
                  </a:cubicBezTo>
                  <a:moveTo>
                    <a:pt x="951" y="251"/>
                  </a:moveTo>
                  <a:cubicBezTo>
                    <a:pt x="916" y="237"/>
                    <a:pt x="882" y="228"/>
                    <a:pt x="847" y="223"/>
                  </a:cubicBezTo>
                  <a:cubicBezTo>
                    <a:pt x="850" y="204"/>
                    <a:pt x="853" y="185"/>
                    <a:pt x="855" y="165"/>
                  </a:cubicBezTo>
                  <a:cubicBezTo>
                    <a:pt x="890" y="169"/>
                    <a:pt x="926" y="178"/>
                    <a:pt x="961" y="192"/>
                  </a:cubicBezTo>
                  <a:cubicBezTo>
                    <a:pt x="958" y="212"/>
                    <a:pt x="955" y="231"/>
                    <a:pt x="951" y="251"/>
                  </a:cubicBezTo>
                  <a:moveTo>
                    <a:pt x="727" y="222"/>
                  </a:moveTo>
                  <a:cubicBezTo>
                    <a:pt x="729" y="203"/>
                    <a:pt x="731" y="185"/>
                    <a:pt x="732" y="166"/>
                  </a:cubicBezTo>
                  <a:cubicBezTo>
                    <a:pt x="754" y="164"/>
                    <a:pt x="777" y="162"/>
                    <a:pt x="800" y="162"/>
                  </a:cubicBezTo>
                  <a:cubicBezTo>
                    <a:pt x="814" y="162"/>
                    <a:pt x="829" y="163"/>
                    <a:pt x="844" y="164"/>
                  </a:cubicBezTo>
                  <a:cubicBezTo>
                    <a:pt x="841" y="183"/>
                    <a:pt x="839" y="203"/>
                    <a:pt x="836" y="222"/>
                  </a:cubicBezTo>
                  <a:cubicBezTo>
                    <a:pt x="818" y="220"/>
                    <a:pt x="800" y="219"/>
                    <a:pt x="783" y="219"/>
                  </a:cubicBezTo>
                  <a:cubicBezTo>
                    <a:pt x="764" y="219"/>
                    <a:pt x="745" y="220"/>
                    <a:pt x="727" y="222"/>
                  </a:cubicBezTo>
                  <a:moveTo>
                    <a:pt x="1135" y="189"/>
                  </a:moveTo>
                  <a:cubicBezTo>
                    <a:pt x="1129" y="182"/>
                    <a:pt x="1123" y="174"/>
                    <a:pt x="1117" y="167"/>
                  </a:cubicBezTo>
                  <a:cubicBezTo>
                    <a:pt x="1117" y="165"/>
                    <a:pt x="1118" y="163"/>
                    <a:pt x="1118" y="161"/>
                  </a:cubicBezTo>
                  <a:cubicBezTo>
                    <a:pt x="1124" y="170"/>
                    <a:pt x="1129" y="180"/>
                    <a:pt x="1135" y="189"/>
                  </a:cubicBezTo>
                  <a:moveTo>
                    <a:pt x="1094" y="263"/>
                  </a:moveTo>
                  <a:cubicBezTo>
                    <a:pt x="1080" y="248"/>
                    <a:pt x="1062" y="234"/>
                    <a:pt x="1038" y="219"/>
                  </a:cubicBezTo>
                  <a:cubicBezTo>
                    <a:pt x="1017" y="205"/>
                    <a:pt x="995" y="193"/>
                    <a:pt x="973" y="184"/>
                  </a:cubicBezTo>
                  <a:cubicBezTo>
                    <a:pt x="977" y="157"/>
                    <a:pt x="981" y="130"/>
                    <a:pt x="984" y="102"/>
                  </a:cubicBezTo>
                  <a:cubicBezTo>
                    <a:pt x="1029" y="121"/>
                    <a:pt x="1069" y="151"/>
                    <a:pt x="1104" y="190"/>
                  </a:cubicBezTo>
                  <a:cubicBezTo>
                    <a:pt x="1101" y="215"/>
                    <a:pt x="1098" y="239"/>
                    <a:pt x="1094" y="263"/>
                  </a:cubicBezTo>
                  <a:moveTo>
                    <a:pt x="1105" y="174"/>
                  </a:moveTo>
                  <a:cubicBezTo>
                    <a:pt x="1071" y="137"/>
                    <a:pt x="1030" y="109"/>
                    <a:pt x="985" y="90"/>
                  </a:cubicBezTo>
                  <a:cubicBezTo>
                    <a:pt x="985" y="86"/>
                    <a:pt x="986" y="82"/>
                    <a:pt x="986" y="78"/>
                  </a:cubicBezTo>
                  <a:cubicBezTo>
                    <a:pt x="1028" y="98"/>
                    <a:pt x="1068" y="128"/>
                    <a:pt x="1106" y="171"/>
                  </a:cubicBezTo>
                  <a:cubicBezTo>
                    <a:pt x="1105" y="172"/>
                    <a:pt x="1105" y="173"/>
                    <a:pt x="1105" y="174"/>
                  </a:cubicBezTo>
                  <a:moveTo>
                    <a:pt x="963" y="179"/>
                  </a:moveTo>
                  <a:cubicBezTo>
                    <a:pt x="927" y="166"/>
                    <a:pt x="892" y="157"/>
                    <a:pt x="856" y="153"/>
                  </a:cubicBezTo>
                  <a:cubicBezTo>
                    <a:pt x="859" y="128"/>
                    <a:pt x="862" y="102"/>
                    <a:pt x="865" y="76"/>
                  </a:cubicBezTo>
                  <a:cubicBezTo>
                    <a:pt x="899" y="78"/>
                    <a:pt x="932" y="84"/>
                    <a:pt x="965" y="95"/>
                  </a:cubicBezTo>
                  <a:cubicBezTo>
                    <a:pt x="968" y="96"/>
                    <a:pt x="970" y="97"/>
                    <a:pt x="973" y="98"/>
                  </a:cubicBezTo>
                  <a:cubicBezTo>
                    <a:pt x="970" y="126"/>
                    <a:pt x="966" y="153"/>
                    <a:pt x="963" y="179"/>
                  </a:cubicBezTo>
                  <a:moveTo>
                    <a:pt x="733" y="154"/>
                  </a:moveTo>
                  <a:cubicBezTo>
                    <a:pt x="735" y="131"/>
                    <a:pt x="737" y="108"/>
                    <a:pt x="739" y="85"/>
                  </a:cubicBezTo>
                  <a:cubicBezTo>
                    <a:pt x="771" y="79"/>
                    <a:pt x="805" y="75"/>
                    <a:pt x="839" y="75"/>
                  </a:cubicBezTo>
                  <a:cubicBezTo>
                    <a:pt x="844" y="75"/>
                    <a:pt x="849" y="75"/>
                    <a:pt x="854" y="75"/>
                  </a:cubicBezTo>
                  <a:cubicBezTo>
                    <a:pt x="851" y="101"/>
                    <a:pt x="848" y="127"/>
                    <a:pt x="845" y="152"/>
                  </a:cubicBezTo>
                  <a:cubicBezTo>
                    <a:pt x="830" y="151"/>
                    <a:pt x="815" y="150"/>
                    <a:pt x="800" y="150"/>
                  </a:cubicBezTo>
                  <a:cubicBezTo>
                    <a:pt x="777" y="150"/>
                    <a:pt x="755" y="152"/>
                    <a:pt x="733" y="154"/>
                  </a:cubicBezTo>
                  <a:moveTo>
                    <a:pt x="974" y="86"/>
                  </a:moveTo>
                  <a:cubicBezTo>
                    <a:pt x="972" y="85"/>
                    <a:pt x="970" y="84"/>
                    <a:pt x="968" y="84"/>
                  </a:cubicBezTo>
                  <a:cubicBezTo>
                    <a:pt x="935" y="72"/>
                    <a:pt x="900" y="66"/>
                    <a:pt x="866" y="64"/>
                  </a:cubicBezTo>
                  <a:cubicBezTo>
                    <a:pt x="866" y="58"/>
                    <a:pt x="867" y="52"/>
                    <a:pt x="867" y="46"/>
                  </a:cubicBezTo>
                  <a:cubicBezTo>
                    <a:pt x="903" y="49"/>
                    <a:pt x="940" y="58"/>
                    <a:pt x="975" y="74"/>
                  </a:cubicBezTo>
                  <a:cubicBezTo>
                    <a:pt x="975" y="78"/>
                    <a:pt x="974" y="82"/>
                    <a:pt x="974" y="86"/>
                  </a:cubicBezTo>
                  <a:moveTo>
                    <a:pt x="740" y="72"/>
                  </a:moveTo>
                  <a:cubicBezTo>
                    <a:pt x="741" y="65"/>
                    <a:pt x="741" y="58"/>
                    <a:pt x="742" y="51"/>
                  </a:cubicBezTo>
                  <a:cubicBezTo>
                    <a:pt x="769" y="47"/>
                    <a:pt x="797" y="44"/>
                    <a:pt x="825" y="44"/>
                  </a:cubicBezTo>
                  <a:cubicBezTo>
                    <a:pt x="836" y="44"/>
                    <a:pt x="846" y="44"/>
                    <a:pt x="856" y="45"/>
                  </a:cubicBezTo>
                  <a:cubicBezTo>
                    <a:pt x="856" y="51"/>
                    <a:pt x="855" y="57"/>
                    <a:pt x="855" y="63"/>
                  </a:cubicBezTo>
                  <a:cubicBezTo>
                    <a:pt x="849" y="63"/>
                    <a:pt x="844" y="63"/>
                    <a:pt x="839" y="63"/>
                  </a:cubicBezTo>
                  <a:cubicBezTo>
                    <a:pt x="805" y="63"/>
                    <a:pt x="772" y="67"/>
                    <a:pt x="740" y="72"/>
                  </a:cubicBezTo>
                  <a:moveTo>
                    <a:pt x="1107" y="155"/>
                  </a:moveTo>
                  <a:cubicBezTo>
                    <a:pt x="1070" y="114"/>
                    <a:pt x="1029" y="85"/>
                    <a:pt x="987" y="66"/>
                  </a:cubicBezTo>
                  <a:cubicBezTo>
                    <a:pt x="988" y="58"/>
                    <a:pt x="989" y="50"/>
                    <a:pt x="989" y="43"/>
                  </a:cubicBezTo>
                  <a:cubicBezTo>
                    <a:pt x="995" y="46"/>
                    <a:pt x="1001" y="48"/>
                    <a:pt x="1007" y="52"/>
                  </a:cubicBezTo>
                  <a:cubicBezTo>
                    <a:pt x="1049" y="76"/>
                    <a:pt x="1082" y="109"/>
                    <a:pt x="1108" y="146"/>
                  </a:cubicBezTo>
                  <a:cubicBezTo>
                    <a:pt x="1108" y="149"/>
                    <a:pt x="1107" y="152"/>
                    <a:pt x="1107" y="155"/>
                  </a:cubicBezTo>
                  <a:moveTo>
                    <a:pt x="976" y="61"/>
                  </a:moveTo>
                  <a:cubicBezTo>
                    <a:pt x="941" y="46"/>
                    <a:pt x="904" y="37"/>
                    <a:pt x="868" y="34"/>
                  </a:cubicBezTo>
                  <a:cubicBezTo>
                    <a:pt x="869" y="27"/>
                    <a:pt x="870" y="20"/>
                    <a:pt x="870" y="13"/>
                  </a:cubicBezTo>
                  <a:cubicBezTo>
                    <a:pt x="910" y="15"/>
                    <a:pt x="946" y="24"/>
                    <a:pt x="979" y="38"/>
                  </a:cubicBezTo>
                  <a:cubicBezTo>
                    <a:pt x="979" y="38"/>
                    <a:pt x="979" y="38"/>
                    <a:pt x="979" y="38"/>
                  </a:cubicBezTo>
                  <a:cubicBezTo>
                    <a:pt x="978" y="46"/>
                    <a:pt x="977" y="53"/>
                    <a:pt x="976" y="61"/>
                  </a:cubicBezTo>
                  <a:moveTo>
                    <a:pt x="743" y="39"/>
                  </a:moveTo>
                  <a:cubicBezTo>
                    <a:pt x="743" y="34"/>
                    <a:pt x="744" y="30"/>
                    <a:pt x="744" y="26"/>
                  </a:cubicBezTo>
                  <a:cubicBezTo>
                    <a:pt x="757" y="23"/>
                    <a:pt x="770" y="20"/>
                    <a:pt x="782" y="18"/>
                  </a:cubicBezTo>
                  <a:cubicBezTo>
                    <a:pt x="806" y="15"/>
                    <a:pt x="829" y="13"/>
                    <a:pt x="850" y="13"/>
                  </a:cubicBezTo>
                  <a:cubicBezTo>
                    <a:pt x="853" y="13"/>
                    <a:pt x="856" y="13"/>
                    <a:pt x="859" y="13"/>
                  </a:cubicBezTo>
                  <a:cubicBezTo>
                    <a:pt x="859" y="20"/>
                    <a:pt x="858" y="26"/>
                    <a:pt x="857" y="33"/>
                  </a:cubicBezTo>
                  <a:cubicBezTo>
                    <a:pt x="847" y="32"/>
                    <a:pt x="836" y="32"/>
                    <a:pt x="826" y="32"/>
                  </a:cubicBezTo>
                  <a:cubicBezTo>
                    <a:pt x="797" y="32"/>
                    <a:pt x="770" y="34"/>
                    <a:pt x="743" y="39"/>
                  </a:cubicBezTo>
                  <a:moveTo>
                    <a:pt x="852" y="0"/>
                  </a:moveTo>
                  <a:cubicBezTo>
                    <a:pt x="805" y="0"/>
                    <a:pt x="754" y="8"/>
                    <a:pt x="698" y="25"/>
                  </a:cubicBezTo>
                  <a:cubicBezTo>
                    <a:pt x="698" y="38"/>
                    <a:pt x="698" y="38"/>
                    <a:pt x="698" y="38"/>
                  </a:cubicBezTo>
                  <a:cubicBezTo>
                    <a:pt x="710" y="35"/>
                    <a:pt x="721" y="31"/>
                    <a:pt x="732" y="29"/>
                  </a:cubicBezTo>
                  <a:cubicBezTo>
                    <a:pt x="732" y="33"/>
                    <a:pt x="732" y="37"/>
                    <a:pt x="732" y="41"/>
                  </a:cubicBezTo>
                  <a:cubicBezTo>
                    <a:pt x="720" y="43"/>
                    <a:pt x="709" y="45"/>
                    <a:pt x="698" y="48"/>
                  </a:cubicBezTo>
                  <a:cubicBezTo>
                    <a:pt x="698" y="60"/>
                    <a:pt x="698" y="60"/>
                    <a:pt x="698" y="60"/>
                  </a:cubicBezTo>
                  <a:cubicBezTo>
                    <a:pt x="709" y="58"/>
                    <a:pt x="720" y="55"/>
                    <a:pt x="731" y="53"/>
                  </a:cubicBezTo>
                  <a:cubicBezTo>
                    <a:pt x="730" y="60"/>
                    <a:pt x="730" y="67"/>
                    <a:pt x="729" y="75"/>
                  </a:cubicBezTo>
                  <a:cubicBezTo>
                    <a:pt x="719" y="77"/>
                    <a:pt x="708" y="79"/>
                    <a:pt x="698" y="81"/>
                  </a:cubicBezTo>
                  <a:cubicBezTo>
                    <a:pt x="698" y="94"/>
                    <a:pt x="698" y="94"/>
                    <a:pt x="698" y="94"/>
                  </a:cubicBezTo>
                  <a:cubicBezTo>
                    <a:pt x="708" y="91"/>
                    <a:pt x="718" y="89"/>
                    <a:pt x="728" y="87"/>
                  </a:cubicBezTo>
                  <a:cubicBezTo>
                    <a:pt x="726" y="110"/>
                    <a:pt x="724" y="133"/>
                    <a:pt x="722" y="156"/>
                  </a:cubicBezTo>
                  <a:cubicBezTo>
                    <a:pt x="714" y="157"/>
                    <a:pt x="706" y="158"/>
                    <a:pt x="698" y="159"/>
                  </a:cubicBezTo>
                  <a:cubicBezTo>
                    <a:pt x="698" y="172"/>
                    <a:pt x="698" y="172"/>
                    <a:pt x="698" y="172"/>
                  </a:cubicBezTo>
                  <a:cubicBezTo>
                    <a:pt x="706" y="170"/>
                    <a:pt x="713" y="169"/>
                    <a:pt x="721" y="168"/>
                  </a:cubicBezTo>
                  <a:cubicBezTo>
                    <a:pt x="719" y="186"/>
                    <a:pt x="717" y="205"/>
                    <a:pt x="716" y="223"/>
                  </a:cubicBezTo>
                  <a:cubicBezTo>
                    <a:pt x="710" y="224"/>
                    <a:pt x="704" y="225"/>
                    <a:pt x="698" y="226"/>
                  </a:cubicBezTo>
                  <a:cubicBezTo>
                    <a:pt x="698" y="238"/>
                    <a:pt x="698" y="238"/>
                    <a:pt x="698" y="238"/>
                  </a:cubicBezTo>
                  <a:cubicBezTo>
                    <a:pt x="704" y="237"/>
                    <a:pt x="709" y="236"/>
                    <a:pt x="714" y="235"/>
                  </a:cubicBezTo>
                  <a:cubicBezTo>
                    <a:pt x="713" y="253"/>
                    <a:pt x="711" y="271"/>
                    <a:pt x="709" y="288"/>
                  </a:cubicBezTo>
                  <a:cubicBezTo>
                    <a:pt x="705" y="289"/>
                    <a:pt x="702" y="289"/>
                    <a:pt x="698" y="290"/>
                  </a:cubicBezTo>
                  <a:cubicBezTo>
                    <a:pt x="698" y="302"/>
                    <a:pt x="698" y="302"/>
                    <a:pt x="698" y="302"/>
                  </a:cubicBezTo>
                  <a:cubicBezTo>
                    <a:pt x="701" y="301"/>
                    <a:pt x="704" y="301"/>
                    <a:pt x="708" y="301"/>
                  </a:cubicBezTo>
                  <a:cubicBezTo>
                    <a:pt x="706" y="318"/>
                    <a:pt x="704" y="335"/>
                    <a:pt x="702" y="352"/>
                  </a:cubicBezTo>
                  <a:cubicBezTo>
                    <a:pt x="701" y="352"/>
                    <a:pt x="699" y="352"/>
                    <a:pt x="698" y="352"/>
                  </a:cubicBezTo>
                  <a:cubicBezTo>
                    <a:pt x="698" y="364"/>
                    <a:pt x="698" y="364"/>
                    <a:pt x="698" y="364"/>
                  </a:cubicBezTo>
                  <a:cubicBezTo>
                    <a:pt x="699" y="364"/>
                    <a:pt x="700" y="364"/>
                    <a:pt x="701" y="364"/>
                  </a:cubicBezTo>
                  <a:cubicBezTo>
                    <a:pt x="700" y="371"/>
                    <a:pt x="699" y="377"/>
                    <a:pt x="698" y="384"/>
                  </a:cubicBezTo>
                  <a:cubicBezTo>
                    <a:pt x="698" y="477"/>
                    <a:pt x="698" y="477"/>
                    <a:pt x="698" y="477"/>
                  </a:cubicBezTo>
                  <a:cubicBezTo>
                    <a:pt x="700" y="462"/>
                    <a:pt x="702" y="447"/>
                    <a:pt x="704" y="432"/>
                  </a:cubicBezTo>
                  <a:cubicBezTo>
                    <a:pt x="707" y="432"/>
                    <a:pt x="711" y="432"/>
                    <a:pt x="715" y="432"/>
                  </a:cubicBezTo>
                  <a:cubicBezTo>
                    <a:pt x="742" y="432"/>
                    <a:pt x="770" y="434"/>
                    <a:pt x="799" y="440"/>
                  </a:cubicBezTo>
                  <a:cubicBezTo>
                    <a:pt x="796" y="458"/>
                    <a:pt x="792" y="476"/>
                    <a:pt x="788" y="494"/>
                  </a:cubicBezTo>
                  <a:cubicBezTo>
                    <a:pt x="799" y="494"/>
                    <a:pt x="799" y="494"/>
                    <a:pt x="799" y="494"/>
                  </a:cubicBezTo>
                  <a:cubicBezTo>
                    <a:pt x="803" y="477"/>
                    <a:pt x="807" y="459"/>
                    <a:pt x="810" y="442"/>
                  </a:cubicBezTo>
                  <a:cubicBezTo>
                    <a:pt x="840" y="448"/>
                    <a:pt x="871" y="457"/>
                    <a:pt x="902" y="470"/>
                  </a:cubicBezTo>
                  <a:cubicBezTo>
                    <a:pt x="900" y="479"/>
                    <a:pt x="898" y="486"/>
                    <a:pt x="896" y="494"/>
                  </a:cubicBezTo>
                  <a:cubicBezTo>
                    <a:pt x="907" y="494"/>
                    <a:pt x="907" y="494"/>
                    <a:pt x="907" y="494"/>
                  </a:cubicBezTo>
                  <a:cubicBezTo>
                    <a:pt x="909" y="488"/>
                    <a:pt x="911" y="481"/>
                    <a:pt x="913" y="475"/>
                  </a:cubicBezTo>
                  <a:cubicBezTo>
                    <a:pt x="926" y="481"/>
                    <a:pt x="939" y="487"/>
                    <a:pt x="953" y="494"/>
                  </a:cubicBezTo>
                  <a:cubicBezTo>
                    <a:pt x="977" y="494"/>
                    <a:pt x="977" y="494"/>
                    <a:pt x="977" y="494"/>
                  </a:cubicBezTo>
                  <a:cubicBezTo>
                    <a:pt x="956" y="482"/>
                    <a:pt x="936" y="472"/>
                    <a:pt x="916" y="463"/>
                  </a:cubicBezTo>
                  <a:cubicBezTo>
                    <a:pt x="921" y="445"/>
                    <a:pt x="926" y="426"/>
                    <a:pt x="931" y="406"/>
                  </a:cubicBezTo>
                  <a:cubicBezTo>
                    <a:pt x="952" y="416"/>
                    <a:pt x="973" y="427"/>
                    <a:pt x="995" y="441"/>
                  </a:cubicBezTo>
                  <a:cubicBezTo>
                    <a:pt x="1016" y="454"/>
                    <a:pt x="1032" y="469"/>
                    <a:pt x="1044" y="484"/>
                  </a:cubicBezTo>
                  <a:cubicBezTo>
                    <a:pt x="1043" y="487"/>
                    <a:pt x="1042" y="491"/>
                    <a:pt x="1041" y="494"/>
                  </a:cubicBezTo>
                  <a:cubicBezTo>
                    <a:pt x="1065" y="494"/>
                    <a:pt x="1065" y="494"/>
                    <a:pt x="1065" y="494"/>
                  </a:cubicBezTo>
                  <a:cubicBezTo>
                    <a:pt x="1063" y="490"/>
                    <a:pt x="1060" y="486"/>
                    <a:pt x="1057" y="481"/>
                  </a:cubicBezTo>
                  <a:cubicBezTo>
                    <a:pt x="1062" y="464"/>
                    <a:pt x="1067" y="447"/>
                    <a:pt x="1071" y="429"/>
                  </a:cubicBezTo>
                  <a:cubicBezTo>
                    <a:pt x="1087" y="451"/>
                    <a:pt x="1096" y="473"/>
                    <a:pt x="1102" y="494"/>
                  </a:cubicBezTo>
                  <a:cubicBezTo>
                    <a:pt x="1114" y="494"/>
                    <a:pt x="1114" y="494"/>
                    <a:pt x="1114" y="494"/>
                  </a:cubicBezTo>
                  <a:cubicBezTo>
                    <a:pt x="1106" y="469"/>
                    <a:pt x="1095" y="441"/>
                    <a:pt x="1075" y="415"/>
                  </a:cubicBezTo>
                  <a:cubicBezTo>
                    <a:pt x="1079" y="398"/>
                    <a:pt x="1083" y="381"/>
                    <a:pt x="1087" y="364"/>
                  </a:cubicBezTo>
                  <a:cubicBezTo>
                    <a:pt x="1102" y="389"/>
                    <a:pt x="1111" y="415"/>
                    <a:pt x="1119" y="441"/>
                  </a:cubicBezTo>
                  <a:cubicBezTo>
                    <a:pt x="1123" y="454"/>
                    <a:pt x="1128" y="466"/>
                    <a:pt x="1132" y="479"/>
                  </a:cubicBezTo>
                  <a:cubicBezTo>
                    <a:pt x="1131" y="484"/>
                    <a:pt x="1130" y="489"/>
                    <a:pt x="1129" y="494"/>
                  </a:cubicBezTo>
                  <a:cubicBezTo>
                    <a:pt x="1140" y="494"/>
                    <a:pt x="1140" y="494"/>
                    <a:pt x="1140" y="494"/>
                  </a:cubicBezTo>
                  <a:cubicBezTo>
                    <a:pt x="1141" y="490"/>
                    <a:pt x="1142" y="486"/>
                    <a:pt x="1143" y="482"/>
                  </a:cubicBezTo>
                  <a:cubicBezTo>
                    <a:pt x="1145" y="481"/>
                    <a:pt x="1145" y="481"/>
                    <a:pt x="1145" y="481"/>
                  </a:cubicBezTo>
                  <a:cubicBezTo>
                    <a:pt x="1145" y="480"/>
                    <a:pt x="1144" y="479"/>
                    <a:pt x="1144" y="478"/>
                  </a:cubicBezTo>
                  <a:cubicBezTo>
                    <a:pt x="1147" y="463"/>
                    <a:pt x="1150" y="449"/>
                    <a:pt x="1153" y="435"/>
                  </a:cubicBezTo>
                  <a:cubicBezTo>
                    <a:pt x="1156" y="434"/>
                    <a:pt x="1160" y="433"/>
                    <a:pt x="1164" y="433"/>
                  </a:cubicBezTo>
                  <a:cubicBezTo>
                    <a:pt x="1158" y="457"/>
                    <a:pt x="1152" y="479"/>
                    <a:pt x="1147" y="494"/>
                  </a:cubicBezTo>
                  <a:cubicBezTo>
                    <a:pt x="1159" y="494"/>
                    <a:pt x="1159" y="494"/>
                    <a:pt x="1159" y="494"/>
                  </a:cubicBezTo>
                  <a:cubicBezTo>
                    <a:pt x="1164" y="478"/>
                    <a:pt x="1170" y="457"/>
                    <a:pt x="1176" y="433"/>
                  </a:cubicBezTo>
                  <a:cubicBezTo>
                    <a:pt x="1181" y="433"/>
                    <a:pt x="1187" y="434"/>
                    <a:pt x="1193" y="437"/>
                  </a:cubicBezTo>
                  <a:cubicBezTo>
                    <a:pt x="1191" y="446"/>
                    <a:pt x="1188" y="456"/>
                    <a:pt x="1185" y="465"/>
                  </a:cubicBezTo>
                  <a:cubicBezTo>
                    <a:pt x="1177" y="476"/>
                    <a:pt x="1168" y="486"/>
                    <a:pt x="1160" y="494"/>
                  </a:cubicBezTo>
                  <a:cubicBezTo>
                    <a:pt x="1176" y="494"/>
                    <a:pt x="1176" y="494"/>
                    <a:pt x="1176" y="494"/>
                  </a:cubicBezTo>
                  <a:cubicBezTo>
                    <a:pt x="1176" y="494"/>
                    <a:pt x="1177" y="493"/>
                    <a:pt x="1178" y="492"/>
                  </a:cubicBezTo>
                  <a:cubicBezTo>
                    <a:pt x="1180" y="494"/>
                    <a:pt x="1180" y="494"/>
                    <a:pt x="1180" y="494"/>
                  </a:cubicBezTo>
                  <a:cubicBezTo>
                    <a:pt x="1184" y="494"/>
                    <a:pt x="1184" y="494"/>
                    <a:pt x="1184" y="494"/>
                  </a:cubicBezTo>
                  <a:cubicBezTo>
                    <a:pt x="1184" y="494"/>
                    <a:pt x="1184" y="494"/>
                    <a:pt x="1184" y="494"/>
                  </a:cubicBezTo>
                  <a:cubicBezTo>
                    <a:pt x="1184" y="494"/>
                    <a:pt x="1184" y="494"/>
                    <a:pt x="1184" y="494"/>
                  </a:cubicBezTo>
                  <a:cubicBezTo>
                    <a:pt x="1197" y="494"/>
                    <a:pt x="1197" y="494"/>
                    <a:pt x="1197" y="494"/>
                  </a:cubicBezTo>
                  <a:cubicBezTo>
                    <a:pt x="1194" y="489"/>
                    <a:pt x="1192" y="485"/>
                    <a:pt x="1190" y="482"/>
                  </a:cubicBezTo>
                  <a:cubicBezTo>
                    <a:pt x="1192" y="478"/>
                    <a:pt x="1193" y="475"/>
                    <a:pt x="1194" y="472"/>
                  </a:cubicBezTo>
                  <a:cubicBezTo>
                    <a:pt x="1200" y="464"/>
                    <a:pt x="1206" y="456"/>
                    <a:pt x="1211" y="447"/>
                  </a:cubicBezTo>
                  <a:cubicBezTo>
                    <a:pt x="1215" y="450"/>
                    <a:pt x="1219" y="455"/>
                    <a:pt x="1224" y="460"/>
                  </a:cubicBezTo>
                  <a:cubicBezTo>
                    <a:pt x="1228" y="469"/>
                    <a:pt x="1232" y="481"/>
                    <a:pt x="1237" y="494"/>
                  </a:cubicBezTo>
                  <a:cubicBezTo>
                    <a:pt x="1249" y="494"/>
                    <a:pt x="1249" y="494"/>
                    <a:pt x="1249" y="494"/>
                  </a:cubicBezTo>
                  <a:cubicBezTo>
                    <a:pt x="1243" y="479"/>
                    <a:pt x="1238" y="465"/>
                    <a:pt x="1234" y="454"/>
                  </a:cubicBezTo>
                  <a:cubicBezTo>
                    <a:pt x="1234" y="453"/>
                    <a:pt x="1234" y="453"/>
                    <a:pt x="1234" y="453"/>
                  </a:cubicBezTo>
                  <a:cubicBezTo>
                    <a:pt x="1233" y="453"/>
                    <a:pt x="1233" y="453"/>
                    <a:pt x="1233" y="453"/>
                  </a:cubicBezTo>
                  <a:cubicBezTo>
                    <a:pt x="1230" y="445"/>
                    <a:pt x="1227" y="439"/>
                    <a:pt x="1225" y="435"/>
                  </a:cubicBezTo>
                  <a:cubicBezTo>
                    <a:pt x="1224" y="434"/>
                    <a:pt x="1224" y="433"/>
                    <a:pt x="1223" y="432"/>
                  </a:cubicBezTo>
                  <a:cubicBezTo>
                    <a:pt x="1222" y="426"/>
                    <a:pt x="1219" y="414"/>
                    <a:pt x="1217" y="402"/>
                  </a:cubicBezTo>
                  <a:cubicBezTo>
                    <a:pt x="1211" y="376"/>
                    <a:pt x="1203" y="337"/>
                    <a:pt x="1191" y="296"/>
                  </a:cubicBezTo>
                  <a:cubicBezTo>
                    <a:pt x="1191" y="294"/>
                    <a:pt x="1190" y="289"/>
                    <a:pt x="1190" y="289"/>
                  </a:cubicBezTo>
                  <a:cubicBezTo>
                    <a:pt x="1189" y="289"/>
                    <a:pt x="1189" y="289"/>
                    <a:pt x="1189" y="289"/>
                  </a:cubicBezTo>
                  <a:cubicBezTo>
                    <a:pt x="1163" y="213"/>
                    <a:pt x="1111" y="97"/>
                    <a:pt x="1012" y="40"/>
                  </a:cubicBezTo>
                  <a:cubicBezTo>
                    <a:pt x="966" y="13"/>
                    <a:pt x="912" y="0"/>
                    <a:pt x="852"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77" name="Freeform 683"/>
            <p:cNvSpPr>
              <a:spLocks noEditPoints="1"/>
            </p:cNvSpPr>
            <p:nvPr/>
          </p:nvSpPr>
          <p:spPr bwMode="auto">
            <a:xfrm>
              <a:off x="4236" y="2090"/>
              <a:ext cx="1290" cy="918"/>
            </a:xfrm>
            <a:custGeom>
              <a:avLst/>
              <a:gdLst>
                <a:gd name="T0" fmla="*/ 716 w 2092"/>
                <a:gd name="T1" fmla="*/ 71 h 1489"/>
                <a:gd name="T2" fmla="*/ 126 w 2092"/>
                <a:gd name="T3" fmla="*/ 1389 h 1489"/>
                <a:gd name="T4" fmla="*/ 240 w 2092"/>
                <a:gd name="T5" fmla="*/ 1384 h 1489"/>
                <a:gd name="T6" fmla="*/ 569 w 2092"/>
                <a:gd name="T7" fmla="*/ 1299 h 1489"/>
                <a:gd name="T8" fmla="*/ 569 w 2092"/>
                <a:gd name="T9" fmla="*/ 1287 h 1489"/>
                <a:gd name="T10" fmla="*/ 323 w 2092"/>
                <a:gd name="T11" fmla="*/ 1219 h 1489"/>
                <a:gd name="T12" fmla="*/ 676 w 2092"/>
                <a:gd name="T13" fmla="*/ 1054 h 1489"/>
                <a:gd name="T14" fmla="*/ 648 w 2092"/>
                <a:gd name="T15" fmla="*/ 1052 h 1489"/>
                <a:gd name="T16" fmla="*/ 10 w 2092"/>
                <a:gd name="T17" fmla="*/ 1070 h 1489"/>
                <a:gd name="T18" fmla="*/ 135 w 2092"/>
                <a:gd name="T19" fmla="*/ 1489 h 1489"/>
                <a:gd name="T20" fmla="*/ 657 w 2092"/>
                <a:gd name="T21" fmla="*/ 1428 h 1489"/>
                <a:gd name="T22" fmla="*/ 1864 w 2092"/>
                <a:gd name="T23" fmla="*/ 1444 h 1489"/>
                <a:gd name="T24" fmla="*/ 1776 w 2092"/>
                <a:gd name="T25" fmla="*/ 1337 h 1489"/>
                <a:gd name="T26" fmla="*/ 1628 w 2092"/>
                <a:gd name="T27" fmla="*/ 1258 h 1489"/>
                <a:gd name="T28" fmla="*/ 1927 w 2092"/>
                <a:gd name="T29" fmla="*/ 1215 h 1489"/>
                <a:gd name="T30" fmla="*/ 1795 w 2092"/>
                <a:gd name="T31" fmla="*/ 1234 h 1489"/>
                <a:gd name="T32" fmla="*/ 2066 w 2092"/>
                <a:gd name="T33" fmla="*/ 1090 h 1489"/>
                <a:gd name="T34" fmla="*/ 2062 w 2092"/>
                <a:gd name="T35" fmla="*/ 1066 h 1489"/>
                <a:gd name="T36" fmla="*/ 1813 w 2092"/>
                <a:gd name="T37" fmla="*/ 1013 h 1489"/>
                <a:gd name="T38" fmla="*/ 1736 w 2092"/>
                <a:gd name="T39" fmla="*/ 1064 h 1489"/>
                <a:gd name="T40" fmla="*/ 1395 w 2092"/>
                <a:gd name="T41" fmla="*/ 1311 h 1489"/>
                <a:gd name="T42" fmla="*/ 2040 w 2092"/>
                <a:gd name="T43" fmla="*/ 1317 h 1489"/>
                <a:gd name="T44" fmla="*/ 1047 w 2092"/>
                <a:gd name="T45" fmla="*/ 931 h 1489"/>
                <a:gd name="T46" fmla="*/ 735 w 2092"/>
                <a:gd name="T47" fmla="*/ 942 h 1489"/>
                <a:gd name="T48" fmla="*/ 1132 w 2092"/>
                <a:gd name="T49" fmla="*/ 866 h 1489"/>
                <a:gd name="T50" fmla="*/ 982 w 2092"/>
                <a:gd name="T51" fmla="*/ 868 h 1489"/>
                <a:gd name="T52" fmla="*/ 1106 w 2092"/>
                <a:gd name="T53" fmla="*/ 837 h 1489"/>
                <a:gd name="T54" fmla="*/ 989 w 2092"/>
                <a:gd name="T55" fmla="*/ 820 h 1489"/>
                <a:gd name="T56" fmla="*/ 1344 w 2092"/>
                <a:gd name="T57" fmla="*/ 820 h 1489"/>
                <a:gd name="T58" fmla="*/ 1112 w 2092"/>
                <a:gd name="T59" fmla="*/ 756 h 1489"/>
                <a:gd name="T60" fmla="*/ 1141 w 2092"/>
                <a:gd name="T61" fmla="*/ 701 h 1489"/>
                <a:gd name="T62" fmla="*/ 1086 w 2092"/>
                <a:gd name="T63" fmla="*/ 701 h 1489"/>
                <a:gd name="T64" fmla="*/ 1240 w 2092"/>
                <a:gd name="T65" fmla="*/ 653 h 1489"/>
                <a:gd name="T66" fmla="*/ 851 w 2092"/>
                <a:gd name="T67" fmla="*/ 623 h 1489"/>
                <a:gd name="T68" fmla="*/ 1215 w 2092"/>
                <a:gd name="T69" fmla="*/ 606 h 1489"/>
                <a:gd name="T70" fmla="*/ 744 w 2092"/>
                <a:gd name="T71" fmla="*/ 650 h 1489"/>
                <a:gd name="T72" fmla="*/ 766 w 2092"/>
                <a:gd name="T73" fmla="*/ 623 h 1489"/>
                <a:gd name="T74" fmla="*/ 802 w 2092"/>
                <a:gd name="T75" fmla="*/ 559 h 1489"/>
                <a:gd name="T76" fmla="*/ 697 w 2092"/>
                <a:gd name="T77" fmla="*/ 681 h 1489"/>
                <a:gd name="T78" fmla="*/ 797 w 2092"/>
                <a:gd name="T79" fmla="*/ 979 h 1489"/>
                <a:gd name="T80" fmla="*/ 1079 w 2092"/>
                <a:gd name="T81" fmla="*/ 980 h 1489"/>
                <a:gd name="T82" fmla="*/ 1395 w 2092"/>
                <a:gd name="T83" fmla="*/ 839 h 1489"/>
                <a:gd name="T84" fmla="*/ 1388 w 2092"/>
                <a:gd name="T85" fmla="*/ 558 h 1489"/>
                <a:gd name="T86" fmla="*/ 607 w 2092"/>
                <a:gd name="T87" fmla="*/ 390 h 1489"/>
                <a:gd name="T88" fmla="*/ 242 w 2092"/>
                <a:gd name="T89" fmla="*/ 368 h 1489"/>
                <a:gd name="T90" fmla="*/ 268 w 2092"/>
                <a:gd name="T91" fmla="*/ 318 h 1489"/>
                <a:gd name="T92" fmla="*/ 229 w 2092"/>
                <a:gd name="T93" fmla="*/ 304 h 1489"/>
                <a:gd name="T94" fmla="*/ 612 w 2092"/>
                <a:gd name="T95" fmla="*/ 318 h 1489"/>
                <a:gd name="T96" fmla="*/ 347 w 2092"/>
                <a:gd name="T97" fmla="*/ 262 h 1489"/>
                <a:gd name="T98" fmla="*/ 495 w 2092"/>
                <a:gd name="T99" fmla="*/ 261 h 1489"/>
                <a:gd name="T100" fmla="*/ 495 w 2092"/>
                <a:gd name="T101" fmla="*/ 227 h 1489"/>
                <a:gd name="T102" fmla="*/ 114 w 2092"/>
                <a:gd name="T103" fmla="*/ 197 h 1489"/>
                <a:gd name="T104" fmla="*/ 588 w 2092"/>
                <a:gd name="T105" fmla="*/ 164 h 1489"/>
                <a:gd name="T106" fmla="*/ 91 w 2092"/>
                <a:gd name="T107" fmla="*/ 210 h 1489"/>
                <a:gd name="T108" fmla="*/ 674 w 2092"/>
                <a:gd name="T109" fmla="*/ 134 h 1489"/>
                <a:gd name="T110" fmla="*/ 439 w 2092"/>
                <a:gd name="T111" fmla="*/ 104 h 1489"/>
                <a:gd name="T112" fmla="*/ 163 w 2092"/>
                <a:gd name="T113" fmla="*/ 129 h 1489"/>
                <a:gd name="T114" fmla="*/ 438 w 2092"/>
                <a:gd name="T115" fmla="*/ 92 h 1489"/>
                <a:gd name="T116" fmla="*/ 544 w 2092"/>
                <a:gd name="T117" fmla="*/ 0 h 1489"/>
                <a:gd name="T118" fmla="*/ 0 w 2092"/>
                <a:gd name="T119" fmla="*/ 43 h 1489"/>
                <a:gd name="T120" fmla="*/ 0 w 2092"/>
                <a:gd name="T121" fmla="*/ 335 h 1489"/>
                <a:gd name="T122" fmla="*/ 459 w 2092"/>
                <a:gd name="T123" fmla="*/ 438 h 1489"/>
                <a:gd name="T124" fmla="*/ 656 w 2092"/>
                <a:gd name="T125" fmla="*/ 328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2" h="1489">
                  <a:moveTo>
                    <a:pt x="697" y="496"/>
                  </a:moveTo>
                  <a:cubicBezTo>
                    <a:pt x="696" y="496"/>
                    <a:pt x="696" y="496"/>
                    <a:pt x="696" y="496"/>
                  </a:cubicBezTo>
                  <a:cubicBezTo>
                    <a:pt x="696" y="496"/>
                    <a:pt x="697" y="496"/>
                    <a:pt x="697" y="497"/>
                  </a:cubicBezTo>
                  <a:cubicBezTo>
                    <a:pt x="697" y="496"/>
                    <a:pt x="697" y="496"/>
                    <a:pt x="697" y="496"/>
                  </a:cubicBezTo>
                  <a:moveTo>
                    <a:pt x="697" y="476"/>
                  </a:moveTo>
                  <a:cubicBezTo>
                    <a:pt x="697" y="496"/>
                    <a:pt x="697" y="496"/>
                    <a:pt x="697" y="496"/>
                  </a:cubicBezTo>
                  <a:cubicBezTo>
                    <a:pt x="710" y="496"/>
                    <a:pt x="710" y="496"/>
                    <a:pt x="710" y="496"/>
                  </a:cubicBezTo>
                  <a:cubicBezTo>
                    <a:pt x="706" y="489"/>
                    <a:pt x="701" y="483"/>
                    <a:pt x="697" y="476"/>
                  </a:cubicBezTo>
                  <a:moveTo>
                    <a:pt x="697" y="428"/>
                  </a:moveTo>
                  <a:cubicBezTo>
                    <a:pt x="697" y="452"/>
                    <a:pt x="697" y="452"/>
                    <a:pt x="697" y="452"/>
                  </a:cubicBezTo>
                  <a:cubicBezTo>
                    <a:pt x="704" y="463"/>
                    <a:pt x="711" y="473"/>
                    <a:pt x="718" y="483"/>
                  </a:cubicBezTo>
                  <a:cubicBezTo>
                    <a:pt x="717" y="483"/>
                    <a:pt x="717" y="483"/>
                    <a:pt x="717" y="483"/>
                  </a:cubicBezTo>
                  <a:cubicBezTo>
                    <a:pt x="717" y="483"/>
                    <a:pt x="716" y="486"/>
                    <a:pt x="712" y="496"/>
                  </a:cubicBezTo>
                  <a:cubicBezTo>
                    <a:pt x="724" y="496"/>
                    <a:pt x="724" y="496"/>
                    <a:pt x="724" y="496"/>
                  </a:cubicBezTo>
                  <a:cubicBezTo>
                    <a:pt x="725" y="495"/>
                    <a:pt x="725" y="494"/>
                    <a:pt x="725" y="493"/>
                  </a:cubicBezTo>
                  <a:cubicBezTo>
                    <a:pt x="726" y="494"/>
                    <a:pt x="727" y="495"/>
                    <a:pt x="728" y="496"/>
                  </a:cubicBezTo>
                  <a:cubicBezTo>
                    <a:pt x="743" y="496"/>
                    <a:pt x="743" y="496"/>
                    <a:pt x="743" y="496"/>
                  </a:cubicBezTo>
                  <a:cubicBezTo>
                    <a:pt x="726" y="475"/>
                    <a:pt x="710" y="452"/>
                    <a:pt x="697" y="428"/>
                  </a:cubicBezTo>
                  <a:moveTo>
                    <a:pt x="707" y="0"/>
                  </a:moveTo>
                  <a:cubicBezTo>
                    <a:pt x="697" y="0"/>
                    <a:pt x="697" y="0"/>
                    <a:pt x="697" y="0"/>
                  </a:cubicBezTo>
                  <a:cubicBezTo>
                    <a:pt x="697" y="68"/>
                    <a:pt x="697" y="68"/>
                    <a:pt x="697" y="68"/>
                  </a:cubicBezTo>
                  <a:cubicBezTo>
                    <a:pt x="703" y="69"/>
                    <a:pt x="709" y="70"/>
                    <a:pt x="715" y="71"/>
                  </a:cubicBezTo>
                  <a:cubicBezTo>
                    <a:pt x="709" y="67"/>
                    <a:pt x="704" y="57"/>
                    <a:pt x="698" y="56"/>
                  </a:cubicBezTo>
                  <a:cubicBezTo>
                    <a:pt x="702" y="38"/>
                    <a:pt x="705" y="19"/>
                    <a:pt x="707" y="0"/>
                  </a:cubicBezTo>
                  <a:moveTo>
                    <a:pt x="731" y="0"/>
                  </a:moveTo>
                  <a:cubicBezTo>
                    <a:pt x="715" y="0"/>
                    <a:pt x="715" y="0"/>
                    <a:pt x="715" y="0"/>
                  </a:cubicBezTo>
                  <a:cubicBezTo>
                    <a:pt x="716" y="0"/>
                    <a:pt x="716" y="0"/>
                    <a:pt x="717" y="0"/>
                  </a:cubicBezTo>
                  <a:cubicBezTo>
                    <a:pt x="718" y="11"/>
                    <a:pt x="718" y="11"/>
                    <a:pt x="718" y="11"/>
                  </a:cubicBezTo>
                  <a:cubicBezTo>
                    <a:pt x="718" y="18"/>
                    <a:pt x="720" y="40"/>
                    <a:pt x="720" y="47"/>
                  </a:cubicBezTo>
                  <a:cubicBezTo>
                    <a:pt x="720" y="48"/>
                    <a:pt x="720" y="49"/>
                    <a:pt x="720" y="49"/>
                  </a:cubicBezTo>
                  <a:cubicBezTo>
                    <a:pt x="720" y="49"/>
                    <a:pt x="720" y="49"/>
                    <a:pt x="720" y="49"/>
                  </a:cubicBezTo>
                  <a:cubicBezTo>
                    <a:pt x="719" y="61"/>
                    <a:pt x="719" y="60"/>
                    <a:pt x="718" y="72"/>
                  </a:cubicBezTo>
                  <a:cubicBezTo>
                    <a:pt x="717" y="72"/>
                    <a:pt x="717" y="72"/>
                    <a:pt x="716" y="71"/>
                  </a:cubicBezTo>
                  <a:cubicBezTo>
                    <a:pt x="716" y="74"/>
                    <a:pt x="716" y="77"/>
                    <a:pt x="715" y="79"/>
                  </a:cubicBezTo>
                  <a:cubicBezTo>
                    <a:pt x="714" y="79"/>
                    <a:pt x="714" y="79"/>
                    <a:pt x="714" y="79"/>
                  </a:cubicBezTo>
                  <a:cubicBezTo>
                    <a:pt x="709" y="88"/>
                    <a:pt x="703" y="97"/>
                    <a:pt x="697" y="105"/>
                  </a:cubicBezTo>
                  <a:cubicBezTo>
                    <a:pt x="697" y="124"/>
                    <a:pt x="697" y="124"/>
                    <a:pt x="697" y="124"/>
                  </a:cubicBezTo>
                  <a:cubicBezTo>
                    <a:pt x="701" y="118"/>
                    <a:pt x="706" y="112"/>
                    <a:pt x="710" y="106"/>
                  </a:cubicBezTo>
                  <a:cubicBezTo>
                    <a:pt x="707" y="121"/>
                    <a:pt x="702" y="136"/>
                    <a:pt x="697" y="149"/>
                  </a:cubicBezTo>
                  <a:cubicBezTo>
                    <a:pt x="697" y="177"/>
                    <a:pt x="697" y="177"/>
                    <a:pt x="697" y="177"/>
                  </a:cubicBezTo>
                  <a:cubicBezTo>
                    <a:pt x="720" y="132"/>
                    <a:pt x="731" y="79"/>
                    <a:pt x="731" y="15"/>
                  </a:cubicBezTo>
                  <a:cubicBezTo>
                    <a:pt x="731" y="10"/>
                    <a:pt x="731" y="5"/>
                    <a:pt x="731" y="0"/>
                  </a:cubicBezTo>
                  <a:moveTo>
                    <a:pt x="697" y="1485"/>
                  </a:moveTo>
                  <a:cubicBezTo>
                    <a:pt x="697" y="1486"/>
                    <a:pt x="696" y="1488"/>
                    <a:pt x="696" y="1489"/>
                  </a:cubicBezTo>
                  <a:cubicBezTo>
                    <a:pt x="697" y="1489"/>
                    <a:pt x="697" y="1489"/>
                    <a:pt x="697" y="1489"/>
                  </a:cubicBezTo>
                  <a:cubicBezTo>
                    <a:pt x="697" y="1485"/>
                    <a:pt x="697" y="1485"/>
                    <a:pt x="697" y="1485"/>
                  </a:cubicBezTo>
                  <a:moveTo>
                    <a:pt x="1395" y="1442"/>
                  </a:moveTo>
                  <a:cubicBezTo>
                    <a:pt x="1395" y="1460"/>
                    <a:pt x="1395" y="1460"/>
                    <a:pt x="1395" y="1460"/>
                  </a:cubicBezTo>
                  <a:cubicBezTo>
                    <a:pt x="1399" y="1464"/>
                    <a:pt x="1402" y="1468"/>
                    <a:pt x="1405" y="1472"/>
                  </a:cubicBezTo>
                  <a:cubicBezTo>
                    <a:pt x="1402" y="1471"/>
                    <a:pt x="1399" y="1469"/>
                    <a:pt x="1395" y="1468"/>
                  </a:cubicBezTo>
                  <a:cubicBezTo>
                    <a:pt x="1395" y="1481"/>
                    <a:pt x="1395" y="1481"/>
                    <a:pt x="1395" y="1481"/>
                  </a:cubicBezTo>
                  <a:cubicBezTo>
                    <a:pt x="1402" y="1484"/>
                    <a:pt x="1408" y="1486"/>
                    <a:pt x="1415" y="1488"/>
                  </a:cubicBezTo>
                  <a:cubicBezTo>
                    <a:pt x="1416" y="1489"/>
                    <a:pt x="1416" y="1489"/>
                    <a:pt x="1416" y="1489"/>
                  </a:cubicBezTo>
                  <a:cubicBezTo>
                    <a:pt x="1457" y="1489"/>
                    <a:pt x="1457" y="1489"/>
                    <a:pt x="1457" y="1489"/>
                  </a:cubicBezTo>
                  <a:cubicBezTo>
                    <a:pt x="1447" y="1486"/>
                    <a:pt x="1438" y="1483"/>
                    <a:pt x="1428" y="1480"/>
                  </a:cubicBezTo>
                  <a:cubicBezTo>
                    <a:pt x="1417" y="1468"/>
                    <a:pt x="1406" y="1455"/>
                    <a:pt x="1395" y="1442"/>
                  </a:cubicBezTo>
                  <a:moveTo>
                    <a:pt x="240" y="1396"/>
                  </a:moveTo>
                  <a:cubicBezTo>
                    <a:pt x="274" y="1396"/>
                    <a:pt x="307" y="1394"/>
                    <a:pt x="340" y="1392"/>
                  </a:cubicBezTo>
                  <a:cubicBezTo>
                    <a:pt x="341" y="1405"/>
                    <a:pt x="341" y="1419"/>
                    <a:pt x="341" y="1432"/>
                  </a:cubicBezTo>
                  <a:cubicBezTo>
                    <a:pt x="341" y="1443"/>
                    <a:pt x="341" y="1454"/>
                    <a:pt x="341" y="1464"/>
                  </a:cubicBezTo>
                  <a:cubicBezTo>
                    <a:pt x="308" y="1469"/>
                    <a:pt x="275" y="1472"/>
                    <a:pt x="241" y="1474"/>
                  </a:cubicBezTo>
                  <a:cubicBezTo>
                    <a:pt x="241" y="1448"/>
                    <a:pt x="240" y="1422"/>
                    <a:pt x="238" y="1396"/>
                  </a:cubicBezTo>
                  <a:cubicBezTo>
                    <a:pt x="239" y="1396"/>
                    <a:pt x="239" y="1396"/>
                    <a:pt x="240" y="1396"/>
                  </a:cubicBezTo>
                  <a:moveTo>
                    <a:pt x="193" y="1475"/>
                  </a:moveTo>
                  <a:cubicBezTo>
                    <a:pt x="174" y="1475"/>
                    <a:pt x="154" y="1475"/>
                    <a:pt x="134" y="1473"/>
                  </a:cubicBezTo>
                  <a:cubicBezTo>
                    <a:pt x="132" y="1445"/>
                    <a:pt x="129" y="1417"/>
                    <a:pt x="126" y="1389"/>
                  </a:cubicBezTo>
                  <a:cubicBezTo>
                    <a:pt x="160" y="1393"/>
                    <a:pt x="194" y="1395"/>
                    <a:pt x="227" y="1396"/>
                  </a:cubicBezTo>
                  <a:cubicBezTo>
                    <a:pt x="228" y="1422"/>
                    <a:pt x="229" y="1448"/>
                    <a:pt x="229" y="1475"/>
                  </a:cubicBezTo>
                  <a:cubicBezTo>
                    <a:pt x="217" y="1475"/>
                    <a:pt x="205" y="1475"/>
                    <a:pt x="193" y="1475"/>
                  </a:cubicBezTo>
                  <a:moveTo>
                    <a:pt x="351" y="1463"/>
                  </a:moveTo>
                  <a:cubicBezTo>
                    <a:pt x="352" y="1452"/>
                    <a:pt x="352" y="1441"/>
                    <a:pt x="352" y="1430"/>
                  </a:cubicBezTo>
                  <a:cubicBezTo>
                    <a:pt x="352" y="1417"/>
                    <a:pt x="352" y="1404"/>
                    <a:pt x="351" y="1391"/>
                  </a:cubicBezTo>
                  <a:cubicBezTo>
                    <a:pt x="383" y="1388"/>
                    <a:pt x="414" y="1385"/>
                    <a:pt x="445" y="1382"/>
                  </a:cubicBezTo>
                  <a:cubicBezTo>
                    <a:pt x="446" y="1382"/>
                    <a:pt x="447" y="1382"/>
                    <a:pt x="449" y="1381"/>
                  </a:cubicBezTo>
                  <a:cubicBezTo>
                    <a:pt x="448" y="1404"/>
                    <a:pt x="447" y="1426"/>
                    <a:pt x="445" y="1448"/>
                  </a:cubicBezTo>
                  <a:cubicBezTo>
                    <a:pt x="440" y="1449"/>
                    <a:pt x="435" y="1450"/>
                    <a:pt x="430" y="1451"/>
                  </a:cubicBezTo>
                  <a:cubicBezTo>
                    <a:pt x="404" y="1455"/>
                    <a:pt x="378" y="1459"/>
                    <a:pt x="351" y="1463"/>
                  </a:cubicBezTo>
                  <a:moveTo>
                    <a:pt x="457" y="1446"/>
                  </a:moveTo>
                  <a:cubicBezTo>
                    <a:pt x="459" y="1424"/>
                    <a:pt x="460" y="1402"/>
                    <a:pt x="460" y="1380"/>
                  </a:cubicBezTo>
                  <a:cubicBezTo>
                    <a:pt x="492" y="1377"/>
                    <a:pt x="523" y="1374"/>
                    <a:pt x="554" y="1372"/>
                  </a:cubicBezTo>
                  <a:cubicBezTo>
                    <a:pt x="552" y="1392"/>
                    <a:pt x="550" y="1413"/>
                    <a:pt x="547" y="1433"/>
                  </a:cubicBezTo>
                  <a:cubicBezTo>
                    <a:pt x="518" y="1437"/>
                    <a:pt x="488" y="1441"/>
                    <a:pt x="457" y="1446"/>
                  </a:cubicBezTo>
                  <a:moveTo>
                    <a:pt x="122" y="1472"/>
                  </a:moveTo>
                  <a:cubicBezTo>
                    <a:pt x="120" y="1472"/>
                    <a:pt x="118" y="1472"/>
                    <a:pt x="116" y="1472"/>
                  </a:cubicBezTo>
                  <a:cubicBezTo>
                    <a:pt x="85" y="1469"/>
                    <a:pt x="54" y="1466"/>
                    <a:pt x="23" y="1464"/>
                  </a:cubicBezTo>
                  <a:cubicBezTo>
                    <a:pt x="18" y="1432"/>
                    <a:pt x="13" y="1401"/>
                    <a:pt x="6" y="1371"/>
                  </a:cubicBezTo>
                  <a:cubicBezTo>
                    <a:pt x="34" y="1374"/>
                    <a:pt x="61" y="1378"/>
                    <a:pt x="87" y="1383"/>
                  </a:cubicBezTo>
                  <a:cubicBezTo>
                    <a:pt x="96" y="1385"/>
                    <a:pt x="105" y="1386"/>
                    <a:pt x="114" y="1387"/>
                  </a:cubicBezTo>
                  <a:cubicBezTo>
                    <a:pt x="117" y="1415"/>
                    <a:pt x="120" y="1444"/>
                    <a:pt x="122" y="1472"/>
                  </a:cubicBezTo>
                  <a:moveTo>
                    <a:pt x="639" y="1369"/>
                  </a:moveTo>
                  <a:cubicBezTo>
                    <a:pt x="642" y="1369"/>
                    <a:pt x="646" y="1368"/>
                    <a:pt x="650" y="1367"/>
                  </a:cubicBezTo>
                  <a:cubicBezTo>
                    <a:pt x="648" y="1388"/>
                    <a:pt x="646" y="1408"/>
                    <a:pt x="643" y="1428"/>
                  </a:cubicBezTo>
                  <a:cubicBezTo>
                    <a:pt x="643" y="1428"/>
                    <a:pt x="643" y="1428"/>
                    <a:pt x="643" y="1428"/>
                  </a:cubicBezTo>
                  <a:cubicBezTo>
                    <a:pt x="615" y="1428"/>
                    <a:pt x="587" y="1429"/>
                    <a:pt x="559" y="1432"/>
                  </a:cubicBezTo>
                  <a:cubicBezTo>
                    <a:pt x="562" y="1412"/>
                    <a:pt x="564" y="1391"/>
                    <a:pt x="565" y="1371"/>
                  </a:cubicBezTo>
                  <a:cubicBezTo>
                    <a:pt x="587" y="1370"/>
                    <a:pt x="607" y="1369"/>
                    <a:pt x="628" y="1369"/>
                  </a:cubicBezTo>
                  <a:cubicBezTo>
                    <a:pt x="632" y="1369"/>
                    <a:pt x="635" y="1369"/>
                    <a:pt x="639" y="1369"/>
                  </a:cubicBezTo>
                  <a:cubicBezTo>
                    <a:pt x="639" y="1369"/>
                    <a:pt x="639" y="1369"/>
                    <a:pt x="639" y="1369"/>
                  </a:cubicBezTo>
                  <a:moveTo>
                    <a:pt x="240" y="1384"/>
                  </a:moveTo>
                  <a:cubicBezTo>
                    <a:pt x="239" y="1384"/>
                    <a:pt x="238" y="1384"/>
                    <a:pt x="238" y="1384"/>
                  </a:cubicBezTo>
                  <a:cubicBezTo>
                    <a:pt x="236" y="1358"/>
                    <a:pt x="233" y="1333"/>
                    <a:pt x="230" y="1309"/>
                  </a:cubicBezTo>
                  <a:cubicBezTo>
                    <a:pt x="255" y="1310"/>
                    <a:pt x="280" y="1311"/>
                    <a:pt x="305" y="1311"/>
                  </a:cubicBezTo>
                  <a:cubicBezTo>
                    <a:pt x="315" y="1311"/>
                    <a:pt x="326" y="1311"/>
                    <a:pt x="336" y="1310"/>
                  </a:cubicBezTo>
                  <a:cubicBezTo>
                    <a:pt x="338" y="1333"/>
                    <a:pt x="339" y="1356"/>
                    <a:pt x="340" y="1380"/>
                  </a:cubicBezTo>
                  <a:cubicBezTo>
                    <a:pt x="307" y="1382"/>
                    <a:pt x="274" y="1384"/>
                    <a:pt x="240" y="1384"/>
                  </a:cubicBezTo>
                  <a:moveTo>
                    <a:pt x="351" y="1379"/>
                  </a:moveTo>
                  <a:cubicBezTo>
                    <a:pt x="350" y="1356"/>
                    <a:pt x="349" y="1333"/>
                    <a:pt x="347" y="1310"/>
                  </a:cubicBezTo>
                  <a:cubicBezTo>
                    <a:pt x="381" y="1309"/>
                    <a:pt x="415" y="1307"/>
                    <a:pt x="448" y="1305"/>
                  </a:cubicBezTo>
                  <a:cubicBezTo>
                    <a:pt x="449" y="1320"/>
                    <a:pt x="449" y="1335"/>
                    <a:pt x="449" y="1349"/>
                  </a:cubicBezTo>
                  <a:cubicBezTo>
                    <a:pt x="449" y="1356"/>
                    <a:pt x="449" y="1363"/>
                    <a:pt x="449" y="1369"/>
                  </a:cubicBezTo>
                  <a:cubicBezTo>
                    <a:pt x="447" y="1370"/>
                    <a:pt x="446" y="1370"/>
                    <a:pt x="444" y="1370"/>
                  </a:cubicBezTo>
                  <a:cubicBezTo>
                    <a:pt x="413" y="1373"/>
                    <a:pt x="382" y="1376"/>
                    <a:pt x="351" y="1379"/>
                  </a:cubicBezTo>
                  <a:moveTo>
                    <a:pt x="460" y="1368"/>
                  </a:moveTo>
                  <a:cubicBezTo>
                    <a:pt x="460" y="1363"/>
                    <a:pt x="460" y="1357"/>
                    <a:pt x="460" y="1352"/>
                  </a:cubicBezTo>
                  <a:cubicBezTo>
                    <a:pt x="460" y="1336"/>
                    <a:pt x="460" y="1320"/>
                    <a:pt x="460" y="1305"/>
                  </a:cubicBezTo>
                  <a:cubicBezTo>
                    <a:pt x="462" y="1305"/>
                    <a:pt x="465" y="1304"/>
                    <a:pt x="468" y="1304"/>
                  </a:cubicBezTo>
                  <a:cubicBezTo>
                    <a:pt x="499" y="1302"/>
                    <a:pt x="529" y="1301"/>
                    <a:pt x="558" y="1299"/>
                  </a:cubicBezTo>
                  <a:cubicBezTo>
                    <a:pt x="557" y="1319"/>
                    <a:pt x="556" y="1339"/>
                    <a:pt x="555" y="1360"/>
                  </a:cubicBezTo>
                  <a:cubicBezTo>
                    <a:pt x="524" y="1362"/>
                    <a:pt x="492" y="1365"/>
                    <a:pt x="460" y="1368"/>
                  </a:cubicBezTo>
                  <a:moveTo>
                    <a:pt x="226" y="1384"/>
                  </a:moveTo>
                  <a:cubicBezTo>
                    <a:pt x="193" y="1383"/>
                    <a:pt x="159" y="1381"/>
                    <a:pt x="124" y="1377"/>
                  </a:cubicBezTo>
                  <a:cubicBezTo>
                    <a:pt x="120" y="1348"/>
                    <a:pt x="115" y="1320"/>
                    <a:pt x="108" y="1293"/>
                  </a:cubicBezTo>
                  <a:cubicBezTo>
                    <a:pt x="146" y="1300"/>
                    <a:pt x="182" y="1305"/>
                    <a:pt x="218" y="1308"/>
                  </a:cubicBezTo>
                  <a:cubicBezTo>
                    <a:pt x="221" y="1332"/>
                    <a:pt x="224" y="1358"/>
                    <a:pt x="226" y="1384"/>
                  </a:cubicBezTo>
                  <a:moveTo>
                    <a:pt x="620" y="1298"/>
                  </a:moveTo>
                  <a:cubicBezTo>
                    <a:pt x="627" y="1298"/>
                    <a:pt x="639" y="1295"/>
                    <a:pt x="655" y="1290"/>
                  </a:cubicBezTo>
                  <a:cubicBezTo>
                    <a:pt x="654" y="1312"/>
                    <a:pt x="653" y="1334"/>
                    <a:pt x="651" y="1355"/>
                  </a:cubicBezTo>
                  <a:cubicBezTo>
                    <a:pt x="646" y="1356"/>
                    <a:pt x="642" y="1357"/>
                    <a:pt x="639" y="1357"/>
                  </a:cubicBezTo>
                  <a:cubicBezTo>
                    <a:pt x="639" y="1357"/>
                    <a:pt x="639" y="1357"/>
                    <a:pt x="639" y="1357"/>
                  </a:cubicBezTo>
                  <a:cubicBezTo>
                    <a:pt x="635" y="1357"/>
                    <a:pt x="632" y="1357"/>
                    <a:pt x="628" y="1357"/>
                  </a:cubicBezTo>
                  <a:cubicBezTo>
                    <a:pt x="608" y="1357"/>
                    <a:pt x="587" y="1357"/>
                    <a:pt x="566" y="1359"/>
                  </a:cubicBezTo>
                  <a:cubicBezTo>
                    <a:pt x="568" y="1339"/>
                    <a:pt x="569" y="1319"/>
                    <a:pt x="569" y="1299"/>
                  </a:cubicBezTo>
                  <a:cubicBezTo>
                    <a:pt x="585" y="1298"/>
                    <a:pt x="602" y="1298"/>
                    <a:pt x="618" y="1298"/>
                  </a:cubicBezTo>
                  <a:cubicBezTo>
                    <a:pt x="619" y="1298"/>
                    <a:pt x="619" y="1298"/>
                    <a:pt x="620" y="1298"/>
                  </a:cubicBezTo>
                  <a:moveTo>
                    <a:pt x="380" y="1232"/>
                  </a:moveTo>
                  <a:cubicBezTo>
                    <a:pt x="401" y="1232"/>
                    <a:pt x="422" y="1232"/>
                    <a:pt x="443" y="1231"/>
                  </a:cubicBezTo>
                  <a:cubicBezTo>
                    <a:pt x="445" y="1252"/>
                    <a:pt x="447" y="1272"/>
                    <a:pt x="448" y="1293"/>
                  </a:cubicBezTo>
                  <a:cubicBezTo>
                    <a:pt x="414" y="1295"/>
                    <a:pt x="380" y="1297"/>
                    <a:pt x="346" y="1298"/>
                  </a:cubicBezTo>
                  <a:cubicBezTo>
                    <a:pt x="343" y="1276"/>
                    <a:pt x="340" y="1253"/>
                    <a:pt x="337" y="1232"/>
                  </a:cubicBezTo>
                  <a:cubicBezTo>
                    <a:pt x="351" y="1232"/>
                    <a:pt x="365" y="1232"/>
                    <a:pt x="380" y="1232"/>
                  </a:cubicBezTo>
                  <a:moveTo>
                    <a:pt x="459" y="1293"/>
                  </a:moveTo>
                  <a:cubicBezTo>
                    <a:pt x="458" y="1272"/>
                    <a:pt x="457" y="1251"/>
                    <a:pt x="454" y="1231"/>
                  </a:cubicBezTo>
                  <a:cubicBezTo>
                    <a:pt x="470" y="1231"/>
                    <a:pt x="486" y="1230"/>
                    <a:pt x="502" y="1230"/>
                  </a:cubicBezTo>
                  <a:cubicBezTo>
                    <a:pt x="520" y="1229"/>
                    <a:pt x="539" y="1228"/>
                    <a:pt x="557" y="1228"/>
                  </a:cubicBezTo>
                  <a:cubicBezTo>
                    <a:pt x="558" y="1241"/>
                    <a:pt x="558" y="1255"/>
                    <a:pt x="558" y="1268"/>
                  </a:cubicBezTo>
                  <a:cubicBezTo>
                    <a:pt x="558" y="1275"/>
                    <a:pt x="558" y="1281"/>
                    <a:pt x="558" y="1287"/>
                  </a:cubicBezTo>
                  <a:cubicBezTo>
                    <a:pt x="528" y="1289"/>
                    <a:pt x="498" y="1290"/>
                    <a:pt x="467" y="1292"/>
                  </a:cubicBezTo>
                  <a:cubicBezTo>
                    <a:pt x="465" y="1292"/>
                    <a:pt x="462" y="1293"/>
                    <a:pt x="459" y="1293"/>
                  </a:cubicBezTo>
                  <a:moveTo>
                    <a:pt x="305" y="1299"/>
                  </a:moveTo>
                  <a:cubicBezTo>
                    <a:pt x="280" y="1299"/>
                    <a:pt x="254" y="1298"/>
                    <a:pt x="228" y="1296"/>
                  </a:cubicBezTo>
                  <a:cubicBezTo>
                    <a:pt x="224" y="1271"/>
                    <a:pt x="219" y="1246"/>
                    <a:pt x="214" y="1222"/>
                  </a:cubicBezTo>
                  <a:cubicBezTo>
                    <a:pt x="252" y="1227"/>
                    <a:pt x="289" y="1230"/>
                    <a:pt x="325" y="1231"/>
                  </a:cubicBezTo>
                  <a:cubicBezTo>
                    <a:pt x="329" y="1253"/>
                    <a:pt x="332" y="1276"/>
                    <a:pt x="334" y="1298"/>
                  </a:cubicBezTo>
                  <a:cubicBezTo>
                    <a:pt x="325" y="1299"/>
                    <a:pt x="315" y="1299"/>
                    <a:pt x="305" y="1299"/>
                  </a:cubicBezTo>
                  <a:moveTo>
                    <a:pt x="569" y="1287"/>
                  </a:moveTo>
                  <a:cubicBezTo>
                    <a:pt x="570" y="1281"/>
                    <a:pt x="570" y="1274"/>
                    <a:pt x="570" y="1268"/>
                  </a:cubicBezTo>
                  <a:cubicBezTo>
                    <a:pt x="570" y="1255"/>
                    <a:pt x="569" y="1241"/>
                    <a:pt x="569" y="1228"/>
                  </a:cubicBezTo>
                  <a:cubicBezTo>
                    <a:pt x="580" y="1227"/>
                    <a:pt x="591" y="1227"/>
                    <a:pt x="601" y="1227"/>
                  </a:cubicBezTo>
                  <a:cubicBezTo>
                    <a:pt x="613" y="1227"/>
                    <a:pt x="632" y="1222"/>
                    <a:pt x="656" y="1214"/>
                  </a:cubicBezTo>
                  <a:cubicBezTo>
                    <a:pt x="656" y="1219"/>
                    <a:pt x="656" y="1225"/>
                    <a:pt x="656" y="1230"/>
                  </a:cubicBezTo>
                  <a:cubicBezTo>
                    <a:pt x="656" y="1246"/>
                    <a:pt x="656" y="1262"/>
                    <a:pt x="655" y="1278"/>
                  </a:cubicBezTo>
                  <a:cubicBezTo>
                    <a:pt x="639" y="1283"/>
                    <a:pt x="627" y="1286"/>
                    <a:pt x="620" y="1286"/>
                  </a:cubicBezTo>
                  <a:cubicBezTo>
                    <a:pt x="620" y="1286"/>
                    <a:pt x="620" y="1286"/>
                    <a:pt x="620" y="1286"/>
                  </a:cubicBezTo>
                  <a:cubicBezTo>
                    <a:pt x="619" y="1286"/>
                    <a:pt x="619" y="1286"/>
                    <a:pt x="618" y="1286"/>
                  </a:cubicBezTo>
                  <a:cubicBezTo>
                    <a:pt x="602" y="1286"/>
                    <a:pt x="586" y="1286"/>
                    <a:pt x="569" y="1287"/>
                  </a:cubicBezTo>
                  <a:moveTo>
                    <a:pt x="216" y="1296"/>
                  </a:moveTo>
                  <a:cubicBezTo>
                    <a:pt x="180" y="1293"/>
                    <a:pt x="143" y="1288"/>
                    <a:pt x="105" y="1280"/>
                  </a:cubicBezTo>
                  <a:cubicBezTo>
                    <a:pt x="99" y="1255"/>
                    <a:pt x="92" y="1230"/>
                    <a:pt x="83" y="1207"/>
                  </a:cubicBezTo>
                  <a:cubicBezTo>
                    <a:pt x="82" y="1204"/>
                    <a:pt x="81" y="1200"/>
                    <a:pt x="79" y="1196"/>
                  </a:cubicBezTo>
                  <a:cubicBezTo>
                    <a:pt x="121" y="1207"/>
                    <a:pt x="162" y="1215"/>
                    <a:pt x="201" y="1221"/>
                  </a:cubicBezTo>
                  <a:cubicBezTo>
                    <a:pt x="207" y="1244"/>
                    <a:pt x="212" y="1270"/>
                    <a:pt x="216" y="1296"/>
                  </a:cubicBezTo>
                  <a:moveTo>
                    <a:pt x="453" y="1219"/>
                  </a:moveTo>
                  <a:cubicBezTo>
                    <a:pt x="451" y="1198"/>
                    <a:pt x="448" y="1178"/>
                    <a:pt x="444" y="1158"/>
                  </a:cubicBezTo>
                  <a:cubicBezTo>
                    <a:pt x="444" y="1158"/>
                    <a:pt x="445" y="1158"/>
                    <a:pt x="445" y="1158"/>
                  </a:cubicBezTo>
                  <a:cubicBezTo>
                    <a:pt x="479" y="1158"/>
                    <a:pt x="512" y="1158"/>
                    <a:pt x="545" y="1157"/>
                  </a:cubicBezTo>
                  <a:cubicBezTo>
                    <a:pt x="552" y="1157"/>
                    <a:pt x="552" y="1157"/>
                    <a:pt x="552" y="1157"/>
                  </a:cubicBezTo>
                  <a:cubicBezTo>
                    <a:pt x="554" y="1176"/>
                    <a:pt x="556" y="1196"/>
                    <a:pt x="557" y="1216"/>
                  </a:cubicBezTo>
                  <a:cubicBezTo>
                    <a:pt x="538" y="1216"/>
                    <a:pt x="520" y="1217"/>
                    <a:pt x="501" y="1218"/>
                  </a:cubicBezTo>
                  <a:cubicBezTo>
                    <a:pt x="485" y="1218"/>
                    <a:pt x="469" y="1219"/>
                    <a:pt x="453" y="1219"/>
                  </a:cubicBezTo>
                  <a:moveTo>
                    <a:pt x="380" y="1220"/>
                  </a:moveTo>
                  <a:cubicBezTo>
                    <a:pt x="365" y="1220"/>
                    <a:pt x="350" y="1220"/>
                    <a:pt x="335" y="1220"/>
                  </a:cubicBezTo>
                  <a:cubicBezTo>
                    <a:pt x="331" y="1197"/>
                    <a:pt x="326" y="1175"/>
                    <a:pt x="320" y="1154"/>
                  </a:cubicBezTo>
                  <a:cubicBezTo>
                    <a:pt x="358" y="1157"/>
                    <a:pt x="396" y="1158"/>
                    <a:pt x="433" y="1158"/>
                  </a:cubicBezTo>
                  <a:cubicBezTo>
                    <a:pt x="436" y="1178"/>
                    <a:pt x="440" y="1198"/>
                    <a:pt x="442" y="1219"/>
                  </a:cubicBezTo>
                  <a:cubicBezTo>
                    <a:pt x="421" y="1220"/>
                    <a:pt x="401" y="1220"/>
                    <a:pt x="380" y="1220"/>
                  </a:cubicBezTo>
                  <a:moveTo>
                    <a:pt x="568" y="1216"/>
                  </a:moveTo>
                  <a:cubicBezTo>
                    <a:pt x="567" y="1196"/>
                    <a:pt x="566" y="1176"/>
                    <a:pt x="563" y="1157"/>
                  </a:cubicBezTo>
                  <a:cubicBezTo>
                    <a:pt x="583" y="1156"/>
                    <a:pt x="583" y="1156"/>
                    <a:pt x="583" y="1156"/>
                  </a:cubicBezTo>
                  <a:cubicBezTo>
                    <a:pt x="598" y="1156"/>
                    <a:pt x="623" y="1149"/>
                    <a:pt x="654" y="1138"/>
                  </a:cubicBezTo>
                  <a:cubicBezTo>
                    <a:pt x="655" y="1160"/>
                    <a:pt x="655" y="1181"/>
                    <a:pt x="656" y="1201"/>
                  </a:cubicBezTo>
                  <a:cubicBezTo>
                    <a:pt x="631" y="1210"/>
                    <a:pt x="612" y="1215"/>
                    <a:pt x="601" y="1215"/>
                  </a:cubicBezTo>
                  <a:cubicBezTo>
                    <a:pt x="590" y="1215"/>
                    <a:pt x="579" y="1216"/>
                    <a:pt x="568" y="1216"/>
                  </a:cubicBezTo>
                  <a:moveTo>
                    <a:pt x="323" y="1219"/>
                  </a:moveTo>
                  <a:cubicBezTo>
                    <a:pt x="286" y="1218"/>
                    <a:pt x="249" y="1215"/>
                    <a:pt x="210" y="1210"/>
                  </a:cubicBezTo>
                  <a:cubicBezTo>
                    <a:pt x="207" y="1199"/>
                    <a:pt x="204" y="1188"/>
                    <a:pt x="201" y="1177"/>
                  </a:cubicBezTo>
                  <a:cubicBezTo>
                    <a:pt x="196" y="1164"/>
                    <a:pt x="192" y="1150"/>
                    <a:pt x="189" y="1136"/>
                  </a:cubicBezTo>
                  <a:cubicBezTo>
                    <a:pt x="230" y="1144"/>
                    <a:pt x="269" y="1150"/>
                    <a:pt x="308" y="1153"/>
                  </a:cubicBezTo>
                  <a:cubicBezTo>
                    <a:pt x="314" y="1174"/>
                    <a:pt x="319" y="1196"/>
                    <a:pt x="323" y="1219"/>
                  </a:cubicBezTo>
                  <a:moveTo>
                    <a:pt x="198" y="1208"/>
                  </a:moveTo>
                  <a:cubicBezTo>
                    <a:pt x="158" y="1202"/>
                    <a:pt x="117" y="1194"/>
                    <a:pt x="75" y="1182"/>
                  </a:cubicBezTo>
                  <a:cubicBezTo>
                    <a:pt x="66" y="1156"/>
                    <a:pt x="60" y="1128"/>
                    <a:pt x="55" y="1099"/>
                  </a:cubicBezTo>
                  <a:cubicBezTo>
                    <a:pt x="97" y="1114"/>
                    <a:pt x="137" y="1125"/>
                    <a:pt x="177" y="1133"/>
                  </a:cubicBezTo>
                  <a:cubicBezTo>
                    <a:pt x="181" y="1150"/>
                    <a:pt x="185" y="1166"/>
                    <a:pt x="190" y="1181"/>
                  </a:cubicBezTo>
                  <a:cubicBezTo>
                    <a:pt x="193" y="1190"/>
                    <a:pt x="196" y="1199"/>
                    <a:pt x="198" y="1208"/>
                  </a:cubicBezTo>
                  <a:moveTo>
                    <a:pt x="475" y="1087"/>
                  </a:moveTo>
                  <a:cubicBezTo>
                    <a:pt x="497" y="1087"/>
                    <a:pt x="519" y="1087"/>
                    <a:pt x="540" y="1086"/>
                  </a:cubicBezTo>
                  <a:cubicBezTo>
                    <a:pt x="541" y="1087"/>
                    <a:pt x="541" y="1088"/>
                    <a:pt x="541" y="1089"/>
                  </a:cubicBezTo>
                  <a:cubicBezTo>
                    <a:pt x="545" y="1107"/>
                    <a:pt x="548" y="1125"/>
                    <a:pt x="551" y="1145"/>
                  </a:cubicBezTo>
                  <a:cubicBezTo>
                    <a:pt x="545" y="1145"/>
                    <a:pt x="545" y="1145"/>
                    <a:pt x="545" y="1145"/>
                  </a:cubicBezTo>
                  <a:cubicBezTo>
                    <a:pt x="512" y="1146"/>
                    <a:pt x="479" y="1146"/>
                    <a:pt x="445" y="1146"/>
                  </a:cubicBezTo>
                  <a:cubicBezTo>
                    <a:pt x="444" y="1146"/>
                    <a:pt x="443" y="1146"/>
                    <a:pt x="442" y="1146"/>
                  </a:cubicBezTo>
                  <a:cubicBezTo>
                    <a:pt x="440" y="1136"/>
                    <a:pt x="437" y="1126"/>
                    <a:pt x="435" y="1117"/>
                  </a:cubicBezTo>
                  <a:cubicBezTo>
                    <a:pt x="432" y="1107"/>
                    <a:pt x="430" y="1097"/>
                    <a:pt x="428" y="1086"/>
                  </a:cubicBezTo>
                  <a:cubicBezTo>
                    <a:pt x="444" y="1087"/>
                    <a:pt x="460" y="1087"/>
                    <a:pt x="475" y="1087"/>
                  </a:cubicBezTo>
                  <a:moveTo>
                    <a:pt x="430" y="1146"/>
                  </a:moveTo>
                  <a:cubicBezTo>
                    <a:pt x="393" y="1146"/>
                    <a:pt x="355" y="1145"/>
                    <a:pt x="316" y="1142"/>
                  </a:cubicBezTo>
                  <a:cubicBezTo>
                    <a:pt x="311" y="1122"/>
                    <a:pt x="306" y="1100"/>
                    <a:pt x="302" y="1077"/>
                  </a:cubicBezTo>
                  <a:cubicBezTo>
                    <a:pt x="341" y="1082"/>
                    <a:pt x="379" y="1085"/>
                    <a:pt x="417" y="1086"/>
                  </a:cubicBezTo>
                  <a:cubicBezTo>
                    <a:pt x="419" y="1098"/>
                    <a:pt x="421" y="1109"/>
                    <a:pt x="424" y="1120"/>
                  </a:cubicBezTo>
                  <a:cubicBezTo>
                    <a:pt x="426" y="1128"/>
                    <a:pt x="428" y="1137"/>
                    <a:pt x="430" y="1146"/>
                  </a:cubicBezTo>
                  <a:moveTo>
                    <a:pt x="562" y="1145"/>
                  </a:moveTo>
                  <a:cubicBezTo>
                    <a:pt x="559" y="1125"/>
                    <a:pt x="556" y="1105"/>
                    <a:pt x="552" y="1086"/>
                  </a:cubicBezTo>
                  <a:cubicBezTo>
                    <a:pt x="552" y="1086"/>
                    <a:pt x="552" y="1086"/>
                    <a:pt x="552" y="1086"/>
                  </a:cubicBezTo>
                  <a:cubicBezTo>
                    <a:pt x="556" y="1086"/>
                    <a:pt x="560" y="1086"/>
                    <a:pt x="564" y="1085"/>
                  </a:cubicBezTo>
                  <a:cubicBezTo>
                    <a:pt x="584" y="1085"/>
                    <a:pt x="614" y="1076"/>
                    <a:pt x="649" y="1064"/>
                  </a:cubicBezTo>
                  <a:cubicBezTo>
                    <a:pt x="651" y="1085"/>
                    <a:pt x="652" y="1106"/>
                    <a:pt x="653" y="1126"/>
                  </a:cubicBezTo>
                  <a:cubicBezTo>
                    <a:pt x="622" y="1137"/>
                    <a:pt x="598" y="1144"/>
                    <a:pt x="582" y="1144"/>
                  </a:cubicBezTo>
                  <a:cubicBezTo>
                    <a:pt x="562" y="1145"/>
                    <a:pt x="562" y="1145"/>
                    <a:pt x="562" y="1145"/>
                  </a:cubicBezTo>
                  <a:moveTo>
                    <a:pt x="664" y="1122"/>
                  </a:moveTo>
                  <a:cubicBezTo>
                    <a:pt x="663" y="1102"/>
                    <a:pt x="662" y="1081"/>
                    <a:pt x="660" y="1060"/>
                  </a:cubicBezTo>
                  <a:cubicBezTo>
                    <a:pt x="665" y="1058"/>
                    <a:pt x="670" y="1056"/>
                    <a:pt x="676" y="1054"/>
                  </a:cubicBezTo>
                  <a:cubicBezTo>
                    <a:pt x="677" y="1060"/>
                    <a:pt x="678" y="1065"/>
                    <a:pt x="680" y="1071"/>
                  </a:cubicBezTo>
                  <a:cubicBezTo>
                    <a:pt x="683" y="1085"/>
                    <a:pt x="686" y="1098"/>
                    <a:pt x="689" y="1113"/>
                  </a:cubicBezTo>
                  <a:cubicBezTo>
                    <a:pt x="680" y="1116"/>
                    <a:pt x="672" y="1119"/>
                    <a:pt x="664" y="1122"/>
                  </a:cubicBezTo>
                  <a:moveTo>
                    <a:pt x="304" y="1141"/>
                  </a:moveTo>
                  <a:cubicBezTo>
                    <a:pt x="266" y="1137"/>
                    <a:pt x="227" y="1132"/>
                    <a:pt x="186" y="1123"/>
                  </a:cubicBezTo>
                  <a:cubicBezTo>
                    <a:pt x="181" y="1101"/>
                    <a:pt x="177" y="1077"/>
                    <a:pt x="174" y="1053"/>
                  </a:cubicBezTo>
                  <a:cubicBezTo>
                    <a:pt x="214" y="1063"/>
                    <a:pt x="252" y="1070"/>
                    <a:pt x="291" y="1076"/>
                  </a:cubicBezTo>
                  <a:cubicBezTo>
                    <a:pt x="294" y="1099"/>
                    <a:pt x="299" y="1120"/>
                    <a:pt x="304" y="1141"/>
                  </a:cubicBezTo>
                  <a:moveTo>
                    <a:pt x="475" y="1075"/>
                  </a:moveTo>
                  <a:cubicBezTo>
                    <a:pt x="459" y="1075"/>
                    <a:pt x="442" y="1075"/>
                    <a:pt x="426" y="1074"/>
                  </a:cubicBezTo>
                  <a:cubicBezTo>
                    <a:pt x="423" y="1056"/>
                    <a:pt x="420" y="1036"/>
                    <a:pt x="419" y="1015"/>
                  </a:cubicBezTo>
                  <a:cubicBezTo>
                    <a:pt x="437" y="1016"/>
                    <a:pt x="454" y="1016"/>
                    <a:pt x="472" y="1016"/>
                  </a:cubicBezTo>
                  <a:cubicBezTo>
                    <a:pt x="492" y="1016"/>
                    <a:pt x="511" y="1016"/>
                    <a:pt x="530" y="1015"/>
                  </a:cubicBezTo>
                  <a:cubicBezTo>
                    <a:pt x="532" y="1036"/>
                    <a:pt x="535" y="1056"/>
                    <a:pt x="538" y="1074"/>
                  </a:cubicBezTo>
                  <a:cubicBezTo>
                    <a:pt x="517" y="1075"/>
                    <a:pt x="496" y="1075"/>
                    <a:pt x="475" y="1075"/>
                  </a:cubicBezTo>
                  <a:moveTo>
                    <a:pt x="174" y="1121"/>
                  </a:moveTo>
                  <a:cubicBezTo>
                    <a:pt x="135" y="1112"/>
                    <a:pt x="94" y="1101"/>
                    <a:pt x="52" y="1086"/>
                  </a:cubicBezTo>
                  <a:cubicBezTo>
                    <a:pt x="50" y="1071"/>
                    <a:pt x="48" y="1056"/>
                    <a:pt x="47" y="1040"/>
                  </a:cubicBezTo>
                  <a:cubicBezTo>
                    <a:pt x="46" y="1030"/>
                    <a:pt x="45" y="1019"/>
                    <a:pt x="44" y="1009"/>
                  </a:cubicBezTo>
                  <a:cubicBezTo>
                    <a:pt x="85" y="1026"/>
                    <a:pt x="124" y="1039"/>
                    <a:pt x="162" y="1049"/>
                  </a:cubicBezTo>
                  <a:cubicBezTo>
                    <a:pt x="165" y="1074"/>
                    <a:pt x="169" y="1098"/>
                    <a:pt x="174" y="1121"/>
                  </a:cubicBezTo>
                  <a:moveTo>
                    <a:pt x="415" y="1074"/>
                  </a:moveTo>
                  <a:cubicBezTo>
                    <a:pt x="377" y="1073"/>
                    <a:pt x="339" y="1070"/>
                    <a:pt x="300" y="1065"/>
                  </a:cubicBezTo>
                  <a:cubicBezTo>
                    <a:pt x="298" y="1045"/>
                    <a:pt x="295" y="1024"/>
                    <a:pt x="294" y="1003"/>
                  </a:cubicBezTo>
                  <a:cubicBezTo>
                    <a:pt x="334" y="1009"/>
                    <a:pt x="371" y="1013"/>
                    <a:pt x="407" y="1015"/>
                  </a:cubicBezTo>
                  <a:cubicBezTo>
                    <a:pt x="409" y="1036"/>
                    <a:pt x="412" y="1055"/>
                    <a:pt x="415" y="1074"/>
                  </a:cubicBezTo>
                  <a:moveTo>
                    <a:pt x="676" y="993"/>
                  </a:moveTo>
                  <a:cubicBezTo>
                    <a:pt x="665" y="993"/>
                    <a:pt x="665" y="993"/>
                    <a:pt x="665" y="993"/>
                  </a:cubicBezTo>
                  <a:cubicBezTo>
                    <a:pt x="667" y="1010"/>
                    <a:pt x="670" y="1026"/>
                    <a:pt x="673" y="1042"/>
                  </a:cubicBezTo>
                  <a:cubicBezTo>
                    <a:pt x="668" y="1044"/>
                    <a:pt x="664" y="1046"/>
                    <a:pt x="659" y="1047"/>
                  </a:cubicBezTo>
                  <a:cubicBezTo>
                    <a:pt x="658" y="1029"/>
                    <a:pt x="656" y="1011"/>
                    <a:pt x="654" y="993"/>
                  </a:cubicBezTo>
                  <a:cubicBezTo>
                    <a:pt x="643" y="993"/>
                    <a:pt x="643" y="993"/>
                    <a:pt x="643" y="993"/>
                  </a:cubicBezTo>
                  <a:cubicBezTo>
                    <a:pt x="645" y="1013"/>
                    <a:pt x="647" y="1032"/>
                    <a:pt x="648" y="1052"/>
                  </a:cubicBezTo>
                  <a:cubicBezTo>
                    <a:pt x="613" y="1064"/>
                    <a:pt x="583" y="1073"/>
                    <a:pt x="564" y="1074"/>
                  </a:cubicBezTo>
                  <a:cubicBezTo>
                    <a:pt x="559" y="1074"/>
                    <a:pt x="554" y="1074"/>
                    <a:pt x="549" y="1075"/>
                  </a:cubicBezTo>
                  <a:cubicBezTo>
                    <a:pt x="546" y="1056"/>
                    <a:pt x="543" y="1039"/>
                    <a:pt x="541" y="1016"/>
                  </a:cubicBezTo>
                  <a:cubicBezTo>
                    <a:pt x="543" y="1016"/>
                    <a:pt x="544" y="1016"/>
                    <a:pt x="545" y="1016"/>
                  </a:cubicBezTo>
                  <a:cubicBezTo>
                    <a:pt x="568" y="1015"/>
                    <a:pt x="599" y="1006"/>
                    <a:pt x="635" y="993"/>
                  </a:cubicBezTo>
                  <a:cubicBezTo>
                    <a:pt x="594" y="993"/>
                    <a:pt x="594" y="993"/>
                    <a:pt x="594" y="993"/>
                  </a:cubicBezTo>
                  <a:cubicBezTo>
                    <a:pt x="575" y="999"/>
                    <a:pt x="558" y="1002"/>
                    <a:pt x="545" y="1003"/>
                  </a:cubicBezTo>
                  <a:cubicBezTo>
                    <a:pt x="543" y="1003"/>
                    <a:pt x="542" y="1003"/>
                    <a:pt x="540" y="1003"/>
                  </a:cubicBezTo>
                  <a:cubicBezTo>
                    <a:pt x="540" y="1000"/>
                    <a:pt x="540" y="996"/>
                    <a:pt x="540" y="993"/>
                  </a:cubicBezTo>
                  <a:cubicBezTo>
                    <a:pt x="529" y="993"/>
                    <a:pt x="529" y="993"/>
                    <a:pt x="529" y="993"/>
                  </a:cubicBezTo>
                  <a:cubicBezTo>
                    <a:pt x="529" y="998"/>
                    <a:pt x="530" y="1003"/>
                    <a:pt x="530" y="1009"/>
                  </a:cubicBezTo>
                  <a:cubicBezTo>
                    <a:pt x="524" y="1009"/>
                    <a:pt x="518" y="1009"/>
                    <a:pt x="512" y="1009"/>
                  </a:cubicBezTo>
                  <a:cubicBezTo>
                    <a:pt x="482" y="1009"/>
                    <a:pt x="450" y="1007"/>
                    <a:pt x="418" y="1006"/>
                  </a:cubicBezTo>
                  <a:cubicBezTo>
                    <a:pt x="418" y="1002"/>
                    <a:pt x="418" y="997"/>
                    <a:pt x="417" y="993"/>
                  </a:cubicBezTo>
                  <a:cubicBezTo>
                    <a:pt x="406" y="993"/>
                    <a:pt x="406" y="993"/>
                    <a:pt x="406" y="993"/>
                  </a:cubicBezTo>
                  <a:cubicBezTo>
                    <a:pt x="406" y="996"/>
                    <a:pt x="406" y="999"/>
                    <a:pt x="407" y="1003"/>
                  </a:cubicBezTo>
                  <a:cubicBezTo>
                    <a:pt x="376" y="1001"/>
                    <a:pt x="344" y="998"/>
                    <a:pt x="310" y="993"/>
                  </a:cubicBezTo>
                  <a:cubicBezTo>
                    <a:pt x="244" y="993"/>
                    <a:pt x="244" y="993"/>
                    <a:pt x="244" y="993"/>
                  </a:cubicBezTo>
                  <a:cubicBezTo>
                    <a:pt x="257" y="996"/>
                    <a:pt x="270" y="998"/>
                    <a:pt x="283" y="1001"/>
                  </a:cubicBezTo>
                  <a:cubicBezTo>
                    <a:pt x="284" y="1022"/>
                    <a:pt x="286" y="1043"/>
                    <a:pt x="289" y="1063"/>
                  </a:cubicBezTo>
                  <a:cubicBezTo>
                    <a:pt x="251" y="1058"/>
                    <a:pt x="212" y="1050"/>
                    <a:pt x="172" y="1040"/>
                  </a:cubicBezTo>
                  <a:cubicBezTo>
                    <a:pt x="171" y="1029"/>
                    <a:pt x="170" y="1018"/>
                    <a:pt x="170" y="1007"/>
                  </a:cubicBezTo>
                  <a:cubicBezTo>
                    <a:pt x="169" y="1002"/>
                    <a:pt x="169" y="998"/>
                    <a:pt x="169" y="993"/>
                  </a:cubicBezTo>
                  <a:cubicBezTo>
                    <a:pt x="158" y="993"/>
                    <a:pt x="158" y="993"/>
                    <a:pt x="158" y="993"/>
                  </a:cubicBezTo>
                  <a:cubicBezTo>
                    <a:pt x="158" y="998"/>
                    <a:pt x="158" y="1003"/>
                    <a:pt x="158" y="1007"/>
                  </a:cubicBezTo>
                  <a:cubicBezTo>
                    <a:pt x="159" y="1017"/>
                    <a:pt x="160" y="1027"/>
                    <a:pt x="161" y="1036"/>
                  </a:cubicBezTo>
                  <a:cubicBezTo>
                    <a:pt x="123" y="1026"/>
                    <a:pt x="83" y="1012"/>
                    <a:pt x="43" y="996"/>
                  </a:cubicBezTo>
                  <a:cubicBezTo>
                    <a:pt x="43" y="995"/>
                    <a:pt x="42" y="994"/>
                    <a:pt x="42" y="993"/>
                  </a:cubicBezTo>
                  <a:cubicBezTo>
                    <a:pt x="6" y="993"/>
                    <a:pt x="6" y="993"/>
                    <a:pt x="6" y="993"/>
                  </a:cubicBezTo>
                  <a:cubicBezTo>
                    <a:pt x="15" y="997"/>
                    <a:pt x="24" y="1001"/>
                    <a:pt x="32" y="1004"/>
                  </a:cubicBezTo>
                  <a:cubicBezTo>
                    <a:pt x="33" y="1017"/>
                    <a:pt x="34" y="1029"/>
                    <a:pt x="35" y="1042"/>
                  </a:cubicBezTo>
                  <a:cubicBezTo>
                    <a:pt x="37" y="1055"/>
                    <a:pt x="38" y="1068"/>
                    <a:pt x="40" y="1081"/>
                  </a:cubicBezTo>
                  <a:cubicBezTo>
                    <a:pt x="30" y="1078"/>
                    <a:pt x="20" y="1074"/>
                    <a:pt x="10" y="1070"/>
                  </a:cubicBezTo>
                  <a:cubicBezTo>
                    <a:pt x="7" y="1068"/>
                    <a:pt x="3" y="1067"/>
                    <a:pt x="0" y="1066"/>
                  </a:cubicBezTo>
                  <a:cubicBezTo>
                    <a:pt x="0" y="1079"/>
                    <a:pt x="0" y="1079"/>
                    <a:pt x="0" y="1079"/>
                  </a:cubicBezTo>
                  <a:cubicBezTo>
                    <a:pt x="2" y="1080"/>
                    <a:pt x="4" y="1080"/>
                    <a:pt x="6" y="1081"/>
                  </a:cubicBezTo>
                  <a:cubicBezTo>
                    <a:pt x="18" y="1086"/>
                    <a:pt x="30" y="1091"/>
                    <a:pt x="43" y="1095"/>
                  </a:cubicBezTo>
                  <a:cubicBezTo>
                    <a:pt x="47" y="1124"/>
                    <a:pt x="54" y="1152"/>
                    <a:pt x="62" y="1178"/>
                  </a:cubicBezTo>
                  <a:cubicBezTo>
                    <a:pt x="53" y="1176"/>
                    <a:pt x="45" y="1173"/>
                    <a:pt x="36" y="1170"/>
                  </a:cubicBezTo>
                  <a:cubicBezTo>
                    <a:pt x="24" y="1166"/>
                    <a:pt x="13" y="1163"/>
                    <a:pt x="0" y="1159"/>
                  </a:cubicBezTo>
                  <a:cubicBezTo>
                    <a:pt x="0" y="1172"/>
                    <a:pt x="0" y="1172"/>
                    <a:pt x="0" y="1172"/>
                  </a:cubicBezTo>
                  <a:cubicBezTo>
                    <a:pt x="12" y="1175"/>
                    <a:pt x="23" y="1178"/>
                    <a:pt x="33" y="1182"/>
                  </a:cubicBezTo>
                  <a:cubicBezTo>
                    <a:pt x="44" y="1185"/>
                    <a:pt x="55" y="1189"/>
                    <a:pt x="66" y="1192"/>
                  </a:cubicBezTo>
                  <a:cubicBezTo>
                    <a:pt x="68" y="1199"/>
                    <a:pt x="71" y="1205"/>
                    <a:pt x="73" y="1212"/>
                  </a:cubicBezTo>
                  <a:cubicBezTo>
                    <a:pt x="81" y="1232"/>
                    <a:pt x="87" y="1255"/>
                    <a:pt x="93" y="1278"/>
                  </a:cubicBezTo>
                  <a:cubicBezTo>
                    <a:pt x="83" y="1276"/>
                    <a:pt x="73" y="1273"/>
                    <a:pt x="63" y="1271"/>
                  </a:cubicBezTo>
                  <a:cubicBezTo>
                    <a:pt x="42" y="1265"/>
                    <a:pt x="21" y="1261"/>
                    <a:pt x="0" y="1257"/>
                  </a:cubicBezTo>
                  <a:cubicBezTo>
                    <a:pt x="0" y="1269"/>
                    <a:pt x="0" y="1269"/>
                    <a:pt x="0" y="1269"/>
                  </a:cubicBezTo>
                  <a:cubicBezTo>
                    <a:pt x="21" y="1273"/>
                    <a:pt x="41" y="1277"/>
                    <a:pt x="60" y="1282"/>
                  </a:cubicBezTo>
                  <a:cubicBezTo>
                    <a:pt x="72" y="1285"/>
                    <a:pt x="84" y="1288"/>
                    <a:pt x="96" y="1291"/>
                  </a:cubicBezTo>
                  <a:cubicBezTo>
                    <a:pt x="102" y="1318"/>
                    <a:pt x="108" y="1346"/>
                    <a:pt x="112" y="1375"/>
                  </a:cubicBezTo>
                  <a:cubicBezTo>
                    <a:pt x="104" y="1374"/>
                    <a:pt x="97" y="1373"/>
                    <a:pt x="89" y="1371"/>
                  </a:cubicBezTo>
                  <a:cubicBezTo>
                    <a:pt x="61" y="1366"/>
                    <a:pt x="32" y="1362"/>
                    <a:pt x="3" y="1359"/>
                  </a:cubicBezTo>
                  <a:cubicBezTo>
                    <a:pt x="2" y="1354"/>
                    <a:pt x="1" y="1350"/>
                    <a:pt x="0" y="1346"/>
                  </a:cubicBezTo>
                  <a:cubicBezTo>
                    <a:pt x="0" y="1399"/>
                    <a:pt x="0" y="1399"/>
                    <a:pt x="0" y="1399"/>
                  </a:cubicBezTo>
                  <a:cubicBezTo>
                    <a:pt x="5" y="1420"/>
                    <a:pt x="8" y="1442"/>
                    <a:pt x="11" y="1463"/>
                  </a:cubicBezTo>
                  <a:cubicBezTo>
                    <a:pt x="8" y="1463"/>
                    <a:pt x="4" y="1463"/>
                    <a:pt x="0" y="1463"/>
                  </a:cubicBezTo>
                  <a:cubicBezTo>
                    <a:pt x="0" y="1475"/>
                    <a:pt x="0" y="1475"/>
                    <a:pt x="0" y="1475"/>
                  </a:cubicBezTo>
                  <a:cubicBezTo>
                    <a:pt x="5" y="1475"/>
                    <a:pt x="9" y="1475"/>
                    <a:pt x="13" y="1475"/>
                  </a:cubicBezTo>
                  <a:cubicBezTo>
                    <a:pt x="14" y="1480"/>
                    <a:pt x="14" y="1484"/>
                    <a:pt x="15" y="1489"/>
                  </a:cubicBezTo>
                  <a:cubicBezTo>
                    <a:pt x="26" y="1489"/>
                    <a:pt x="26" y="1489"/>
                    <a:pt x="26" y="1489"/>
                  </a:cubicBezTo>
                  <a:cubicBezTo>
                    <a:pt x="25" y="1485"/>
                    <a:pt x="25" y="1480"/>
                    <a:pt x="24" y="1476"/>
                  </a:cubicBezTo>
                  <a:cubicBezTo>
                    <a:pt x="55" y="1478"/>
                    <a:pt x="85" y="1481"/>
                    <a:pt x="115" y="1484"/>
                  </a:cubicBezTo>
                  <a:cubicBezTo>
                    <a:pt x="118" y="1484"/>
                    <a:pt x="120" y="1484"/>
                    <a:pt x="123" y="1484"/>
                  </a:cubicBezTo>
                  <a:cubicBezTo>
                    <a:pt x="123" y="1486"/>
                    <a:pt x="123" y="1487"/>
                    <a:pt x="123" y="1489"/>
                  </a:cubicBezTo>
                  <a:cubicBezTo>
                    <a:pt x="135" y="1489"/>
                    <a:pt x="135" y="1489"/>
                    <a:pt x="135" y="1489"/>
                  </a:cubicBezTo>
                  <a:cubicBezTo>
                    <a:pt x="135" y="1488"/>
                    <a:pt x="135" y="1487"/>
                    <a:pt x="135" y="1486"/>
                  </a:cubicBezTo>
                  <a:cubicBezTo>
                    <a:pt x="154" y="1487"/>
                    <a:pt x="172" y="1488"/>
                    <a:pt x="191" y="1488"/>
                  </a:cubicBezTo>
                  <a:cubicBezTo>
                    <a:pt x="204" y="1488"/>
                    <a:pt x="217" y="1487"/>
                    <a:pt x="229" y="1487"/>
                  </a:cubicBezTo>
                  <a:cubicBezTo>
                    <a:pt x="229" y="1487"/>
                    <a:pt x="229" y="1488"/>
                    <a:pt x="229" y="1489"/>
                  </a:cubicBezTo>
                  <a:cubicBezTo>
                    <a:pt x="241" y="1489"/>
                    <a:pt x="241" y="1489"/>
                    <a:pt x="241" y="1489"/>
                  </a:cubicBezTo>
                  <a:cubicBezTo>
                    <a:pt x="241" y="1488"/>
                    <a:pt x="241" y="1487"/>
                    <a:pt x="241" y="1486"/>
                  </a:cubicBezTo>
                  <a:cubicBezTo>
                    <a:pt x="275" y="1484"/>
                    <a:pt x="308" y="1481"/>
                    <a:pt x="340" y="1476"/>
                  </a:cubicBezTo>
                  <a:cubicBezTo>
                    <a:pt x="340" y="1480"/>
                    <a:pt x="340" y="1485"/>
                    <a:pt x="340" y="1489"/>
                  </a:cubicBezTo>
                  <a:cubicBezTo>
                    <a:pt x="351" y="1489"/>
                    <a:pt x="351" y="1489"/>
                    <a:pt x="351" y="1489"/>
                  </a:cubicBezTo>
                  <a:cubicBezTo>
                    <a:pt x="351" y="1484"/>
                    <a:pt x="351" y="1479"/>
                    <a:pt x="351" y="1475"/>
                  </a:cubicBezTo>
                  <a:cubicBezTo>
                    <a:pt x="378" y="1471"/>
                    <a:pt x="405" y="1467"/>
                    <a:pt x="432" y="1462"/>
                  </a:cubicBezTo>
                  <a:cubicBezTo>
                    <a:pt x="436" y="1462"/>
                    <a:pt x="440" y="1461"/>
                    <a:pt x="445" y="1460"/>
                  </a:cubicBezTo>
                  <a:cubicBezTo>
                    <a:pt x="444" y="1470"/>
                    <a:pt x="443" y="1479"/>
                    <a:pt x="442" y="1489"/>
                  </a:cubicBezTo>
                  <a:cubicBezTo>
                    <a:pt x="454" y="1489"/>
                    <a:pt x="454" y="1489"/>
                    <a:pt x="454" y="1489"/>
                  </a:cubicBezTo>
                  <a:cubicBezTo>
                    <a:pt x="455" y="1479"/>
                    <a:pt x="456" y="1469"/>
                    <a:pt x="456" y="1458"/>
                  </a:cubicBezTo>
                  <a:cubicBezTo>
                    <a:pt x="487" y="1454"/>
                    <a:pt x="517" y="1449"/>
                    <a:pt x="546" y="1446"/>
                  </a:cubicBezTo>
                  <a:cubicBezTo>
                    <a:pt x="544" y="1460"/>
                    <a:pt x="542" y="1474"/>
                    <a:pt x="540" y="1489"/>
                  </a:cubicBezTo>
                  <a:cubicBezTo>
                    <a:pt x="551" y="1489"/>
                    <a:pt x="551" y="1489"/>
                    <a:pt x="551" y="1489"/>
                  </a:cubicBezTo>
                  <a:cubicBezTo>
                    <a:pt x="554" y="1474"/>
                    <a:pt x="556" y="1459"/>
                    <a:pt x="558" y="1444"/>
                  </a:cubicBezTo>
                  <a:cubicBezTo>
                    <a:pt x="586" y="1441"/>
                    <a:pt x="614" y="1440"/>
                    <a:pt x="642" y="1440"/>
                  </a:cubicBezTo>
                  <a:cubicBezTo>
                    <a:pt x="639" y="1456"/>
                    <a:pt x="636" y="1473"/>
                    <a:pt x="633" y="1489"/>
                  </a:cubicBezTo>
                  <a:cubicBezTo>
                    <a:pt x="645" y="1489"/>
                    <a:pt x="645" y="1489"/>
                    <a:pt x="645" y="1489"/>
                  </a:cubicBezTo>
                  <a:cubicBezTo>
                    <a:pt x="648" y="1473"/>
                    <a:pt x="651" y="1456"/>
                    <a:pt x="653" y="1440"/>
                  </a:cubicBezTo>
                  <a:cubicBezTo>
                    <a:pt x="654" y="1440"/>
                    <a:pt x="654" y="1440"/>
                    <a:pt x="654" y="1440"/>
                  </a:cubicBezTo>
                  <a:cubicBezTo>
                    <a:pt x="655" y="1440"/>
                    <a:pt x="655" y="1440"/>
                    <a:pt x="655" y="1440"/>
                  </a:cubicBezTo>
                  <a:cubicBezTo>
                    <a:pt x="656" y="1440"/>
                    <a:pt x="656" y="1440"/>
                    <a:pt x="656" y="1440"/>
                  </a:cubicBezTo>
                  <a:cubicBezTo>
                    <a:pt x="657" y="1440"/>
                    <a:pt x="657" y="1440"/>
                    <a:pt x="657" y="1440"/>
                  </a:cubicBezTo>
                  <a:cubicBezTo>
                    <a:pt x="657" y="1440"/>
                    <a:pt x="658" y="1440"/>
                    <a:pt x="658" y="1440"/>
                  </a:cubicBezTo>
                  <a:cubicBezTo>
                    <a:pt x="664" y="1440"/>
                    <a:pt x="677" y="1436"/>
                    <a:pt x="697" y="1429"/>
                  </a:cubicBezTo>
                  <a:cubicBezTo>
                    <a:pt x="697" y="1416"/>
                    <a:pt x="697" y="1416"/>
                    <a:pt x="697" y="1416"/>
                  </a:cubicBezTo>
                  <a:cubicBezTo>
                    <a:pt x="678" y="1423"/>
                    <a:pt x="663" y="1428"/>
                    <a:pt x="658" y="1428"/>
                  </a:cubicBezTo>
                  <a:cubicBezTo>
                    <a:pt x="658" y="1428"/>
                    <a:pt x="658" y="1428"/>
                    <a:pt x="658" y="1428"/>
                  </a:cubicBezTo>
                  <a:cubicBezTo>
                    <a:pt x="657" y="1428"/>
                    <a:pt x="657" y="1428"/>
                    <a:pt x="657" y="1428"/>
                  </a:cubicBezTo>
                  <a:cubicBezTo>
                    <a:pt x="657" y="1428"/>
                    <a:pt x="656" y="1428"/>
                    <a:pt x="656" y="1428"/>
                  </a:cubicBezTo>
                  <a:cubicBezTo>
                    <a:pt x="656" y="1428"/>
                    <a:pt x="656" y="1428"/>
                    <a:pt x="656" y="1428"/>
                  </a:cubicBezTo>
                  <a:cubicBezTo>
                    <a:pt x="655" y="1428"/>
                    <a:pt x="655" y="1428"/>
                    <a:pt x="655" y="1428"/>
                  </a:cubicBezTo>
                  <a:cubicBezTo>
                    <a:pt x="658" y="1407"/>
                    <a:pt x="660" y="1386"/>
                    <a:pt x="662" y="1364"/>
                  </a:cubicBezTo>
                  <a:cubicBezTo>
                    <a:pt x="672" y="1361"/>
                    <a:pt x="683" y="1357"/>
                    <a:pt x="697" y="1352"/>
                  </a:cubicBezTo>
                  <a:cubicBezTo>
                    <a:pt x="697" y="1339"/>
                    <a:pt x="697" y="1339"/>
                    <a:pt x="697" y="1339"/>
                  </a:cubicBezTo>
                  <a:cubicBezTo>
                    <a:pt x="684" y="1344"/>
                    <a:pt x="673" y="1348"/>
                    <a:pt x="663" y="1351"/>
                  </a:cubicBezTo>
                  <a:cubicBezTo>
                    <a:pt x="665" y="1330"/>
                    <a:pt x="666" y="1309"/>
                    <a:pt x="666" y="1286"/>
                  </a:cubicBezTo>
                  <a:cubicBezTo>
                    <a:pt x="676" y="1283"/>
                    <a:pt x="686" y="1280"/>
                    <a:pt x="697" y="1275"/>
                  </a:cubicBezTo>
                  <a:cubicBezTo>
                    <a:pt x="697" y="1263"/>
                    <a:pt x="697" y="1263"/>
                    <a:pt x="697" y="1263"/>
                  </a:cubicBezTo>
                  <a:cubicBezTo>
                    <a:pt x="686" y="1267"/>
                    <a:pt x="676" y="1271"/>
                    <a:pt x="667" y="1274"/>
                  </a:cubicBezTo>
                  <a:cubicBezTo>
                    <a:pt x="667" y="1260"/>
                    <a:pt x="667" y="1246"/>
                    <a:pt x="667" y="1231"/>
                  </a:cubicBezTo>
                  <a:cubicBezTo>
                    <a:pt x="667" y="1224"/>
                    <a:pt x="667" y="1217"/>
                    <a:pt x="667" y="1210"/>
                  </a:cubicBezTo>
                  <a:cubicBezTo>
                    <a:pt x="676" y="1207"/>
                    <a:pt x="686" y="1203"/>
                    <a:pt x="697" y="1199"/>
                  </a:cubicBezTo>
                  <a:cubicBezTo>
                    <a:pt x="697" y="1186"/>
                    <a:pt x="697" y="1186"/>
                    <a:pt x="697" y="1186"/>
                  </a:cubicBezTo>
                  <a:cubicBezTo>
                    <a:pt x="686" y="1190"/>
                    <a:pt x="676" y="1194"/>
                    <a:pt x="667" y="1197"/>
                  </a:cubicBezTo>
                  <a:cubicBezTo>
                    <a:pt x="667" y="1177"/>
                    <a:pt x="666" y="1156"/>
                    <a:pt x="665" y="1134"/>
                  </a:cubicBezTo>
                  <a:cubicBezTo>
                    <a:pt x="673" y="1131"/>
                    <a:pt x="682" y="1128"/>
                    <a:pt x="691" y="1124"/>
                  </a:cubicBezTo>
                  <a:cubicBezTo>
                    <a:pt x="693" y="1134"/>
                    <a:pt x="695" y="1145"/>
                    <a:pt x="697" y="1155"/>
                  </a:cubicBezTo>
                  <a:cubicBezTo>
                    <a:pt x="697" y="1065"/>
                    <a:pt x="697" y="1065"/>
                    <a:pt x="697" y="1065"/>
                  </a:cubicBezTo>
                  <a:cubicBezTo>
                    <a:pt x="694" y="1057"/>
                    <a:pt x="693" y="1051"/>
                    <a:pt x="692" y="1047"/>
                  </a:cubicBezTo>
                  <a:cubicBezTo>
                    <a:pt x="693" y="1047"/>
                    <a:pt x="695" y="1046"/>
                    <a:pt x="697" y="1045"/>
                  </a:cubicBezTo>
                  <a:cubicBezTo>
                    <a:pt x="697" y="1033"/>
                    <a:pt x="697" y="1033"/>
                    <a:pt x="697" y="1033"/>
                  </a:cubicBezTo>
                  <a:cubicBezTo>
                    <a:pt x="692" y="1034"/>
                    <a:pt x="688" y="1036"/>
                    <a:pt x="684" y="1038"/>
                  </a:cubicBezTo>
                  <a:cubicBezTo>
                    <a:pt x="681" y="1023"/>
                    <a:pt x="678" y="1008"/>
                    <a:pt x="676" y="993"/>
                  </a:cubicBezTo>
                  <a:moveTo>
                    <a:pt x="697" y="993"/>
                  </a:moveTo>
                  <a:cubicBezTo>
                    <a:pt x="690" y="993"/>
                    <a:pt x="690" y="993"/>
                    <a:pt x="690" y="993"/>
                  </a:cubicBezTo>
                  <a:cubicBezTo>
                    <a:pt x="692" y="1003"/>
                    <a:pt x="694" y="1012"/>
                    <a:pt x="697" y="1022"/>
                  </a:cubicBezTo>
                  <a:cubicBezTo>
                    <a:pt x="697" y="993"/>
                    <a:pt x="697" y="993"/>
                    <a:pt x="697" y="993"/>
                  </a:cubicBezTo>
                  <a:moveTo>
                    <a:pt x="1796" y="1474"/>
                  </a:moveTo>
                  <a:cubicBezTo>
                    <a:pt x="1779" y="1461"/>
                    <a:pt x="1764" y="1447"/>
                    <a:pt x="1750" y="1433"/>
                  </a:cubicBezTo>
                  <a:cubicBezTo>
                    <a:pt x="1775" y="1427"/>
                    <a:pt x="1800" y="1420"/>
                    <a:pt x="1825" y="1411"/>
                  </a:cubicBezTo>
                  <a:cubicBezTo>
                    <a:pt x="1837" y="1422"/>
                    <a:pt x="1850" y="1433"/>
                    <a:pt x="1864" y="1444"/>
                  </a:cubicBezTo>
                  <a:cubicBezTo>
                    <a:pt x="1844" y="1454"/>
                    <a:pt x="1821" y="1465"/>
                    <a:pt x="1796" y="1474"/>
                  </a:cubicBezTo>
                  <a:moveTo>
                    <a:pt x="1875" y="1438"/>
                  </a:moveTo>
                  <a:cubicBezTo>
                    <a:pt x="1862" y="1428"/>
                    <a:pt x="1849" y="1417"/>
                    <a:pt x="1837" y="1407"/>
                  </a:cubicBezTo>
                  <a:cubicBezTo>
                    <a:pt x="1857" y="1399"/>
                    <a:pt x="1877" y="1391"/>
                    <a:pt x="1898" y="1381"/>
                  </a:cubicBezTo>
                  <a:cubicBezTo>
                    <a:pt x="1908" y="1389"/>
                    <a:pt x="1918" y="1396"/>
                    <a:pt x="1929" y="1404"/>
                  </a:cubicBezTo>
                  <a:cubicBezTo>
                    <a:pt x="1914" y="1414"/>
                    <a:pt x="1896" y="1426"/>
                    <a:pt x="1875" y="1438"/>
                  </a:cubicBezTo>
                  <a:moveTo>
                    <a:pt x="1615" y="1353"/>
                  </a:moveTo>
                  <a:cubicBezTo>
                    <a:pt x="1634" y="1353"/>
                    <a:pt x="1653" y="1352"/>
                    <a:pt x="1673" y="1351"/>
                  </a:cubicBezTo>
                  <a:cubicBezTo>
                    <a:pt x="1688" y="1377"/>
                    <a:pt x="1707" y="1402"/>
                    <a:pt x="1728" y="1425"/>
                  </a:cubicBezTo>
                  <a:cubicBezTo>
                    <a:pt x="1703" y="1430"/>
                    <a:pt x="1678" y="1434"/>
                    <a:pt x="1654" y="1436"/>
                  </a:cubicBezTo>
                  <a:cubicBezTo>
                    <a:pt x="1632" y="1409"/>
                    <a:pt x="1614" y="1381"/>
                    <a:pt x="1598" y="1353"/>
                  </a:cubicBezTo>
                  <a:cubicBezTo>
                    <a:pt x="1603" y="1353"/>
                    <a:pt x="1609" y="1353"/>
                    <a:pt x="1615" y="1353"/>
                  </a:cubicBezTo>
                  <a:moveTo>
                    <a:pt x="1939" y="1396"/>
                  </a:moveTo>
                  <a:cubicBezTo>
                    <a:pt x="1929" y="1390"/>
                    <a:pt x="1919" y="1383"/>
                    <a:pt x="1910" y="1375"/>
                  </a:cubicBezTo>
                  <a:cubicBezTo>
                    <a:pt x="1926" y="1367"/>
                    <a:pt x="1944" y="1358"/>
                    <a:pt x="1961" y="1348"/>
                  </a:cubicBezTo>
                  <a:cubicBezTo>
                    <a:pt x="1968" y="1353"/>
                    <a:pt x="1975" y="1358"/>
                    <a:pt x="1982" y="1362"/>
                  </a:cubicBezTo>
                  <a:cubicBezTo>
                    <a:pt x="1974" y="1369"/>
                    <a:pt x="1968" y="1373"/>
                    <a:pt x="1968" y="1373"/>
                  </a:cubicBezTo>
                  <a:cubicBezTo>
                    <a:pt x="1967" y="1374"/>
                    <a:pt x="1967" y="1374"/>
                    <a:pt x="1967" y="1374"/>
                  </a:cubicBezTo>
                  <a:cubicBezTo>
                    <a:pt x="1966" y="1374"/>
                    <a:pt x="1957" y="1383"/>
                    <a:pt x="1939" y="1396"/>
                  </a:cubicBezTo>
                  <a:moveTo>
                    <a:pt x="1599" y="1438"/>
                  </a:moveTo>
                  <a:cubicBezTo>
                    <a:pt x="1583" y="1438"/>
                    <a:pt x="1568" y="1437"/>
                    <a:pt x="1552" y="1436"/>
                  </a:cubicBezTo>
                  <a:cubicBezTo>
                    <a:pt x="1529" y="1406"/>
                    <a:pt x="1510" y="1375"/>
                    <a:pt x="1494" y="1344"/>
                  </a:cubicBezTo>
                  <a:cubicBezTo>
                    <a:pt x="1522" y="1348"/>
                    <a:pt x="1553" y="1351"/>
                    <a:pt x="1584" y="1352"/>
                  </a:cubicBezTo>
                  <a:cubicBezTo>
                    <a:pt x="1600" y="1381"/>
                    <a:pt x="1618" y="1409"/>
                    <a:pt x="1640" y="1437"/>
                  </a:cubicBezTo>
                  <a:cubicBezTo>
                    <a:pt x="1626" y="1437"/>
                    <a:pt x="1612" y="1438"/>
                    <a:pt x="1599" y="1438"/>
                  </a:cubicBezTo>
                  <a:moveTo>
                    <a:pt x="1741" y="1423"/>
                  </a:moveTo>
                  <a:cubicBezTo>
                    <a:pt x="1720" y="1399"/>
                    <a:pt x="1701" y="1375"/>
                    <a:pt x="1686" y="1350"/>
                  </a:cubicBezTo>
                  <a:cubicBezTo>
                    <a:pt x="1703" y="1349"/>
                    <a:pt x="1720" y="1347"/>
                    <a:pt x="1738" y="1344"/>
                  </a:cubicBezTo>
                  <a:cubicBezTo>
                    <a:pt x="1746" y="1343"/>
                    <a:pt x="1755" y="1341"/>
                    <a:pt x="1763" y="1339"/>
                  </a:cubicBezTo>
                  <a:cubicBezTo>
                    <a:pt x="1778" y="1361"/>
                    <a:pt x="1796" y="1382"/>
                    <a:pt x="1816" y="1402"/>
                  </a:cubicBezTo>
                  <a:cubicBezTo>
                    <a:pt x="1790" y="1410"/>
                    <a:pt x="1765" y="1417"/>
                    <a:pt x="1741" y="1423"/>
                  </a:cubicBezTo>
                  <a:moveTo>
                    <a:pt x="1828" y="1397"/>
                  </a:moveTo>
                  <a:cubicBezTo>
                    <a:pt x="1808" y="1378"/>
                    <a:pt x="1791" y="1358"/>
                    <a:pt x="1776" y="1337"/>
                  </a:cubicBezTo>
                  <a:cubicBezTo>
                    <a:pt x="1796" y="1333"/>
                    <a:pt x="1817" y="1328"/>
                    <a:pt x="1837" y="1322"/>
                  </a:cubicBezTo>
                  <a:cubicBezTo>
                    <a:pt x="1852" y="1340"/>
                    <a:pt x="1869" y="1357"/>
                    <a:pt x="1888" y="1373"/>
                  </a:cubicBezTo>
                  <a:cubicBezTo>
                    <a:pt x="1868" y="1382"/>
                    <a:pt x="1848" y="1390"/>
                    <a:pt x="1828" y="1397"/>
                  </a:cubicBezTo>
                  <a:moveTo>
                    <a:pt x="1992" y="1354"/>
                  </a:moveTo>
                  <a:cubicBezTo>
                    <a:pt x="1985" y="1350"/>
                    <a:pt x="1978" y="1346"/>
                    <a:pt x="1972" y="1341"/>
                  </a:cubicBezTo>
                  <a:cubicBezTo>
                    <a:pt x="1985" y="1334"/>
                    <a:pt x="1999" y="1325"/>
                    <a:pt x="2012" y="1316"/>
                  </a:cubicBezTo>
                  <a:cubicBezTo>
                    <a:pt x="2016" y="1317"/>
                    <a:pt x="2020" y="1318"/>
                    <a:pt x="2024" y="1319"/>
                  </a:cubicBezTo>
                  <a:cubicBezTo>
                    <a:pt x="2013" y="1334"/>
                    <a:pt x="2001" y="1345"/>
                    <a:pt x="1992" y="1354"/>
                  </a:cubicBezTo>
                  <a:moveTo>
                    <a:pt x="1899" y="1367"/>
                  </a:moveTo>
                  <a:cubicBezTo>
                    <a:pt x="1881" y="1352"/>
                    <a:pt x="1864" y="1335"/>
                    <a:pt x="1849" y="1318"/>
                  </a:cubicBezTo>
                  <a:cubicBezTo>
                    <a:pt x="1867" y="1312"/>
                    <a:pt x="1885" y="1306"/>
                    <a:pt x="1903" y="1299"/>
                  </a:cubicBezTo>
                  <a:cubicBezTo>
                    <a:pt x="1917" y="1314"/>
                    <a:pt x="1933" y="1328"/>
                    <a:pt x="1950" y="1341"/>
                  </a:cubicBezTo>
                  <a:cubicBezTo>
                    <a:pt x="1933" y="1350"/>
                    <a:pt x="1916" y="1359"/>
                    <a:pt x="1899" y="1367"/>
                  </a:cubicBezTo>
                  <a:moveTo>
                    <a:pt x="1961" y="1334"/>
                  </a:moveTo>
                  <a:cubicBezTo>
                    <a:pt x="1944" y="1322"/>
                    <a:pt x="1929" y="1308"/>
                    <a:pt x="1915" y="1294"/>
                  </a:cubicBezTo>
                  <a:cubicBezTo>
                    <a:pt x="1930" y="1288"/>
                    <a:pt x="1946" y="1281"/>
                    <a:pt x="1961" y="1274"/>
                  </a:cubicBezTo>
                  <a:cubicBezTo>
                    <a:pt x="1974" y="1290"/>
                    <a:pt x="1987" y="1303"/>
                    <a:pt x="2000" y="1310"/>
                  </a:cubicBezTo>
                  <a:cubicBezTo>
                    <a:pt x="1987" y="1319"/>
                    <a:pt x="1974" y="1327"/>
                    <a:pt x="1961" y="1334"/>
                  </a:cubicBezTo>
                  <a:moveTo>
                    <a:pt x="2057" y="1289"/>
                  </a:moveTo>
                  <a:cubicBezTo>
                    <a:pt x="2062" y="1281"/>
                    <a:pt x="2066" y="1272"/>
                    <a:pt x="2070" y="1262"/>
                  </a:cubicBezTo>
                  <a:cubicBezTo>
                    <a:pt x="2067" y="1273"/>
                    <a:pt x="2062" y="1282"/>
                    <a:pt x="2057" y="1289"/>
                  </a:cubicBezTo>
                  <a:moveTo>
                    <a:pt x="2027" y="1307"/>
                  </a:moveTo>
                  <a:cubicBezTo>
                    <a:pt x="2027" y="1307"/>
                    <a:pt x="2026" y="1307"/>
                    <a:pt x="2026" y="1307"/>
                  </a:cubicBezTo>
                  <a:cubicBezTo>
                    <a:pt x="2026" y="1306"/>
                    <a:pt x="2027" y="1306"/>
                    <a:pt x="2027" y="1306"/>
                  </a:cubicBezTo>
                  <a:cubicBezTo>
                    <a:pt x="2029" y="1304"/>
                    <a:pt x="2029" y="1304"/>
                    <a:pt x="2029" y="1304"/>
                  </a:cubicBezTo>
                  <a:cubicBezTo>
                    <a:pt x="2030" y="1302"/>
                    <a:pt x="2040" y="1285"/>
                    <a:pt x="2050" y="1261"/>
                  </a:cubicBezTo>
                  <a:cubicBezTo>
                    <a:pt x="2053" y="1262"/>
                    <a:pt x="2055" y="1263"/>
                    <a:pt x="2058" y="1263"/>
                  </a:cubicBezTo>
                  <a:cubicBezTo>
                    <a:pt x="2051" y="1279"/>
                    <a:pt x="2042" y="1293"/>
                    <a:pt x="2034" y="1306"/>
                  </a:cubicBezTo>
                  <a:cubicBezTo>
                    <a:pt x="2032" y="1306"/>
                    <a:pt x="2029" y="1307"/>
                    <a:pt x="2027" y="1307"/>
                  </a:cubicBezTo>
                  <a:moveTo>
                    <a:pt x="1618" y="1341"/>
                  </a:moveTo>
                  <a:cubicBezTo>
                    <a:pt x="1609" y="1341"/>
                    <a:pt x="1600" y="1341"/>
                    <a:pt x="1591" y="1341"/>
                  </a:cubicBezTo>
                  <a:cubicBezTo>
                    <a:pt x="1576" y="1313"/>
                    <a:pt x="1564" y="1284"/>
                    <a:pt x="1554" y="1255"/>
                  </a:cubicBezTo>
                  <a:cubicBezTo>
                    <a:pt x="1578" y="1257"/>
                    <a:pt x="1602" y="1258"/>
                    <a:pt x="1628" y="1258"/>
                  </a:cubicBezTo>
                  <a:cubicBezTo>
                    <a:pt x="1638" y="1286"/>
                    <a:pt x="1651" y="1313"/>
                    <a:pt x="1666" y="1340"/>
                  </a:cubicBezTo>
                  <a:cubicBezTo>
                    <a:pt x="1649" y="1341"/>
                    <a:pt x="1633" y="1341"/>
                    <a:pt x="1618" y="1341"/>
                  </a:cubicBezTo>
                  <a:moveTo>
                    <a:pt x="1679" y="1339"/>
                  </a:moveTo>
                  <a:cubicBezTo>
                    <a:pt x="1663" y="1312"/>
                    <a:pt x="1650" y="1285"/>
                    <a:pt x="1640" y="1258"/>
                  </a:cubicBezTo>
                  <a:cubicBezTo>
                    <a:pt x="1665" y="1258"/>
                    <a:pt x="1690" y="1257"/>
                    <a:pt x="1716" y="1255"/>
                  </a:cubicBezTo>
                  <a:cubicBezTo>
                    <a:pt x="1727" y="1280"/>
                    <a:pt x="1740" y="1305"/>
                    <a:pt x="1756" y="1328"/>
                  </a:cubicBezTo>
                  <a:cubicBezTo>
                    <a:pt x="1730" y="1333"/>
                    <a:pt x="1704" y="1337"/>
                    <a:pt x="1679" y="1339"/>
                  </a:cubicBezTo>
                  <a:moveTo>
                    <a:pt x="1768" y="1326"/>
                  </a:moveTo>
                  <a:cubicBezTo>
                    <a:pt x="1752" y="1303"/>
                    <a:pt x="1739" y="1279"/>
                    <a:pt x="1728" y="1254"/>
                  </a:cubicBezTo>
                  <a:cubicBezTo>
                    <a:pt x="1748" y="1252"/>
                    <a:pt x="1768" y="1250"/>
                    <a:pt x="1788" y="1247"/>
                  </a:cubicBezTo>
                  <a:cubicBezTo>
                    <a:pt x="1800" y="1269"/>
                    <a:pt x="1813" y="1291"/>
                    <a:pt x="1829" y="1311"/>
                  </a:cubicBezTo>
                  <a:cubicBezTo>
                    <a:pt x="1809" y="1317"/>
                    <a:pt x="1788" y="1322"/>
                    <a:pt x="1768" y="1326"/>
                  </a:cubicBezTo>
                  <a:moveTo>
                    <a:pt x="1578" y="1340"/>
                  </a:moveTo>
                  <a:cubicBezTo>
                    <a:pt x="1546" y="1339"/>
                    <a:pt x="1516" y="1335"/>
                    <a:pt x="1487" y="1331"/>
                  </a:cubicBezTo>
                  <a:cubicBezTo>
                    <a:pt x="1473" y="1302"/>
                    <a:pt x="1462" y="1273"/>
                    <a:pt x="1453" y="1243"/>
                  </a:cubicBezTo>
                  <a:cubicBezTo>
                    <a:pt x="1481" y="1248"/>
                    <a:pt x="1511" y="1251"/>
                    <a:pt x="1541" y="1254"/>
                  </a:cubicBezTo>
                  <a:cubicBezTo>
                    <a:pt x="1551" y="1283"/>
                    <a:pt x="1563" y="1312"/>
                    <a:pt x="1578" y="1340"/>
                  </a:cubicBezTo>
                  <a:moveTo>
                    <a:pt x="1841" y="1308"/>
                  </a:moveTo>
                  <a:cubicBezTo>
                    <a:pt x="1825" y="1288"/>
                    <a:pt x="1812" y="1267"/>
                    <a:pt x="1800" y="1245"/>
                  </a:cubicBezTo>
                  <a:cubicBezTo>
                    <a:pt x="1818" y="1242"/>
                    <a:pt x="1837" y="1238"/>
                    <a:pt x="1855" y="1234"/>
                  </a:cubicBezTo>
                  <a:cubicBezTo>
                    <a:pt x="1866" y="1254"/>
                    <a:pt x="1879" y="1272"/>
                    <a:pt x="1895" y="1290"/>
                  </a:cubicBezTo>
                  <a:cubicBezTo>
                    <a:pt x="1877" y="1296"/>
                    <a:pt x="1859" y="1303"/>
                    <a:pt x="1841" y="1308"/>
                  </a:cubicBezTo>
                  <a:moveTo>
                    <a:pt x="2010" y="1303"/>
                  </a:moveTo>
                  <a:cubicBezTo>
                    <a:pt x="1998" y="1297"/>
                    <a:pt x="1984" y="1285"/>
                    <a:pt x="1972" y="1269"/>
                  </a:cubicBezTo>
                  <a:cubicBezTo>
                    <a:pt x="1984" y="1263"/>
                    <a:pt x="1997" y="1256"/>
                    <a:pt x="2010" y="1249"/>
                  </a:cubicBezTo>
                  <a:cubicBezTo>
                    <a:pt x="2011" y="1248"/>
                    <a:pt x="2011" y="1248"/>
                    <a:pt x="2011" y="1248"/>
                  </a:cubicBezTo>
                  <a:cubicBezTo>
                    <a:pt x="2012" y="1247"/>
                    <a:pt x="2016" y="1242"/>
                    <a:pt x="2022" y="1234"/>
                  </a:cubicBezTo>
                  <a:cubicBezTo>
                    <a:pt x="2028" y="1243"/>
                    <a:pt x="2034" y="1250"/>
                    <a:pt x="2041" y="1255"/>
                  </a:cubicBezTo>
                  <a:cubicBezTo>
                    <a:pt x="2031" y="1276"/>
                    <a:pt x="2023" y="1292"/>
                    <a:pt x="2020" y="1296"/>
                  </a:cubicBezTo>
                  <a:cubicBezTo>
                    <a:pt x="2017" y="1299"/>
                    <a:pt x="2014" y="1301"/>
                    <a:pt x="2010" y="1303"/>
                  </a:cubicBezTo>
                  <a:moveTo>
                    <a:pt x="1906" y="1285"/>
                  </a:moveTo>
                  <a:cubicBezTo>
                    <a:pt x="1891" y="1268"/>
                    <a:pt x="1878" y="1250"/>
                    <a:pt x="1867" y="1232"/>
                  </a:cubicBezTo>
                  <a:cubicBezTo>
                    <a:pt x="1887" y="1227"/>
                    <a:pt x="1907" y="1221"/>
                    <a:pt x="1927" y="1215"/>
                  </a:cubicBezTo>
                  <a:cubicBezTo>
                    <a:pt x="1935" y="1234"/>
                    <a:pt x="1944" y="1250"/>
                    <a:pt x="1954" y="1264"/>
                  </a:cubicBezTo>
                  <a:cubicBezTo>
                    <a:pt x="1938" y="1272"/>
                    <a:pt x="1922" y="1279"/>
                    <a:pt x="1906" y="1285"/>
                  </a:cubicBezTo>
                  <a:moveTo>
                    <a:pt x="1964" y="1259"/>
                  </a:moveTo>
                  <a:cubicBezTo>
                    <a:pt x="1955" y="1246"/>
                    <a:pt x="1946" y="1230"/>
                    <a:pt x="1938" y="1212"/>
                  </a:cubicBezTo>
                  <a:cubicBezTo>
                    <a:pt x="1956" y="1206"/>
                    <a:pt x="1974" y="1199"/>
                    <a:pt x="1993" y="1192"/>
                  </a:cubicBezTo>
                  <a:cubicBezTo>
                    <a:pt x="1993" y="1192"/>
                    <a:pt x="1995" y="1190"/>
                    <a:pt x="1998" y="1188"/>
                  </a:cubicBezTo>
                  <a:cubicBezTo>
                    <a:pt x="2004" y="1201"/>
                    <a:pt x="2010" y="1213"/>
                    <a:pt x="2016" y="1224"/>
                  </a:cubicBezTo>
                  <a:cubicBezTo>
                    <a:pt x="2010" y="1232"/>
                    <a:pt x="2005" y="1237"/>
                    <a:pt x="2004" y="1239"/>
                  </a:cubicBezTo>
                  <a:cubicBezTo>
                    <a:pt x="1990" y="1246"/>
                    <a:pt x="1977" y="1253"/>
                    <a:pt x="1964" y="1259"/>
                  </a:cubicBezTo>
                  <a:moveTo>
                    <a:pt x="2060" y="1251"/>
                  </a:moveTo>
                  <a:cubicBezTo>
                    <a:pt x="2058" y="1251"/>
                    <a:pt x="2057" y="1251"/>
                    <a:pt x="2055" y="1250"/>
                  </a:cubicBezTo>
                  <a:cubicBezTo>
                    <a:pt x="2064" y="1228"/>
                    <a:pt x="2073" y="1202"/>
                    <a:pt x="2078" y="1175"/>
                  </a:cubicBezTo>
                  <a:cubicBezTo>
                    <a:pt x="2077" y="1203"/>
                    <a:pt x="2071" y="1229"/>
                    <a:pt x="2063" y="1251"/>
                  </a:cubicBezTo>
                  <a:cubicBezTo>
                    <a:pt x="2062" y="1251"/>
                    <a:pt x="2062" y="1251"/>
                    <a:pt x="2062" y="1251"/>
                  </a:cubicBezTo>
                  <a:cubicBezTo>
                    <a:pt x="2061" y="1251"/>
                    <a:pt x="2061" y="1251"/>
                    <a:pt x="2061" y="1251"/>
                  </a:cubicBezTo>
                  <a:cubicBezTo>
                    <a:pt x="2061" y="1251"/>
                    <a:pt x="2060" y="1251"/>
                    <a:pt x="2060" y="1251"/>
                  </a:cubicBezTo>
                  <a:moveTo>
                    <a:pt x="1704" y="1164"/>
                  </a:moveTo>
                  <a:cubicBezTo>
                    <a:pt x="1721" y="1164"/>
                    <a:pt x="1738" y="1163"/>
                    <a:pt x="1755" y="1163"/>
                  </a:cubicBezTo>
                  <a:cubicBezTo>
                    <a:pt x="1762" y="1187"/>
                    <a:pt x="1771" y="1212"/>
                    <a:pt x="1783" y="1236"/>
                  </a:cubicBezTo>
                  <a:cubicBezTo>
                    <a:pt x="1763" y="1238"/>
                    <a:pt x="1743" y="1241"/>
                    <a:pt x="1723" y="1242"/>
                  </a:cubicBezTo>
                  <a:cubicBezTo>
                    <a:pt x="1712" y="1217"/>
                    <a:pt x="1703" y="1190"/>
                    <a:pt x="1696" y="1164"/>
                  </a:cubicBezTo>
                  <a:cubicBezTo>
                    <a:pt x="1699" y="1164"/>
                    <a:pt x="1702" y="1164"/>
                    <a:pt x="1704" y="1164"/>
                  </a:cubicBezTo>
                  <a:moveTo>
                    <a:pt x="1635" y="1246"/>
                  </a:moveTo>
                  <a:cubicBezTo>
                    <a:pt x="1625" y="1218"/>
                    <a:pt x="1617" y="1189"/>
                    <a:pt x="1612" y="1161"/>
                  </a:cubicBezTo>
                  <a:cubicBezTo>
                    <a:pt x="1636" y="1162"/>
                    <a:pt x="1660" y="1163"/>
                    <a:pt x="1685" y="1163"/>
                  </a:cubicBezTo>
                  <a:cubicBezTo>
                    <a:pt x="1691" y="1190"/>
                    <a:pt x="1700" y="1217"/>
                    <a:pt x="1711" y="1243"/>
                  </a:cubicBezTo>
                  <a:cubicBezTo>
                    <a:pt x="1685" y="1245"/>
                    <a:pt x="1660" y="1246"/>
                    <a:pt x="1636" y="1246"/>
                  </a:cubicBezTo>
                  <a:cubicBezTo>
                    <a:pt x="1636" y="1246"/>
                    <a:pt x="1635" y="1246"/>
                    <a:pt x="1635" y="1246"/>
                  </a:cubicBezTo>
                  <a:moveTo>
                    <a:pt x="1795" y="1234"/>
                  </a:moveTo>
                  <a:cubicBezTo>
                    <a:pt x="1783" y="1211"/>
                    <a:pt x="1774" y="1187"/>
                    <a:pt x="1767" y="1162"/>
                  </a:cubicBezTo>
                  <a:cubicBezTo>
                    <a:pt x="1785" y="1162"/>
                    <a:pt x="1804" y="1160"/>
                    <a:pt x="1822" y="1159"/>
                  </a:cubicBezTo>
                  <a:cubicBezTo>
                    <a:pt x="1829" y="1181"/>
                    <a:pt x="1838" y="1202"/>
                    <a:pt x="1849" y="1224"/>
                  </a:cubicBezTo>
                  <a:cubicBezTo>
                    <a:pt x="1831" y="1228"/>
                    <a:pt x="1813" y="1231"/>
                    <a:pt x="1795" y="1234"/>
                  </a:cubicBezTo>
                  <a:moveTo>
                    <a:pt x="1623" y="1246"/>
                  </a:moveTo>
                  <a:cubicBezTo>
                    <a:pt x="1598" y="1246"/>
                    <a:pt x="1574" y="1245"/>
                    <a:pt x="1550" y="1243"/>
                  </a:cubicBezTo>
                  <a:cubicBezTo>
                    <a:pt x="1540" y="1213"/>
                    <a:pt x="1533" y="1183"/>
                    <a:pt x="1527" y="1154"/>
                  </a:cubicBezTo>
                  <a:cubicBezTo>
                    <a:pt x="1551" y="1156"/>
                    <a:pt x="1575" y="1159"/>
                    <a:pt x="1600" y="1160"/>
                  </a:cubicBezTo>
                  <a:cubicBezTo>
                    <a:pt x="1606" y="1189"/>
                    <a:pt x="1613" y="1218"/>
                    <a:pt x="1623" y="1246"/>
                  </a:cubicBezTo>
                  <a:moveTo>
                    <a:pt x="1861" y="1221"/>
                  </a:moveTo>
                  <a:cubicBezTo>
                    <a:pt x="1850" y="1200"/>
                    <a:pt x="1841" y="1179"/>
                    <a:pt x="1834" y="1158"/>
                  </a:cubicBezTo>
                  <a:cubicBezTo>
                    <a:pt x="1857" y="1156"/>
                    <a:pt x="1880" y="1153"/>
                    <a:pt x="1903" y="1149"/>
                  </a:cubicBezTo>
                  <a:cubicBezTo>
                    <a:pt x="1909" y="1169"/>
                    <a:pt x="1915" y="1187"/>
                    <a:pt x="1922" y="1204"/>
                  </a:cubicBezTo>
                  <a:cubicBezTo>
                    <a:pt x="1902" y="1211"/>
                    <a:pt x="1881" y="1216"/>
                    <a:pt x="1861" y="1221"/>
                  </a:cubicBezTo>
                  <a:moveTo>
                    <a:pt x="2045" y="1244"/>
                  </a:moveTo>
                  <a:cubicBezTo>
                    <a:pt x="2040" y="1239"/>
                    <a:pt x="2035" y="1233"/>
                    <a:pt x="2030" y="1225"/>
                  </a:cubicBezTo>
                  <a:cubicBezTo>
                    <a:pt x="2043" y="1206"/>
                    <a:pt x="2060" y="1178"/>
                    <a:pt x="2071" y="1146"/>
                  </a:cubicBezTo>
                  <a:cubicBezTo>
                    <a:pt x="2069" y="1179"/>
                    <a:pt x="2057" y="1215"/>
                    <a:pt x="2045" y="1244"/>
                  </a:cubicBezTo>
                  <a:moveTo>
                    <a:pt x="1537" y="1242"/>
                  </a:moveTo>
                  <a:cubicBezTo>
                    <a:pt x="1507" y="1239"/>
                    <a:pt x="1477" y="1235"/>
                    <a:pt x="1449" y="1231"/>
                  </a:cubicBezTo>
                  <a:cubicBezTo>
                    <a:pt x="1441" y="1201"/>
                    <a:pt x="1434" y="1171"/>
                    <a:pt x="1430" y="1141"/>
                  </a:cubicBezTo>
                  <a:cubicBezTo>
                    <a:pt x="1458" y="1145"/>
                    <a:pt x="1486" y="1149"/>
                    <a:pt x="1516" y="1153"/>
                  </a:cubicBezTo>
                  <a:cubicBezTo>
                    <a:pt x="1521" y="1182"/>
                    <a:pt x="1528" y="1212"/>
                    <a:pt x="1537" y="1242"/>
                  </a:cubicBezTo>
                  <a:moveTo>
                    <a:pt x="1933" y="1201"/>
                  </a:moveTo>
                  <a:cubicBezTo>
                    <a:pt x="1926" y="1184"/>
                    <a:pt x="1920" y="1166"/>
                    <a:pt x="1914" y="1148"/>
                  </a:cubicBezTo>
                  <a:cubicBezTo>
                    <a:pt x="1934" y="1144"/>
                    <a:pt x="1954" y="1141"/>
                    <a:pt x="1974" y="1136"/>
                  </a:cubicBezTo>
                  <a:cubicBezTo>
                    <a:pt x="1974" y="1136"/>
                    <a:pt x="1976" y="1135"/>
                    <a:pt x="1979" y="1134"/>
                  </a:cubicBezTo>
                  <a:cubicBezTo>
                    <a:pt x="1983" y="1149"/>
                    <a:pt x="1988" y="1164"/>
                    <a:pt x="1994" y="1177"/>
                  </a:cubicBezTo>
                  <a:cubicBezTo>
                    <a:pt x="1990" y="1180"/>
                    <a:pt x="1988" y="1181"/>
                    <a:pt x="1988" y="1181"/>
                  </a:cubicBezTo>
                  <a:cubicBezTo>
                    <a:pt x="1969" y="1189"/>
                    <a:pt x="1951" y="1195"/>
                    <a:pt x="1933" y="1201"/>
                  </a:cubicBezTo>
                  <a:moveTo>
                    <a:pt x="2023" y="1214"/>
                  </a:moveTo>
                  <a:cubicBezTo>
                    <a:pt x="2018" y="1205"/>
                    <a:pt x="2012" y="1194"/>
                    <a:pt x="2007" y="1182"/>
                  </a:cubicBezTo>
                  <a:cubicBezTo>
                    <a:pt x="2024" y="1169"/>
                    <a:pt x="2050" y="1146"/>
                    <a:pt x="2065" y="1121"/>
                  </a:cubicBezTo>
                  <a:cubicBezTo>
                    <a:pt x="2059" y="1157"/>
                    <a:pt x="2038" y="1192"/>
                    <a:pt x="2023" y="1214"/>
                  </a:cubicBezTo>
                  <a:moveTo>
                    <a:pt x="2003" y="1170"/>
                  </a:moveTo>
                  <a:cubicBezTo>
                    <a:pt x="1998" y="1158"/>
                    <a:pt x="1994" y="1145"/>
                    <a:pt x="1990" y="1131"/>
                  </a:cubicBezTo>
                  <a:cubicBezTo>
                    <a:pt x="2010" y="1123"/>
                    <a:pt x="2045" y="1108"/>
                    <a:pt x="2066" y="1090"/>
                  </a:cubicBezTo>
                  <a:cubicBezTo>
                    <a:pt x="2060" y="1121"/>
                    <a:pt x="2024" y="1154"/>
                    <a:pt x="2003" y="1170"/>
                  </a:cubicBezTo>
                  <a:moveTo>
                    <a:pt x="1911" y="1136"/>
                  </a:moveTo>
                  <a:cubicBezTo>
                    <a:pt x="1910" y="1132"/>
                    <a:pt x="1909" y="1129"/>
                    <a:pt x="1908" y="1125"/>
                  </a:cubicBezTo>
                  <a:cubicBezTo>
                    <a:pt x="1905" y="1110"/>
                    <a:pt x="1902" y="1095"/>
                    <a:pt x="1900" y="1081"/>
                  </a:cubicBezTo>
                  <a:cubicBezTo>
                    <a:pt x="1918" y="1080"/>
                    <a:pt x="1937" y="1080"/>
                    <a:pt x="1955" y="1080"/>
                  </a:cubicBezTo>
                  <a:cubicBezTo>
                    <a:pt x="1955" y="1080"/>
                    <a:pt x="1960" y="1080"/>
                    <a:pt x="1966" y="1080"/>
                  </a:cubicBezTo>
                  <a:cubicBezTo>
                    <a:pt x="1968" y="1090"/>
                    <a:pt x="1970" y="1099"/>
                    <a:pt x="1972" y="1109"/>
                  </a:cubicBezTo>
                  <a:cubicBezTo>
                    <a:pt x="1973" y="1114"/>
                    <a:pt x="1975" y="1118"/>
                    <a:pt x="1976" y="1123"/>
                  </a:cubicBezTo>
                  <a:cubicBezTo>
                    <a:pt x="1974" y="1124"/>
                    <a:pt x="1973" y="1124"/>
                    <a:pt x="1971" y="1125"/>
                  </a:cubicBezTo>
                  <a:cubicBezTo>
                    <a:pt x="1951" y="1129"/>
                    <a:pt x="1931" y="1133"/>
                    <a:pt x="1911" y="1136"/>
                  </a:cubicBezTo>
                  <a:moveTo>
                    <a:pt x="1830" y="1146"/>
                  </a:moveTo>
                  <a:cubicBezTo>
                    <a:pt x="1824" y="1124"/>
                    <a:pt x="1820" y="1102"/>
                    <a:pt x="1817" y="1080"/>
                  </a:cubicBezTo>
                  <a:cubicBezTo>
                    <a:pt x="1841" y="1080"/>
                    <a:pt x="1865" y="1081"/>
                    <a:pt x="1888" y="1081"/>
                  </a:cubicBezTo>
                  <a:cubicBezTo>
                    <a:pt x="1891" y="1096"/>
                    <a:pt x="1894" y="1112"/>
                    <a:pt x="1897" y="1128"/>
                  </a:cubicBezTo>
                  <a:cubicBezTo>
                    <a:pt x="1898" y="1131"/>
                    <a:pt x="1899" y="1135"/>
                    <a:pt x="1900" y="1138"/>
                  </a:cubicBezTo>
                  <a:cubicBezTo>
                    <a:pt x="1877" y="1141"/>
                    <a:pt x="1854" y="1144"/>
                    <a:pt x="1830" y="1146"/>
                  </a:cubicBezTo>
                  <a:moveTo>
                    <a:pt x="1764" y="1151"/>
                  </a:moveTo>
                  <a:cubicBezTo>
                    <a:pt x="1757" y="1126"/>
                    <a:pt x="1752" y="1101"/>
                    <a:pt x="1749" y="1077"/>
                  </a:cubicBezTo>
                  <a:cubicBezTo>
                    <a:pt x="1768" y="1078"/>
                    <a:pt x="1787" y="1079"/>
                    <a:pt x="1806" y="1079"/>
                  </a:cubicBezTo>
                  <a:cubicBezTo>
                    <a:pt x="1808" y="1102"/>
                    <a:pt x="1813" y="1125"/>
                    <a:pt x="1819" y="1147"/>
                  </a:cubicBezTo>
                  <a:cubicBezTo>
                    <a:pt x="1800" y="1149"/>
                    <a:pt x="1782" y="1150"/>
                    <a:pt x="1764" y="1151"/>
                  </a:cubicBezTo>
                  <a:moveTo>
                    <a:pt x="1708" y="1152"/>
                  </a:moveTo>
                  <a:cubicBezTo>
                    <a:pt x="1703" y="1152"/>
                    <a:pt x="1698" y="1152"/>
                    <a:pt x="1693" y="1152"/>
                  </a:cubicBezTo>
                  <a:cubicBezTo>
                    <a:pt x="1687" y="1125"/>
                    <a:pt x="1683" y="1099"/>
                    <a:pt x="1680" y="1072"/>
                  </a:cubicBezTo>
                  <a:cubicBezTo>
                    <a:pt x="1699" y="1074"/>
                    <a:pt x="1718" y="1075"/>
                    <a:pt x="1738" y="1076"/>
                  </a:cubicBezTo>
                  <a:cubicBezTo>
                    <a:pt x="1741" y="1101"/>
                    <a:pt x="1746" y="1126"/>
                    <a:pt x="1752" y="1151"/>
                  </a:cubicBezTo>
                  <a:cubicBezTo>
                    <a:pt x="1737" y="1152"/>
                    <a:pt x="1723" y="1152"/>
                    <a:pt x="1708" y="1152"/>
                  </a:cubicBezTo>
                  <a:moveTo>
                    <a:pt x="1987" y="1119"/>
                  </a:moveTo>
                  <a:cubicBezTo>
                    <a:pt x="1985" y="1115"/>
                    <a:pt x="1984" y="1110"/>
                    <a:pt x="1983" y="1106"/>
                  </a:cubicBezTo>
                  <a:cubicBezTo>
                    <a:pt x="1981" y="1097"/>
                    <a:pt x="1979" y="1088"/>
                    <a:pt x="1978" y="1080"/>
                  </a:cubicBezTo>
                  <a:cubicBezTo>
                    <a:pt x="1996" y="1080"/>
                    <a:pt x="2022" y="1079"/>
                    <a:pt x="2047" y="1075"/>
                  </a:cubicBezTo>
                  <a:cubicBezTo>
                    <a:pt x="2053" y="1074"/>
                    <a:pt x="2058" y="1073"/>
                    <a:pt x="2063" y="1072"/>
                  </a:cubicBezTo>
                  <a:cubicBezTo>
                    <a:pt x="2062" y="1066"/>
                    <a:pt x="2062" y="1066"/>
                    <a:pt x="2062" y="1066"/>
                  </a:cubicBezTo>
                  <a:cubicBezTo>
                    <a:pt x="2063" y="1066"/>
                    <a:pt x="2063" y="1066"/>
                    <a:pt x="2063" y="1066"/>
                  </a:cubicBezTo>
                  <a:cubicBezTo>
                    <a:pt x="2064" y="1069"/>
                    <a:pt x="2064" y="1071"/>
                    <a:pt x="2065" y="1074"/>
                  </a:cubicBezTo>
                  <a:cubicBezTo>
                    <a:pt x="2049" y="1093"/>
                    <a:pt x="2011" y="1110"/>
                    <a:pt x="1987" y="1119"/>
                  </a:cubicBezTo>
                  <a:moveTo>
                    <a:pt x="1682" y="1152"/>
                  </a:moveTo>
                  <a:cubicBezTo>
                    <a:pt x="1657" y="1151"/>
                    <a:pt x="1633" y="1150"/>
                    <a:pt x="1609" y="1149"/>
                  </a:cubicBezTo>
                  <a:cubicBezTo>
                    <a:pt x="1604" y="1121"/>
                    <a:pt x="1601" y="1093"/>
                    <a:pt x="1599" y="1066"/>
                  </a:cubicBezTo>
                  <a:cubicBezTo>
                    <a:pt x="1622" y="1068"/>
                    <a:pt x="1645" y="1070"/>
                    <a:pt x="1669" y="1072"/>
                  </a:cubicBezTo>
                  <a:cubicBezTo>
                    <a:pt x="1671" y="1098"/>
                    <a:pt x="1676" y="1125"/>
                    <a:pt x="1682" y="1152"/>
                  </a:cubicBezTo>
                  <a:moveTo>
                    <a:pt x="1598" y="1148"/>
                  </a:moveTo>
                  <a:cubicBezTo>
                    <a:pt x="1573" y="1146"/>
                    <a:pt x="1549" y="1144"/>
                    <a:pt x="1525" y="1142"/>
                  </a:cubicBezTo>
                  <a:cubicBezTo>
                    <a:pt x="1521" y="1113"/>
                    <a:pt x="1518" y="1085"/>
                    <a:pt x="1516" y="1057"/>
                  </a:cubicBezTo>
                  <a:cubicBezTo>
                    <a:pt x="1540" y="1059"/>
                    <a:pt x="1563" y="1062"/>
                    <a:pt x="1588" y="1064"/>
                  </a:cubicBezTo>
                  <a:cubicBezTo>
                    <a:pt x="1590" y="1092"/>
                    <a:pt x="1593" y="1120"/>
                    <a:pt x="1598" y="1148"/>
                  </a:cubicBezTo>
                  <a:moveTo>
                    <a:pt x="1514" y="1140"/>
                  </a:moveTo>
                  <a:cubicBezTo>
                    <a:pt x="1484" y="1137"/>
                    <a:pt x="1456" y="1133"/>
                    <a:pt x="1429" y="1129"/>
                  </a:cubicBezTo>
                  <a:cubicBezTo>
                    <a:pt x="1425" y="1100"/>
                    <a:pt x="1424" y="1072"/>
                    <a:pt x="1423" y="1045"/>
                  </a:cubicBezTo>
                  <a:cubicBezTo>
                    <a:pt x="1449" y="1049"/>
                    <a:pt x="1477" y="1052"/>
                    <a:pt x="1505" y="1055"/>
                  </a:cubicBezTo>
                  <a:cubicBezTo>
                    <a:pt x="1506" y="1083"/>
                    <a:pt x="1509" y="1112"/>
                    <a:pt x="1514" y="1140"/>
                  </a:cubicBezTo>
                  <a:moveTo>
                    <a:pt x="1976" y="1068"/>
                  </a:moveTo>
                  <a:cubicBezTo>
                    <a:pt x="1974" y="1055"/>
                    <a:pt x="1972" y="1043"/>
                    <a:pt x="1971" y="1032"/>
                  </a:cubicBezTo>
                  <a:cubicBezTo>
                    <a:pt x="1989" y="1038"/>
                    <a:pt x="2014" y="1048"/>
                    <a:pt x="2044" y="1063"/>
                  </a:cubicBezTo>
                  <a:cubicBezTo>
                    <a:pt x="2019" y="1067"/>
                    <a:pt x="1993" y="1068"/>
                    <a:pt x="1976" y="1068"/>
                  </a:cubicBezTo>
                  <a:moveTo>
                    <a:pt x="1898" y="1069"/>
                  </a:moveTo>
                  <a:cubicBezTo>
                    <a:pt x="1896" y="1051"/>
                    <a:pt x="1895" y="1035"/>
                    <a:pt x="1895" y="1019"/>
                  </a:cubicBezTo>
                  <a:cubicBezTo>
                    <a:pt x="1895" y="1018"/>
                    <a:pt x="1895" y="1017"/>
                    <a:pt x="1895" y="1016"/>
                  </a:cubicBezTo>
                  <a:cubicBezTo>
                    <a:pt x="1909" y="1018"/>
                    <a:pt x="1923" y="1020"/>
                    <a:pt x="1937" y="1023"/>
                  </a:cubicBezTo>
                  <a:cubicBezTo>
                    <a:pt x="1937" y="1023"/>
                    <a:pt x="1945" y="1024"/>
                    <a:pt x="1960" y="1029"/>
                  </a:cubicBezTo>
                  <a:cubicBezTo>
                    <a:pt x="1961" y="1041"/>
                    <a:pt x="1962" y="1055"/>
                    <a:pt x="1964" y="1068"/>
                  </a:cubicBezTo>
                  <a:cubicBezTo>
                    <a:pt x="1959" y="1068"/>
                    <a:pt x="1955" y="1068"/>
                    <a:pt x="1955" y="1068"/>
                  </a:cubicBezTo>
                  <a:cubicBezTo>
                    <a:pt x="1936" y="1068"/>
                    <a:pt x="1917" y="1069"/>
                    <a:pt x="1898" y="1069"/>
                  </a:cubicBezTo>
                  <a:moveTo>
                    <a:pt x="1887" y="1069"/>
                  </a:moveTo>
                  <a:cubicBezTo>
                    <a:pt x="1863" y="1069"/>
                    <a:pt x="1839" y="1068"/>
                    <a:pt x="1816" y="1068"/>
                  </a:cubicBezTo>
                  <a:cubicBezTo>
                    <a:pt x="1814" y="1049"/>
                    <a:pt x="1813" y="1031"/>
                    <a:pt x="1813" y="1013"/>
                  </a:cubicBezTo>
                  <a:cubicBezTo>
                    <a:pt x="1813" y="1009"/>
                    <a:pt x="1813" y="1006"/>
                    <a:pt x="1813" y="1002"/>
                  </a:cubicBezTo>
                  <a:cubicBezTo>
                    <a:pt x="1837" y="1006"/>
                    <a:pt x="1860" y="1010"/>
                    <a:pt x="1884" y="1014"/>
                  </a:cubicBezTo>
                  <a:cubicBezTo>
                    <a:pt x="1884" y="1015"/>
                    <a:pt x="1884" y="1017"/>
                    <a:pt x="1884" y="1018"/>
                  </a:cubicBezTo>
                  <a:cubicBezTo>
                    <a:pt x="1884" y="1034"/>
                    <a:pt x="1885" y="1051"/>
                    <a:pt x="1887" y="1069"/>
                  </a:cubicBezTo>
                  <a:moveTo>
                    <a:pt x="2049" y="993"/>
                  </a:moveTo>
                  <a:cubicBezTo>
                    <a:pt x="2030" y="993"/>
                    <a:pt x="2030" y="993"/>
                    <a:pt x="2030" y="993"/>
                  </a:cubicBezTo>
                  <a:cubicBezTo>
                    <a:pt x="2038" y="1006"/>
                    <a:pt x="2045" y="1019"/>
                    <a:pt x="2051" y="1033"/>
                  </a:cubicBezTo>
                  <a:cubicBezTo>
                    <a:pt x="2043" y="1019"/>
                    <a:pt x="2035" y="1006"/>
                    <a:pt x="2026" y="993"/>
                  </a:cubicBezTo>
                  <a:cubicBezTo>
                    <a:pt x="2007" y="993"/>
                    <a:pt x="2007" y="993"/>
                    <a:pt x="2007" y="993"/>
                  </a:cubicBezTo>
                  <a:cubicBezTo>
                    <a:pt x="2014" y="1001"/>
                    <a:pt x="2021" y="1010"/>
                    <a:pt x="2028" y="1020"/>
                  </a:cubicBezTo>
                  <a:cubicBezTo>
                    <a:pt x="2017" y="1009"/>
                    <a:pt x="2007" y="1000"/>
                    <a:pt x="1997" y="993"/>
                  </a:cubicBezTo>
                  <a:cubicBezTo>
                    <a:pt x="1977" y="993"/>
                    <a:pt x="1977" y="993"/>
                    <a:pt x="1977" y="993"/>
                  </a:cubicBezTo>
                  <a:cubicBezTo>
                    <a:pt x="1995" y="1005"/>
                    <a:pt x="2015" y="1022"/>
                    <a:pt x="2038" y="1047"/>
                  </a:cubicBezTo>
                  <a:cubicBezTo>
                    <a:pt x="2010" y="1033"/>
                    <a:pt x="1987" y="1025"/>
                    <a:pt x="1970" y="1019"/>
                  </a:cubicBezTo>
                  <a:cubicBezTo>
                    <a:pt x="1970" y="1014"/>
                    <a:pt x="1970" y="1008"/>
                    <a:pt x="1970" y="1003"/>
                  </a:cubicBezTo>
                  <a:cubicBezTo>
                    <a:pt x="1970" y="999"/>
                    <a:pt x="1970" y="996"/>
                    <a:pt x="1970" y="993"/>
                  </a:cubicBezTo>
                  <a:cubicBezTo>
                    <a:pt x="1959" y="993"/>
                    <a:pt x="1959" y="993"/>
                    <a:pt x="1959" y="993"/>
                  </a:cubicBezTo>
                  <a:cubicBezTo>
                    <a:pt x="1959" y="996"/>
                    <a:pt x="1959" y="999"/>
                    <a:pt x="1959" y="1002"/>
                  </a:cubicBezTo>
                  <a:cubicBezTo>
                    <a:pt x="1959" y="1006"/>
                    <a:pt x="1959" y="1011"/>
                    <a:pt x="1959" y="1016"/>
                  </a:cubicBezTo>
                  <a:cubicBezTo>
                    <a:pt x="1946" y="1012"/>
                    <a:pt x="1939" y="1011"/>
                    <a:pt x="1938" y="1011"/>
                  </a:cubicBezTo>
                  <a:cubicBezTo>
                    <a:pt x="1924" y="1008"/>
                    <a:pt x="1910" y="1006"/>
                    <a:pt x="1896" y="1004"/>
                  </a:cubicBezTo>
                  <a:cubicBezTo>
                    <a:pt x="1896" y="1000"/>
                    <a:pt x="1896" y="996"/>
                    <a:pt x="1896" y="993"/>
                  </a:cubicBezTo>
                  <a:cubicBezTo>
                    <a:pt x="1885" y="993"/>
                    <a:pt x="1885" y="993"/>
                    <a:pt x="1885" y="993"/>
                  </a:cubicBezTo>
                  <a:cubicBezTo>
                    <a:pt x="1884" y="996"/>
                    <a:pt x="1884" y="999"/>
                    <a:pt x="1884" y="1002"/>
                  </a:cubicBezTo>
                  <a:cubicBezTo>
                    <a:pt x="1867" y="999"/>
                    <a:pt x="1849" y="996"/>
                    <a:pt x="1832" y="993"/>
                  </a:cubicBezTo>
                  <a:cubicBezTo>
                    <a:pt x="1753" y="993"/>
                    <a:pt x="1753" y="993"/>
                    <a:pt x="1753" y="993"/>
                  </a:cubicBezTo>
                  <a:cubicBezTo>
                    <a:pt x="1769" y="995"/>
                    <a:pt x="1785" y="998"/>
                    <a:pt x="1802" y="1000"/>
                  </a:cubicBezTo>
                  <a:cubicBezTo>
                    <a:pt x="1802" y="1004"/>
                    <a:pt x="1802" y="1009"/>
                    <a:pt x="1802" y="1013"/>
                  </a:cubicBezTo>
                  <a:cubicBezTo>
                    <a:pt x="1802" y="1030"/>
                    <a:pt x="1802" y="1049"/>
                    <a:pt x="1804" y="1067"/>
                  </a:cubicBezTo>
                  <a:cubicBezTo>
                    <a:pt x="1785" y="1067"/>
                    <a:pt x="1767" y="1066"/>
                    <a:pt x="1748" y="1065"/>
                  </a:cubicBezTo>
                  <a:cubicBezTo>
                    <a:pt x="1745" y="1040"/>
                    <a:pt x="1744" y="1016"/>
                    <a:pt x="1744" y="993"/>
                  </a:cubicBezTo>
                  <a:cubicBezTo>
                    <a:pt x="1733" y="993"/>
                    <a:pt x="1733" y="993"/>
                    <a:pt x="1733" y="993"/>
                  </a:cubicBezTo>
                  <a:cubicBezTo>
                    <a:pt x="1733" y="1016"/>
                    <a:pt x="1734" y="1040"/>
                    <a:pt x="1736" y="1064"/>
                  </a:cubicBezTo>
                  <a:cubicBezTo>
                    <a:pt x="1717" y="1063"/>
                    <a:pt x="1698" y="1062"/>
                    <a:pt x="1679" y="1060"/>
                  </a:cubicBezTo>
                  <a:cubicBezTo>
                    <a:pt x="1676" y="1037"/>
                    <a:pt x="1675" y="1015"/>
                    <a:pt x="1675" y="993"/>
                  </a:cubicBezTo>
                  <a:cubicBezTo>
                    <a:pt x="1664" y="993"/>
                    <a:pt x="1664" y="993"/>
                    <a:pt x="1664" y="993"/>
                  </a:cubicBezTo>
                  <a:cubicBezTo>
                    <a:pt x="1664" y="1015"/>
                    <a:pt x="1665" y="1037"/>
                    <a:pt x="1667" y="1059"/>
                  </a:cubicBezTo>
                  <a:cubicBezTo>
                    <a:pt x="1644" y="1058"/>
                    <a:pt x="1621" y="1056"/>
                    <a:pt x="1598" y="1053"/>
                  </a:cubicBezTo>
                  <a:cubicBezTo>
                    <a:pt x="1598" y="1039"/>
                    <a:pt x="1597" y="1024"/>
                    <a:pt x="1597" y="1009"/>
                  </a:cubicBezTo>
                  <a:cubicBezTo>
                    <a:pt x="1597" y="1004"/>
                    <a:pt x="1597" y="998"/>
                    <a:pt x="1597" y="993"/>
                  </a:cubicBezTo>
                  <a:cubicBezTo>
                    <a:pt x="1586" y="993"/>
                    <a:pt x="1586" y="993"/>
                    <a:pt x="1586" y="993"/>
                  </a:cubicBezTo>
                  <a:cubicBezTo>
                    <a:pt x="1586" y="999"/>
                    <a:pt x="1586" y="1004"/>
                    <a:pt x="1586" y="1010"/>
                  </a:cubicBezTo>
                  <a:cubicBezTo>
                    <a:pt x="1586" y="1024"/>
                    <a:pt x="1586" y="1038"/>
                    <a:pt x="1587" y="1052"/>
                  </a:cubicBezTo>
                  <a:cubicBezTo>
                    <a:pt x="1563" y="1050"/>
                    <a:pt x="1539" y="1047"/>
                    <a:pt x="1516" y="1045"/>
                  </a:cubicBezTo>
                  <a:cubicBezTo>
                    <a:pt x="1515" y="1032"/>
                    <a:pt x="1515" y="1020"/>
                    <a:pt x="1515" y="1008"/>
                  </a:cubicBezTo>
                  <a:cubicBezTo>
                    <a:pt x="1515" y="1003"/>
                    <a:pt x="1515" y="998"/>
                    <a:pt x="1515" y="993"/>
                  </a:cubicBezTo>
                  <a:cubicBezTo>
                    <a:pt x="1504" y="993"/>
                    <a:pt x="1504" y="993"/>
                    <a:pt x="1504" y="993"/>
                  </a:cubicBezTo>
                  <a:cubicBezTo>
                    <a:pt x="1504" y="998"/>
                    <a:pt x="1504" y="1003"/>
                    <a:pt x="1504" y="1008"/>
                  </a:cubicBezTo>
                  <a:cubicBezTo>
                    <a:pt x="1504" y="1020"/>
                    <a:pt x="1504" y="1032"/>
                    <a:pt x="1504" y="1043"/>
                  </a:cubicBezTo>
                  <a:cubicBezTo>
                    <a:pt x="1476" y="1040"/>
                    <a:pt x="1449" y="1036"/>
                    <a:pt x="1423" y="1033"/>
                  </a:cubicBezTo>
                  <a:cubicBezTo>
                    <a:pt x="1423" y="1019"/>
                    <a:pt x="1424" y="1006"/>
                    <a:pt x="1425" y="993"/>
                  </a:cubicBezTo>
                  <a:cubicBezTo>
                    <a:pt x="1413" y="993"/>
                    <a:pt x="1413" y="993"/>
                    <a:pt x="1413" y="993"/>
                  </a:cubicBezTo>
                  <a:cubicBezTo>
                    <a:pt x="1413" y="1006"/>
                    <a:pt x="1412" y="1018"/>
                    <a:pt x="1412" y="1031"/>
                  </a:cubicBezTo>
                  <a:cubicBezTo>
                    <a:pt x="1407" y="1031"/>
                    <a:pt x="1401" y="1030"/>
                    <a:pt x="1395" y="1029"/>
                  </a:cubicBezTo>
                  <a:cubicBezTo>
                    <a:pt x="1395" y="1041"/>
                    <a:pt x="1395" y="1041"/>
                    <a:pt x="1395" y="1041"/>
                  </a:cubicBezTo>
                  <a:cubicBezTo>
                    <a:pt x="1401" y="1042"/>
                    <a:pt x="1406" y="1043"/>
                    <a:pt x="1412" y="1043"/>
                  </a:cubicBezTo>
                  <a:cubicBezTo>
                    <a:pt x="1412" y="1071"/>
                    <a:pt x="1414" y="1099"/>
                    <a:pt x="1417" y="1127"/>
                  </a:cubicBezTo>
                  <a:cubicBezTo>
                    <a:pt x="1410" y="1126"/>
                    <a:pt x="1403" y="1125"/>
                    <a:pt x="1395" y="1123"/>
                  </a:cubicBezTo>
                  <a:cubicBezTo>
                    <a:pt x="1395" y="1135"/>
                    <a:pt x="1395" y="1135"/>
                    <a:pt x="1395" y="1135"/>
                  </a:cubicBezTo>
                  <a:cubicBezTo>
                    <a:pt x="1403" y="1137"/>
                    <a:pt x="1411" y="1138"/>
                    <a:pt x="1419" y="1139"/>
                  </a:cubicBezTo>
                  <a:cubicBezTo>
                    <a:pt x="1423" y="1169"/>
                    <a:pt x="1429" y="1199"/>
                    <a:pt x="1437" y="1229"/>
                  </a:cubicBezTo>
                  <a:cubicBezTo>
                    <a:pt x="1423" y="1226"/>
                    <a:pt x="1409" y="1224"/>
                    <a:pt x="1395" y="1221"/>
                  </a:cubicBezTo>
                  <a:cubicBezTo>
                    <a:pt x="1395" y="1233"/>
                    <a:pt x="1395" y="1233"/>
                    <a:pt x="1395" y="1233"/>
                  </a:cubicBezTo>
                  <a:cubicBezTo>
                    <a:pt x="1410" y="1236"/>
                    <a:pt x="1425" y="1239"/>
                    <a:pt x="1440" y="1241"/>
                  </a:cubicBezTo>
                  <a:cubicBezTo>
                    <a:pt x="1449" y="1271"/>
                    <a:pt x="1460" y="1300"/>
                    <a:pt x="1473" y="1329"/>
                  </a:cubicBezTo>
                  <a:cubicBezTo>
                    <a:pt x="1446" y="1324"/>
                    <a:pt x="1420" y="1318"/>
                    <a:pt x="1395" y="1311"/>
                  </a:cubicBezTo>
                  <a:cubicBezTo>
                    <a:pt x="1395" y="1323"/>
                    <a:pt x="1395" y="1323"/>
                    <a:pt x="1395" y="1323"/>
                  </a:cubicBezTo>
                  <a:cubicBezTo>
                    <a:pt x="1422" y="1330"/>
                    <a:pt x="1450" y="1337"/>
                    <a:pt x="1480" y="1342"/>
                  </a:cubicBezTo>
                  <a:cubicBezTo>
                    <a:pt x="1495" y="1373"/>
                    <a:pt x="1514" y="1405"/>
                    <a:pt x="1537" y="1435"/>
                  </a:cubicBezTo>
                  <a:cubicBezTo>
                    <a:pt x="1508" y="1432"/>
                    <a:pt x="1480" y="1428"/>
                    <a:pt x="1454" y="1422"/>
                  </a:cubicBezTo>
                  <a:cubicBezTo>
                    <a:pt x="1431" y="1390"/>
                    <a:pt x="1411" y="1358"/>
                    <a:pt x="1395" y="1326"/>
                  </a:cubicBezTo>
                  <a:cubicBezTo>
                    <a:pt x="1395" y="1351"/>
                    <a:pt x="1395" y="1351"/>
                    <a:pt x="1395" y="1351"/>
                  </a:cubicBezTo>
                  <a:cubicBezTo>
                    <a:pt x="1407" y="1373"/>
                    <a:pt x="1421" y="1396"/>
                    <a:pt x="1437" y="1418"/>
                  </a:cubicBezTo>
                  <a:cubicBezTo>
                    <a:pt x="1422" y="1414"/>
                    <a:pt x="1409" y="1411"/>
                    <a:pt x="1395" y="1406"/>
                  </a:cubicBezTo>
                  <a:cubicBezTo>
                    <a:pt x="1395" y="1420"/>
                    <a:pt x="1395" y="1420"/>
                    <a:pt x="1395" y="1420"/>
                  </a:cubicBezTo>
                  <a:cubicBezTo>
                    <a:pt x="1411" y="1425"/>
                    <a:pt x="1427" y="1429"/>
                    <a:pt x="1444" y="1433"/>
                  </a:cubicBezTo>
                  <a:cubicBezTo>
                    <a:pt x="1445" y="1433"/>
                    <a:pt x="1447" y="1434"/>
                    <a:pt x="1448" y="1434"/>
                  </a:cubicBezTo>
                  <a:cubicBezTo>
                    <a:pt x="1462" y="1452"/>
                    <a:pt x="1477" y="1471"/>
                    <a:pt x="1493" y="1489"/>
                  </a:cubicBezTo>
                  <a:cubicBezTo>
                    <a:pt x="1509" y="1489"/>
                    <a:pt x="1509" y="1489"/>
                    <a:pt x="1509" y="1489"/>
                  </a:cubicBezTo>
                  <a:cubicBezTo>
                    <a:pt x="1493" y="1472"/>
                    <a:pt x="1479" y="1455"/>
                    <a:pt x="1465" y="1438"/>
                  </a:cubicBezTo>
                  <a:cubicBezTo>
                    <a:pt x="1491" y="1443"/>
                    <a:pt x="1518" y="1446"/>
                    <a:pt x="1547" y="1449"/>
                  </a:cubicBezTo>
                  <a:cubicBezTo>
                    <a:pt x="1558" y="1462"/>
                    <a:pt x="1570" y="1476"/>
                    <a:pt x="1582" y="1489"/>
                  </a:cubicBezTo>
                  <a:cubicBezTo>
                    <a:pt x="1598" y="1489"/>
                    <a:pt x="1598" y="1489"/>
                    <a:pt x="1598" y="1489"/>
                  </a:cubicBezTo>
                  <a:cubicBezTo>
                    <a:pt x="1585" y="1476"/>
                    <a:pt x="1574" y="1463"/>
                    <a:pt x="1563" y="1450"/>
                  </a:cubicBezTo>
                  <a:cubicBezTo>
                    <a:pt x="1573" y="1450"/>
                    <a:pt x="1584" y="1450"/>
                    <a:pt x="1595" y="1450"/>
                  </a:cubicBezTo>
                  <a:cubicBezTo>
                    <a:pt x="1612" y="1450"/>
                    <a:pt x="1631" y="1450"/>
                    <a:pt x="1650" y="1448"/>
                  </a:cubicBezTo>
                  <a:cubicBezTo>
                    <a:pt x="1661" y="1462"/>
                    <a:pt x="1674" y="1476"/>
                    <a:pt x="1687" y="1489"/>
                  </a:cubicBezTo>
                  <a:cubicBezTo>
                    <a:pt x="1704" y="1489"/>
                    <a:pt x="1704" y="1489"/>
                    <a:pt x="1704" y="1489"/>
                  </a:cubicBezTo>
                  <a:cubicBezTo>
                    <a:pt x="1690" y="1475"/>
                    <a:pt x="1676" y="1461"/>
                    <a:pt x="1664" y="1447"/>
                  </a:cubicBezTo>
                  <a:cubicBezTo>
                    <a:pt x="1676" y="1446"/>
                    <a:pt x="1688" y="1444"/>
                    <a:pt x="1700" y="1443"/>
                  </a:cubicBezTo>
                  <a:cubicBezTo>
                    <a:pt x="1712" y="1441"/>
                    <a:pt x="1725" y="1438"/>
                    <a:pt x="1737" y="1436"/>
                  </a:cubicBezTo>
                  <a:cubicBezTo>
                    <a:pt x="1751" y="1451"/>
                    <a:pt x="1767" y="1465"/>
                    <a:pt x="1783" y="1479"/>
                  </a:cubicBezTo>
                  <a:cubicBezTo>
                    <a:pt x="1773" y="1482"/>
                    <a:pt x="1762" y="1486"/>
                    <a:pt x="1752" y="1489"/>
                  </a:cubicBezTo>
                  <a:cubicBezTo>
                    <a:pt x="1790" y="1489"/>
                    <a:pt x="1790" y="1489"/>
                    <a:pt x="1790" y="1489"/>
                  </a:cubicBezTo>
                  <a:cubicBezTo>
                    <a:pt x="1900" y="1450"/>
                    <a:pt x="1968" y="1389"/>
                    <a:pt x="1974" y="1383"/>
                  </a:cubicBezTo>
                  <a:cubicBezTo>
                    <a:pt x="1976" y="1382"/>
                    <a:pt x="1983" y="1377"/>
                    <a:pt x="1993" y="1368"/>
                  </a:cubicBezTo>
                  <a:cubicBezTo>
                    <a:pt x="1994" y="1369"/>
                    <a:pt x="1995" y="1369"/>
                    <a:pt x="1996" y="1370"/>
                  </a:cubicBezTo>
                  <a:cubicBezTo>
                    <a:pt x="1999" y="1363"/>
                    <a:pt x="1999" y="1363"/>
                    <a:pt x="1999" y="1363"/>
                  </a:cubicBezTo>
                  <a:cubicBezTo>
                    <a:pt x="2011" y="1352"/>
                    <a:pt x="2026" y="1336"/>
                    <a:pt x="2040" y="1317"/>
                  </a:cubicBezTo>
                  <a:cubicBezTo>
                    <a:pt x="2069" y="1307"/>
                    <a:pt x="2086" y="1268"/>
                    <a:pt x="2090" y="1214"/>
                  </a:cubicBezTo>
                  <a:cubicBezTo>
                    <a:pt x="2091" y="1205"/>
                    <a:pt x="2092" y="1197"/>
                    <a:pt x="2092" y="1187"/>
                  </a:cubicBezTo>
                  <a:cubicBezTo>
                    <a:pt x="2092" y="1176"/>
                    <a:pt x="2091" y="1163"/>
                    <a:pt x="2090" y="1150"/>
                  </a:cubicBezTo>
                  <a:cubicBezTo>
                    <a:pt x="2089" y="1135"/>
                    <a:pt x="2088" y="1119"/>
                    <a:pt x="2085" y="1102"/>
                  </a:cubicBezTo>
                  <a:cubicBezTo>
                    <a:pt x="2083" y="1093"/>
                    <a:pt x="2081" y="1084"/>
                    <a:pt x="2078" y="1075"/>
                  </a:cubicBezTo>
                  <a:cubicBezTo>
                    <a:pt x="2080" y="1073"/>
                    <a:pt x="2081" y="1071"/>
                    <a:pt x="2082" y="1069"/>
                  </a:cubicBezTo>
                  <a:cubicBezTo>
                    <a:pt x="2076" y="1067"/>
                    <a:pt x="2076" y="1067"/>
                    <a:pt x="2076" y="1067"/>
                  </a:cubicBezTo>
                  <a:cubicBezTo>
                    <a:pt x="2074" y="1059"/>
                    <a:pt x="2071" y="1052"/>
                    <a:pt x="2068" y="1045"/>
                  </a:cubicBezTo>
                  <a:cubicBezTo>
                    <a:pt x="2068" y="1044"/>
                    <a:pt x="2068" y="1043"/>
                    <a:pt x="2068" y="1042"/>
                  </a:cubicBezTo>
                  <a:cubicBezTo>
                    <a:pt x="2067" y="1039"/>
                    <a:pt x="2065" y="1036"/>
                    <a:pt x="2064" y="1032"/>
                  </a:cubicBezTo>
                  <a:cubicBezTo>
                    <a:pt x="2063" y="1027"/>
                    <a:pt x="2061" y="1023"/>
                    <a:pt x="2059" y="1018"/>
                  </a:cubicBezTo>
                  <a:cubicBezTo>
                    <a:pt x="2059" y="1017"/>
                    <a:pt x="2058" y="1016"/>
                    <a:pt x="2058" y="1015"/>
                  </a:cubicBezTo>
                  <a:cubicBezTo>
                    <a:pt x="2055" y="1007"/>
                    <a:pt x="2052" y="1000"/>
                    <a:pt x="2049" y="993"/>
                  </a:cubicBezTo>
                  <a:moveTo>
                    <a:pt x="697" y="969"/>
                  </a:moveTo>
                  <a:cubicBezTo>
                    <a:pt x="697" y="993"/>
                    <a:pt x="697" y="993"/>
                    <a:pt x="697" y="993"/>
                  </a:cubicBezTo>
                  <a:cubicBezTo>
                    <a:pt x="702" y="993"/>
                    <a:pt x="702" y="993"/>
                    <a:pt x="702" y="993"/>
                  </a:cubicBezTo>
                  <a:cubicBezTo>
                    <a:pt x="700" y="985"/>
                    <a:pt x="698" y="977"/>
                    <a:pt x="697" y="969"/>
                  </a:cubicBezTo>
                  <a:moveTo>
                    <a:pt x="1126" y="974"/>
                  </a:moveTo>
                  <a:cubicBezTo>
                    <a:pt x="1119" y="972"/>
                    <a:pt x="1110" y="971"/>
                    <a:pt x="1096" y="970"/>
                  </a:cubicBezTo>
                  <a:cubicBezTo>
                    <a:pt x="1095" y="958"/>
                    <a:pt x="1095" y="947"/>
                    <a:pt x="1095" y="935"/>
                  </a:cubicBezTo>
                  <a:cubicBezTo>
                    <a:pt x="1112" y="938"/>
                    <a:pt x="1122" y="941"/>
                    <a:pt x="1128" y="944"/>
                  </a:cubicBezTo>
                  <a:cubicBezTo>
                    <a:pt x="1127" y="954"/>
                    <a:pt x="1126" y="964"/>
                    <a:pt x="1126" y="974"/>
                  </a:cubicBezTo>
                  <a:moveTo>
                    <a:pt x="1078" y="968"/>
                  </a:moveTo>
                  <a:cubicBezTo>
                    <a:pt x="1071" y="968"/>
                    <a:pt x="1064" y="968"/>
                    <a:pt x="1056" y="967"/>
                  </a:cubicBezTo>
                  <a:cubicBezTo>
                    <a:pt x="1056" y="955"/>
                    <a:pt x="1057" y="943"/>
                    <a:pt x="1058" y="932"/>
                  </a:cubicBezTo>
                  <a:cubicBezTo>
                    <a:pt x="1065" y="932"/>
                    <a:pt x="1071" y="933"/>
                    <a:pt x="1077" y="933"/>
                  </a:cubicBezTo>
                  <a:cubicBezTo>
                    <a:pt x="1077" y="934"/>
                    <a:pt x="1077" y="936"/>
                    <a:pt x="1077" y="937"/>
                  </a:cubicBezTo>
                  <a:cubicBezTo>
                    <a:pt x="1077" y="947"/>
                    <a:pt x="1077" y="958"/>
                    <a:pt x="1078" y="968"/>
                  </a:cubicBezTo>
                  <a:moveTo>
                    <a:pt x="989" y="968"/>
                  </a:moveTo>
                  <a:cubicBezTo>
                    <a:pt x="989" y="961"/>
                    <a:pt x="989" y="953"/>
                    <a:pt x="989" y="946"/>
                  </a:cubicBezTo>
                  <a:cubicBezTo>
                    <a:pt x="989" y="941"/>
                    <a:pt x="989" y="935"/>
                    <a:pt x="989" y="930"/>
                  </a:cubicBezTo>
                  <a:cubicBezTo>
                    <a:pt x="995" y="930"/>
                    <a:pt x="1000" y="930"/>
                    <a:pt x="1005" y="930"/>
                  </a:cubicBezTo>
                  <a:cubicBezTo>
                    <a:pt x="1021" y="930"/>
                    <a:pt x="1034" y="930"/>
                    <a:pt x="1047" y="931"/>
                  </a:cubicBezTo>
                  <a:cubicBezTo>
                    <a:pt x="1046" y="943"/>
                    <a:pt x="1045" y="955"/>
                    <a:pt x="1045" y="967"/>
                  </a:cubicBezTo>
                  <a:cubicBezTo>
                    <a:pt x="1043" y="967"/>
                    <a:pt x="1042" y="967"/>
                    <a:pt x="1040" y="967"/>
                  </a:cubicBezTo>
                  <a:cubicBezTo>
                    <a:pt x="1028" y="967"/>
                    <a:pt x="1014" y="968"/>
                    <a:pt x="998" y="968"/>
                  </a:cubicBezTo>
                  <a:cubicBezTo>
                    <a:pt x="996" y="968"/>
                    <a:pt x="995" y="968"/>
                    <a:pt x="993" y="968"/>
                  </a:cubicBezTo>
                  <a:cubicBezTo>
                    <a:pt x="993" y="968"/>
                    <a:pt x="993" y="968"/>
                    <a:pt x="993" y="968"/>
                  </a:cubicBezTo>
                  <a:cubicBezTo>
                    <a:pt x="992" y="968"/>
                    <a:pt x="992" y="968"/>
                    <a:pt x="992" y="968"/>
                  </a:cubicBezTo>
                  <a:cubicBezTo>
                    <a:pt x="991" y="968"/>
                    <a:pt x="990" y="968"/>
                    <a:pt x="989" y="968"/>
                  </a:cubicBezTo>
                  <a:moveTo>
                    <a:pt x="978" y="968"/>
                  </a:moveTo>
                  <a:cubicBezTo>
                    <a:pt x="959" y="968"/>
                    <a:pt x="941" y="966"/>
                    <a:pt x="924" y="963"/>
                  </a:cubicBezTo>
                  <a:cubicBezTo>
                    <a:pt x="923" y="954"/>
                    <a:pt x="923" y="944"/>
                    <a:pt x="923" y="934"/>
                  </a:cubicBezTo>
                  <a:cubicBezTo>
                    <a:pt x="923" y="932"/>
                    <a:pt x="923" y="929"/>
                    <a:pt x="923" y="926"/>
                  </a:cubicBezTo>
                  <a:cubicBezTo>
                    <a:pt x="940" y="929"/>
                    <a:pt x="958" y="930"/>
                    <a:pt x="978" y="930"/>
                  </a:cubicBezTo>
                  <a:cubicBezTo>
                    <a:pt x="978" y="935"/>
                    <a:pt x="978" y="941"/>
                    <a:pt x="978" y="946"/>
                  </a:cubicBezTo>
                  <a:cubicBezTo>
                    <a:pt x="978" y="953"/>
                    <a:pt x="978" y="961"/>
                    <a:pt x="978" y="968"/>
                  </a:cubicBezTo>
                  <a:moveTo>
                    <a:pt x="914" y="962"/>
                  </a:moveTo>
                  <a:cubicBezTo>
                    <a:pt x="895" y="958"/>
                    <a:pt x="878" y="953"/>
                    <a:pt x="862" y="947"/>
                  </a:cubicBezTo>
                  <a:cubicBezTo>
                    <a:pt x="862" y="935"/>
                    <a:pt x="861" y="923"/>
                    <a:pt x="861" y="911"/>
                  </a:cubicBezTo>
                  <a:cubicBezTo>
                    <a:pt x="877" y="917"/>
                    <a:pt x="894" y="921"/>
                    <a:pt x="913" y="925"/>
                  </a:cubicBezTo>
                  <a:cubicBezTo>
                    <a:pt x="913" y="927"/>
                    <a:pt x="913" y="929"/>
                    <a:pt x="913" y="931"/>
                  </a:cubicBezTo>
                  <a:cubicBezTo>
                    <a:pt x="913" y="941"/>
                    <a:pt x="913" y="951"/>
                    <a:pt x="914" y="962"/>
                  </a:cubicBezTo>
                  <a:moveTo>
                    <a:pt x="1129" y="931"/>
                  </a:moveTo>
                  <a:cubicBezTo>
                    <a:pt x="1120" y="928"/>
                    <a:pt x="1109" y="925"/>
                    <a:pt x="1095" y="923"/>
                  </a:cubicBezTo>
                  <a:cubicBezTo>
                    <a:pt x="1095" y="912"/>
                    <a:pt x="1096" y="902"/>
                    <a:pt x="1097" y="891"/>
                  </a:cubicBezTo>
                  <a:cubicBezTo>
                    <a:pt x="1119" y="897"/>
                    <a:pt x="1128" y="903"/>
                    <a:pt x="1131" y="907"/>
                  </a:cubicBezTo>
                  <a:cubicBezTo>
                    <a:pt x="1130" y="915"/>
                    <a:pt x="1129" y="923"/>
                    <a:pt x="1129" y="931"/>
                  </a:cubicBezTo>
                  <a:moveTo>
                    <a:pt x="735" y="942"/>
                  </a:moveTo>
                  <a:cubicBezTo>
                    <a:pt x="733" y="923"/>
                    <a:pt x="732" y="904"/>
                    <a:pt x="732" y="886"/>
                  </a:cubicBezTo>
                  <a:cubicBezTo>
                    <a:pt x="740" y="890"/>
                    <a:pt x="750" y="897"/>
                    <a:pt x="762" y="905"/>
                  </a:cubicBezTo>
                  <a:cubicBezTo>
                    <a:pt x="771" y="911"/>
                    <a:pt x="781" y="918"/>
                    <a:pt x="793" y="925"/>
                  </a:cubicBezTo>
                  <a:cubicBezTo>
                    <a:pt x="793" y="938"/>
                    <a:pt x="794" y="951"/>
                    <a:pt x="796" y="965"/>
                  </a:cubicBezTo>
                  <a:cubicBezTo>
                    <a:pt x="794" y="964"/>
                    <a:pt x="793" y="963"/>
                    <a:pt x="792" y="963"/>
                  </a:cubicBezTo>
                  <a:cubicBezTo>
                    <a:pt x="770" y="951"/>
                    <a:pt x="752" y="942"/>
                    <a:pt x="738" y="942"/>
                  </a:cubicBezTo>
                  <a:cubicBezTo>
                    <a:pt x="737" y="942"/>
                    <a:pt x="736" y="942"/>
                    <a:pt x="735" y="942"/>
                  </a:cubicBezTo>
                  <a:moveTo>
                    <a:pt x="1077" y="921"/>
                  </a:moveTo>
                  <a:cubicBezTo>
                    <a:pt x="1072" y="920"/>
                    <a:pt x="1065" y="920"/>
                    <a:pt x="1059" y="920"/>
                  </a:cubicBezTo>
                  <a:cubicBezTo>
                    <a:pt x="1060" y="908"/>
                    <a:pt x="1061" y="896"/>
                    <a:pt x="1063" y="885"/>
                  </a:cubicBezTo>
                  <a:cubicBezTo>
                    <a:pt x="1069" y="886"/>
                    <a:pt x="1074" y="887"/>
                    <a:pt x="1080" y="888"/>
                  </a:cubicBezTo>
                  <a:cubicBezTo>
                    <a:pt x="1079" y="899"/>
                    <a:pt x="1078" y="910"/>
                    <a:pt x="1077" y="921"/>
                  </a:cubicBezTo>
                  <a:moveTo>
                    <a:pt x="851" y="942"/>
                  </a:moveTo>
                  <a:cubicBezTo>
                    <a:pt x="833" y="935"/>
                    <a:pt x="817" y="926"/>
                    <a:pt x="803" y="918"/>
                  </a:cubicBezTo>
                  <a:cubicBezTo>
                    <a:pt x="803" y="907"/>
                    <a:pt x="803" y="897"/>
                    <a:pt x="803" y="887"/>
                  </a:cubicBezTo>
                  <a:cubicBezTo>
                    <a:pt x="803" y="885"/>
                    <a:pt x="803" y="884"/>
                    <a:pt x="803" y="883"/>
                  </a:cubicBezTo>
                  <a:cubicBezTo>
                    <a:pt x="817" y="892"/>
                    <a:pt x="833" y="900"/>
                    <a:pt x="850" y="907"/>
                  </a:cubicBezTo>
                  <a:cubicBezTo>
                    <a:pt x="850" y="908"/>
                    <a:pt x="850" y="910"/>
                    <a:pt x="850" y="911"/>
                  </a:cubicBezTo>
                  <a:cubicBezTo>
                    <a:pt x="850" y="921"/>
                    <a:pt x="850" y="932"/>
                    <a:pt x="851" y="942"/>
                  </a:cubicBezTo>
                  <a:moveTo>
                    <a:pt x="990" y="918"/>
                  </a:moveTo>
                  <a:cubicBezTo>
                    <a:pt x="990" y="905"/>
                    <a:pt x="991" y="893"/>
                    <a:pt x="992" y="881"/>
                  </a:cubicBezTo>
                  <a:cubicBezTo>
                    <a:pt x="1016" y="881"/>
                    <a:pt x="1035" y="882"/>
                    <a:pt x="1052" y="884"/>
                  </a:cubicBezTo>
                  <a:cubicBezTo>
                    <a:pt x="1050" y="895"/>
                    <a:pt x="1049" y="907"/>
                    <a:pt x="1048" y="919"/>
                  </a:cubicBezTo>
                  <a:cubicBezTo>
                    <a:pt x="1035" y="918"/>
                    <a:pt x="1020" y="918"/>
                    <a:pt x="1005" y="918"/>
                  </a:cubicBezTo>
                  <a:cubicBezTo>
                    <a:pt x="1000" y="918"/>
                    <a:pt x="995" y="918"/>
                    <a:pt x="990" y="918"/>
                  </a:cubicBezTo>
                  <a:moveTo>
                    <a:pt x="978" y="918"/>
                  </a:moveTo>
                  <a:cubicBezTo>
                    <a:pt x="959" y="918"/>
                    <a:pt x="940" y="917"/>
                    <a:pt x="923" y="914"/>
                  </a:cubicBezTo>
                  <a:cubicBezTo>
                    <a:pt x="924" y="902"/>
                    <a:pt x="924" y="889"/>
                    <a:pt x="925" y="877"/>
                  </a:cubicBezTo>
                  <a:cubicBezTo>
                    <a:pt x="940" y="879"/>
                    <a:pt x="956" y="880"/>
                    <a:pt x="972" y="880"/>
                  </a:cubicBezTo>
                  <a:cubicBezTo>
                    <a:pt x="975" y="880"/>
                    <a:pt x="978" y="880"/>
                    <a:pt x="981" y="880"/>
                  </a:cubicBezTo>
                  <a:cubicBezTo>
                    <a:pt x="980" y="893"/>
                    <a:pt x="979" y="905"/>
                    <a:pt x="978" y="918"/>
                  </a:cubicBezTo>
                  <a:moveTo>
                    <a:pt x="913" y="912"/>
                  </a:moveTo>
                  <a:cubicBezTo>
                    <a:pt x="894" y="909"/>
                    <a:pt x="877" y="904"/>
                    <a:pt x="861" y="898"/>
                  </a:cubicBezTo>
                  <a:cubicBezTo>
                    <a:pt x="862" y="886"/>
                    <a:pt x="862" y="875"/>
                    <a:pt x="863" y="864"/>
                  </a:cubicBezTo>
                  <a:cubicBezTo>
                    <a:pt x="879" y="869"/>
                    <a:pt x="896" y="873"/>
                    <a:pt x="915" y="876"/>
                  </a:cubicBezTo>
                  <a:cubicBezTo>
                    <a:pt x="914" y="888"/>
                    <a:pt x="914" y="900"/>
                    <a:pt x="913" y="912"/>
                  </a:cubicBezTo>
                  <a:moveTo>
                    <a:pt x="1133" y="894"/>
                  </a:moveTo>
                  <a:cubicBezTo>
                    <a:pt x="1125" y="888"/>
                    <a:pt x="1114" y="883"/>
                    <a:pt x="1098" y="879"/>
                  </a:cubicBezTo>
                  <a:cubicBezTo>
                    <a:pt x="1099" y="869"/>
                    <a:pt x="1101" y="859"/>
                    <a:pt x="1103" y="849"/>
                  </a:cubicBezTo>
                  <a:cubicBezTo>
                    <a:pt x="1119" y="855"/>
                    <a:pt x="1128" y="861"/>
                    <a:pt x="1132" y="866"/>
                  </a:cubicBezTo>
                  <a:cubicBezTo>
                    <a:pt x="1135" y="870"/>
                    <a:pt x="1136" y="873"/>
                    <a:pt x="1137" y="875"/>
                  </a:cubicBezTo>
                  <a:cubicBezTo>
                    <a:pt x="1135" y="881"/>
                    <a:pt x="1134" y="887"/>
                    <a:pt x="1133" y="894"/>
                  </a:cubicBezTo>
                  <a:moveTo>
                    <a:pt x="1081" y="876"/>
                  </a:moveTo>
                  <a:cubicBezTo>
                    <a:pt x="1076" y="875"/>
                    <a:pt x="1070" y="874"/>
                    <a:pt x="1065" y="873"/>
                  </a:cubicBezTo>
                  <a:cubicBezTo>
                    <a:pt x="1066" y="862"/>
                    <a:pt x="1068" y="851"/>
                    <a:pt x="1071" y="840"/>
                  </a:cubicBezTo>
                  <a:cubicBezTo>
                    <a:pt x="1076" y="841"/>
                    <a:pt x="1081" y="843"/>
                    <a:pt x="1085" y="844"/>
                  </a:cubicBezTo>
                  <a:cubicBezTo>
                    <a:pt x="1084" y="854"/>
                    <a:pt x="1082" y="865"/>
                    <a:pt x="1081" y="876"/>
                  </a:cubicBezTo>
                  <a:moveTo>
                    <a:pt x="850" y="894"/>
                  </a:moveTo>
                  <a:cubicBezTo>
                    <a:pt x="833" y="887"/>
                    <a:pt x="817" y="878"/>
                    <a:pt x="803" y="870"/>
                  </a:cubicBezTo>
                  <a:cubicBezTo>
                    <a:pt x="803" y="859"/>
                    <a:pt x="804" y="848"/>
                    <a:pt x="804" y="838"/>
                  </a:cubicBezTo>
                  <a:cubicBezTo>
                    <a:pt x="818" y="846"/>
                    <a:pt x="834" y="853"/>
                    <a:pt x="852" y="860"/>
                  </a:cubicBezTo>
                  <a:cubicBezTo>
                    <a:pt x="851" y="871"/>
                    <a:pt x="851" y="882"/>
                    <a:pt x="850" y="894"/>
                  </a:cubicBezTo>
                  <a:moveTo>
                    <a:pt x="1054" y="872"/>
                  </a:moveTo>
                  <a:cubicBezTo>
                    <a:pt x="1036" y="870"/>
                    <a:pt x="1016" y="869"/>
                    <a:pt x="993" y="869"/>
                  </a:cubicBezTo>
                  <a:cubicBezTo>
                    <a:pt x="995" y="856"/>
                    <a:pt x="997" y="844"/>
                    <a:pt x="999" y="832"/>
                  </a:cubicBezTo>
                  <a:cubicBezTo>
                    <a:pt x="1023" y="833"/>
                    <a:pt x="1043" y="836"/>
                    <a:pt x="1060" y="838"/>
                  </a:cubicBezTo>
                  <a:cubicBezTo>
                    <a:pt x="1057" y="849"/>
                    <a:pt x="1055" y="860"/>
                    <a:pt x="1054" y="872"/>
                  </a:cubicBezTo>
                  <a:moveTo>
                    <a:pt x="792" y="911"/>
                  </a:moveTo>
                  <a:cubicBezTo>
                    <a:pt x="783" y="905"/>
                    <a:pt x="775" y="900"/>
                    <a:pt x="768" y="895"/>
                  </a:cubicBezTo>
                  <a:cubicBezTo>
                    <a:pt x="753" y="885"/>
                    <a:pt x="741" y="877"/>
                    <a:pt x="731" y="873"/>
                  </a:cubicBezTo>
                  <a:cubicBezTo>
                    <a:pt x="731" y="869"/>
                    <a:pt x="731" y="865"/>
                    <a:pt x="731" y="861"/>
                  </a:cubicBezTo>
                  <a:cubicBezTo>
                    <a:pt x="731" y="851"/>
                    <a:pt x="731" y="840"/>
                    <a:pt x="732" y="830"/>
                  </a:cubicBezTo>
                  <a:cubicBezTo>
                    <a:pt x="734" y="832"/>
                    <a:pt x="736" y="834"/>
                    <a:pt x="738" y="836"/>
                  </a:cubicBezTo>
                  <a:cubicBezTo>
                    <a:pt x="752" y="848"/>
                    <a:pt x="770" y="862"/>
                    <a:pt x="792" y="876"/>
                  </a:cubicBezTo>
                  <a:cubicBezTo>
                    <a:pt x="792" y="880"/>
                    <a:pt x="792" y="883"/>
                    <a:pt x="792" y="886"/>
                  </a:cubicBezTo>
                  <a:cubicBezTo>
                    <a:pt x="792" y="894"/>
                    <a:pt x="792" y="903"/>
                    <a:pt x="792" y="911"/>
                  </a:cubicBezTo>
                  <a:moveTo>
                    <a:pt x="982" y="868"/>
                  </a:moveTo>
                  <a:cubicBezTo>
                    <a:pt x="979" y="868"/>
                    <a:pt x="976" y="868"/>
                    <a:pt x="972" y="868"/>
                  </a:cubicBezTo>
                  <a:cubicBezTo>
                    <a:pt x="956" y="868"/>
                    <a:pt x="941" y="867"/>
                    <a:pt x="926" y="865"/>
                  </a:cubicBezTo>
                  <a:cubicBezTo>
                    <a:pt x="928" y="853"/>
                    <a:pt x="929" y="841"/>
                    <a:pt x="931" y="829"/>
                  </a:cubicBezTo>
                  <a:cubicBezTo>
                    <a:pt x="940" y="830"/>
                    <a:pt x="949" y="830"/>
                    <a:pt x="959" y="831"/>
                  </a:cubicBezTo>
                  <a:cubicBezTo>
                    <a:pt x="969" y="831"/>
                    <a:pt x="978" y="831"/>
                    <a:pt x="987" y="831"/>
                  </a:cubicBezTo>
                  <a:cubicBezTo>
                    <a:pt x="985" y="843"/>
                    <a:pt x="984" y="856"/>
                    <a:pt x="982" y="868"/>
                  </a:cubicBezTo>
                  <a:moveTo>
                    <a:pt x="1323" y="928"/>
                  </a:moveTo>
                  <a:cubicBezTo>
                    <a:pt x="1292" y="924"/>
                    <a:pt x="1264" y="922"/>
                    <a:pt x="1240" y="919"/>
                  </a:cubicBezTo>
                  <a:cubicBezTo>
                    <a:pt x="1240" y="917"/>
                    <a:pt x="1240" y="915"/>
                    <a:pt x="1241" y="912"/>
                  </a:cubicBezTo>
                  <a:cubicBezTo>
                    <a:pt x="1246" y="881"/>
                    <a:pt x="1253" y="852"/>
                    <a:pt x="1261" y="825"/>
                  </a:cubicBezTo>
                  <a:cubicBezTo>
                    <a:pt x="1284" y="827"/>
                    <a:pt x="1311" y="829"/>
                    <a:pt x="1341" y="832"/>
                  </a:cubicBezTo>
                  <a:cubicBezTo>
                    <a:pt x="1334" y="862"/>
                    <a:pt x="1327" y="894"/>
                    <a:pt x="1323" y="928"/>
                  </a:cubicBezTo>
                  <a:moveTo>
                    <a:pt x="1154" y="843"/>
                  </a:moveTo>
                  <a:cubicBezTo>
                    <a:pt x="1154" y="841"/>
                    <a:pt x="1154" y="840"/>
                    <a:pt x="1154" y="838"/>
                  </a:cubicBezTo>
                  <a:cubicBezTo>
                    <a:pt x="1155" y="832"/>
                    <a:pt x="1157" y="825"/>
                    <a:pt x="1159" y="819"/>
                  </a:cubicBezTo>
                  <a:cubicBezTo>
                    <a:pt x="1172" y="819"/>
                    <a:pt x="1204" y="821"/>
                    <a:pt x="1250" y="824"/>
                  </a:cubicBezTo>
                  <a:cubicBezTo>
                    <a:pt x="1242" y="853"/>
                    <a:pt x="1235" y="884"/>
                    <a:pt x="1230" y="918"/>
                  </a:cubicBezTo>
                  <a:cubicBezTo>
                    <a:pt x="1186" y="914"/>
                    <a:pt x="1156" y="911"/>
                    <a:pt x="1145" y="910"/>
                  </a:cubicBezTo>
                  <a:cubicBezTo>
                    <a:pt x="1144" y="907"/>
                    <a:pt x="1143" y="903"/>
                    <a:pt x="1141" y="901"/>
                  </a:cubicBezTo>
                  <a:cubicBezTo>
                    <a:pt x="1141" y="901"/>
                    <a:pt x="1141" y="901"/>
                    <a:pt x="1141" y="901"/>
                  </a:cubicBezTo>
                  <a:cubicBezTo>
                    <a:pt x="1141" y="895"/>
                    <a:pt x="1142" y="890"/>
                    <a:pt x="1143" y="884"/>
                  </a:cubicBezTo>
                  <a:cubicBezTo>
                    <a:pt x="1147" y="883"/>
                    <a:pt x="1147" y="883"/>
                    <a:pt x="1147" y="883"/>
                  </a:cubicBezTo>
                  <a:cubicBezTo>
                    <a:pt x="1144" y="880"/>
                    <a:pt x="1144" y="880"/>
                    <a:pt x="1144" y="880"/>
                  </a:cubicBezTo>
                  <a:cubicBezTo>
                    <a:pt x="1144" y="880"/>
                    <a:pt x="1144" y="879"/>
                    <a:pt x="1144" y="879"/>
                  </a:cubicBezTo>
                  <a:cubicBezTo>
                    <a:pt x="1148" y="879"/>
                    <a:pt x="1148" y="879"/>
                    <a:pt x="1148" y="879"/>
                  </a:cubicBezTo>
                  <a:cubicBezTo>
                    <a:pt x="1148" y="879"/>
                    <a:pt x="1148" y="878"/>
                    <a:pt x="1148" y="877"/>
                  </a:cubicBezTo>
                  <a:cubicBezTo>
                    <a:pt x="1148" y="875"/>
                    <a:pt x="1148" y="872"/>
                    <a:pt x="1146" y="868"/>
                  </a:cubicBezTo>
                  <a:cubicBezTo>
                    <a:pt x="1148" y="862"/>
                    <a:pt x="1149" y="856"/>
                    <a:pt x="1150" y="850"/>
                  </a:cubicBezTo>
                  <a:cubicBezTo>
                    <a:pt x="1154" y="849"/>
                    <a:pt x="1154" y="849"/>
                    <a:pt x="1154" y="849"/>
                  </a:cubicBezTo>
                  <a:cubicBezTo>
                    <a:pt x="1151" y="847"/>
                    <a:pt x="1151" y="847"/>
                    <a:pt x="1151" y="847"/>
                  </a:cubicBezTo>
                  <a:cubicBezTo>
                    <a:pt x="1152" y="845"/>
                    <a:pt x="1152" y="843"/>
                    <a:pt x="1153" y="841"/>
                  </a:cubicBezTo>
                  <a:cubicBezTo>
                    <a:pt x="1154" y="842"/>
                    <a:pt x="1154" y="843"/>
                    <a:pt x="1154" y="843"/>
                  </a:cubicBezTo>
                  <a:moveTo>
                    <a:pt x="916" y="864"/>
                  </a:moveTo>
                  <a:cubicBezTo>
                    <a:pt x="897" y="861"/>
                    <a:pt x="880" y="857"/>
                    <a:pt x="864" y="851"/>
                  </a:cubicBezTo>
                  <a:cubicBezTo>
                    <a:pt x="865" y="840"/>
                    <a:pt x="866" y="828"/>
                    <a:pt x="867" y="817"/>
                  </a:cubicBezTo>
                  <a:cubicBezTo>
                    <a:pt x="883" y="822"/>
                    <a:pt x="901" y="825"/>
                    <a:pt x="920" y="828"/>
                  </a:cubicBezTo>
                  <a:cubicBezTo>
                    <a:pt x="919" y="839"/>
                    <a:pt x="917" y="851"/>
                    <a:pt x="916" y="864"/>
                  </a:cubicBezTo>
                  <a:moveTo>
                    <a:pt x="1141" y="858"/>
                  </a:moveTo>
                  <a:cubicBezTo>
                    <a:pt x="1134" y="850"/>
                    <a:pt x="1122" y="843"/>
                    <a:pt x="1106" y="837"/>
                  </a:cubicBezTo>
                  <a:cubicBezTo>
                    <a:pt x="1108" y="828"/>
                    <a:pt x="1111" y="819"/>
                    <a:pt x="1114" y="810"/>
                  </a:cubicBezTo>
                  <a:cubicBezTo>
                    <a:pt x="1139" y="824"/>
                    <a:pt x="1144" y="838"/>
                    <a:pt x="1145" y="844"/>
                  </a:cubicBezTo>
                  <a:cubicBezTo>
                    <a:pt x="1145" y="845"/>
                    <a:pt x="1145" y="845"/>
                    <a:pt x="1145" y="845"/>
                  </a:cubicBezTo>
                  <a:cubicBezTo>
                    <a:pt x="1145" y="845"/>
                    <a:pt x="1145" y="845"/>
                    <a:pt x="1145" y="846"/>
                  </a:cubicBezTo>
                  <a:cubicBezTo>
                    <a:pt x="1145" y="849"/>
                    <a:pt x="1142" y="854"/>
                    <a:pt x="1141" y="858"/>
                  </a:cubicBezTo>
                  <a:moveTo>
                    <a:pt x="1088" y="832"/>
                  </a:moveTo>
                  <a:cubicBezTo>
                    <a:pt x="1083" y="831"/>
                    <a:pt x="1078" y="830"/>
                    <a:pt x="1073" y="829"/>
                  </a:cubicBezTo>
                  <a:cubicBezTo>
                    <a:pt x="1076" y="818"/>
                    <a:pt x="1078" y="808"/>
                    <a:pt x="1081" y="798"/>
                  </a:cubicBezTo>
                  <a:cubicBezTo>
                    <a:pt x="1086" y="800"/>
                    <a:pt x="1091" y="801"/>
                    <a:pt x="1095" y="803"/>
                  </a:cubicBezTo>
                  <a:cubicBezTo>
                    <a:pt x="1093" y="812"/>
                    <a:pt x="1090" y="822"/>
                    <a:pt x="1088" y="832"/>
                  </a:cubicBezTo>
                  <a:moveTo>
                    <a:pt x="853" y="847"/>
                  </a:moveTo>
                  <a:cubicBezTo>
                    <a:pt x="835" y="841"/>
                    <a:pt x="819" y="833"/>
                    <a:pt x="805" y="824"/>
                  </a:cubicBezTo>
                  <a:cubicBezTo>
                    <a:pt x="806" y="814"/>
                    <a:pt x="807" y="804"/>
                    <a:pt x="808" y="794"/>
                  </a:cubicBezTo>
                  <a:cubicBezTo>
                    <a:pt x="823" y="801"/>
                    <a:pt x="838" y="808"/>
                    <a:pt x="856" y="814"/>
                  </a:cubicBezTo>
                  <a:cubicBezTo>
                    <a:pt x="855" y="825"/>
                    <a:pt x="854" y="836"/>
                    <a:pt x="853" y="847"/>
                  </a:cubicBezTo>
                  <a:moveTo>
                    <a:pt x="1062" y="827"/>
                  </a:moveTo>
                  <a:cubicBezTo>
                    <a:pt x="1044" y="824"/>
                    <a:pt x="1024" y="821"/>
                    <a:pt x="1001" y="820"/>
                  </a:cubicBezTo>
                  <a:cubicBezTo>
                    <a:pt x="1003" y="808"/>
                    <a:pt x="1005" y="796"/>
                    <a:pt x="1008" y="785"/>
                  </a:cubicBezTo>
                  <a:cubicBezTo>
                    <a:pt x="1033" y="787"/>
                    <a:pt x="1053" y="791"/>
                    <a:pt x="1070" y="795"/>
                  </a:cubicBezTo>
                  <a:cubicBezTo>
                    <a:pt x="1067" y="805"/>
                    <a:pt x="1065" y="816"/>
                    <a:pt x="1062" y="827"/>
                  </a:cubicBezTo>
                  <a:moveTo>
                    <a:pt x="792" y="863"/>
                  </a:moveTo>
                  <a:cubicBezTo>
                    <a:pt x="773" y="850"/>
                    <a:pt x="758" y="837"/>
                    <a:pt x="745" y="826"/>
                  </a:cubicBezTo>
                  <a:cubicBezTo>
                    <a:pt x="740" y="822"/>
                    <a:pt x="736" y="819"/>
                    <a:pt x="732" y="816"/>
                  </a:cubicBezTo>
                  <a:cubicBezTo>
                    <a:pt x="733" y="805"/>
                    <a:pt x="734" y="795"/>
                    <a:pt x="735" y="785"/>
                  </a:cubicBezTo>
                  <a:cubicBezTo>
                    <a:pt x="750" y="800"/>
                    <a:pt x="769" y="816"/>
                    <a:pt x="793" y="831"/>
                  </a:cubicBezTo>
                  <a:cubicBezTo>
                    <a:pt x="793" y="841"/>
                    <a:pt x="792" y="852"/>
                    <a:pt x="792" y="863"/>
                  </a:cubicBezTo>
                  <a:moveTo>
                    <a:pt x="989" y="820"/>
                  </a:moveTo>
                  <a:cubicBezTo>
                    <a:pt x="980" y="819"/>
                    <a:pt x="970" y="819"/>
                    <a:pt x="959" y="819"/>
                  </a:cubicBezTo>
                  <a:cubicBezTo>
                    <a:pt x="950" y="818"/>
                    <a:pt x="941" y="818"/>
                    <a:pt x="932" y="817"/>
                  </a:cubicBezTo>
                  <a:cubicBezTo>
                    <a:pt x="934" y="804"/>
                    <a:pt x="937" y="792"/>
                    <a:pt x="939" y="780"/>
                  </a:cubicBezTo>
                  <a:cubicBezTo>
                    <a:pt x="942" y="780"/>
                    <a:pt x="944" y="781"/>
                    <a:pt x="946" y="781"/>
                  </a:cubicBezTo>
                  <a:cubicBezTo>
                    <a:pt x="965" y="781"/>
                    <a:pt x="982" y="782"/>
                    <a:pt x="997" y="784"/>
                  </a:cubicBezTo>
                  <a:cubicBezTo>
                    <a:pt x="994" y="795"/>
                    <a:pt x="992" y="807"/>
                    <a:pt x="989" y="820"/>
                  </a:cubicBezTo>
                  <a:moveTo>
                    <a:pt x="1149" y="826"/>
                  </a:moveTo>
                  <a:cubicBezTo>
                    <a:pt x="1143" y="817"/>
                    <a:pt x="1134" y="808"/>
                    <a:pt x="1117" y="799"/>
                  </a:cubicBezTo>
                  <a:cubicBezTo>
                    <a:pt x="1119" y="792"/>
                    <a:pt x="1122" y="785"/>
                    <a:pt x="1125" y="778"/>
                  </a:cubicBezTo>
                  <a:cubicBezTo>
                    <a:pt x="1143" y="792"/>
                    <a:pt x="1147" y="806"/>
                    <a:pt x="1148" y="812"/>
                  </a:cubicBezTo>
                  <a:cubicBezTo>
                    <a:pt x="1148" y="814"/>
                    <a:pt x="1149" y="817"/>
                    <a:pt x="1151" y="818"/>
                  </a:cubicBezTo>
                  <a:cubicBezTo>
                    <a:pt x="1150" y="821"/>
                    <a:pt x="1149" y="823"/>
                    <a:pt x="1149" y="826"/>
                  </a:cubicBezTo>
                  <a:moveTo>
                    <a:pt x="922" y="816"/>
                  </a:moveTo>
                  <a:cubicBezTo>
                    <a:pt x="903" y="814"/>
                    <a:pt x="885" y="810"/>
                    <a:pt x="869" y="805"/>
                  </a:cubicBezTo>
                  <a:cubicBezTo>
                    <a:pt x="870" y="793"/>
                    <a:pt x="872" y="782"/>
                    <a:pt x="874" y="771"/>
                  </a:cubicBezTo>
                  <a:cubicBezTo>
                    <a:pt x="891" y="775"/>
                    <a:pt x="909" y="778"/>
                    <a:pt x="928" y="780"/>
                  </a:cubicBezTo>
                  <a:cubicBezTo>
                    <a:pt x="926" y="791"/>
                    <a:pt x="924" y="803"/>
                    <a:pt x="922" y="816"/>
                  </a:cubicBezTo>
                  <a:moveTo>
                    <a:pt x="1099" y="791"/>
                  </a:moveTo>
                  <a:cubicBezTo>
                    <a:pt x="1094" y="790"/>
                    <a:pt x="1089" y="788"/>
                    <a:pt x="1084" y="787"/>
                  </a:cubicBezTo>
                  <a:cubicBezTo>
                    <a:pt x="1087" y="777"/>
                    <a:pt x="1089" y="768"/>
                    <a:pt x="1092" y="759"/>
                  </a:cubicBezTo>
                  <a:cubicBezTo>
                    <a:pt x="1098" y="762"/>
                    <a:pt x="1103" y="764"/>
                    <a:pt x="1107" y="767"/>
                  </a:cubicBezTo>
                  <a:cubicBezTo>
                    <a:pt x="1104" y="775"/>
                    <a:pt x="1101" y="783"/>
                    <a:pt x="1099" y="791"/>
                  </a:cubicBezTo>
                  <a:moveTo>
                    <a:pt x="858" y="802"/>
                  </a:moveTo>
                  <a:cubicBezTo>
                    <a:pt x="840" y="796"/>
                    <a:pt x="824" y="789"/>
                    <a:pt x="809" y="781"/>
                  </a:cubicBezTo>
                  <a:cubicBezTo>
                    <a:pt x="811" y="770"/>
                    <a:pt x="812" y="760"/>
                    <a:pt x="814" y="751"/>
                  </a:cubicBezTo>
                  <a:cubicBezTo>
                    <a:pt x="829" y="758"/>
                    <a:pt x="845" y="764"/>
                    <a:pt x="863" y="769"/>
                  </a:cubicBezTo>
                  <a:cubicBezTo>
                    <a:pt x="861" y="779"/>
                    <a:pt x="859" y="790"/>
                    <a:pt x="858" y="802"/>
                  </a:cubicBezTo>
                  <a:moveTo>
                    <a:pt x="1253" y="812"/>
                  </a:moveTo>
                  <a:cubicBezTo>
                    <a:pt x="1210" y="809"/>
                    <a:pt x="1178" y="808"/>
                    <a:pt x="1163" y="807"/>
                  </a:cubicBezTo>
                  <a:cubicBezTo>
                    <a:pt x="1165" y="801"/>
                    <a:pt x="1168" y="795"/>
                    <a:pt x="1170" y="789"/>
                  </a:cubicBezTo>
                  <a:cubicBezTo>
                    <a:pt x="1174" y="788"/>
                    <a:pt x="1174" y="788"/>
                    <a:pt x="1174" y="788"/>
                  </a:cubicBezTo>
                  <a:cubicBezTo>
                    <a:pt x="1171" y="786"/>
                    <a:pt x="1171" y="786"/>
                    <a:pt x="1171" y="786"/>
                  </a:cubicBezTo>
                  <a:cubicBezTo>
                    <a:pt x="1172" y="785"/>
                    <a:pt x="1172" y="783"/>
                    <a:pt x="1173" y="782"/>
                  </a:cubicBezTo>
                  <a:cubicBezTo>
                    <a:pt x="1174" y="781"/>
                    <a:pt x="1174" y="781"/>
                    <a:pt x="1174" y="781"/>
                  </a:cubicBezTo>
                  <a:cubicBezTo>
                    <a:pt x="1174" y="781"/>
                    <a:pt x="1174" y="780"/>
                    <a:pt x="1174" y="780"/>
                  </a:cubicBezTo>
                  <a:cubicBezTo>
                    <a:pt x="1177" y="771"/>
                    <a:pt x="1181" y="763"/>
                    <a:pt x="1185" y="754"/>
                  </a:cubicBezTo>
                  <a:cubicBezTo>
                    <a:pt x="1188" y="754"/>
                    <a:pt x="1222" y="749"/>
                    <a:pt x="1276" y="748"/>
                  </a:cubicBezTo>
                  <a:cubicBezTo>
                    <a:pt x="1268" y="767"/>
                    <a:pt x="1261" y="789"/>
                    <a:pt x="1253" y="812"/>
                  </a:cubicBezTo>
                  <a:moveTo>
                    <a:pt x="1344" y="820"/>
                  </a:moveTo>
                  <a:cubicBezTo>
                    <a:pt x="1314" y="817"/>
                    <a:pt x="1288" y="815"/>
                    <a:pt x="1264" y="813"/>
                  </a:cubicBezTo>
                  <a:cubicBezTo>
                    <a:pt x="1272" y="789"/>
                    <a:pt x="1280" y="767"/>
                    <a:pt x="1288" y="747"/>
                  </a:cubicBezTo>
                  <a:cubicBezTo>
                    <a:pt x="1296" y="747"/>
                    <a:pt x="1305" y="747"/>
                    <a:pt x="1314" y="747"/>
                  </a:cubicBezTo>
                  <a:cubicBezTo>
                    <a:pt x="1330" y="747"/>
                    <a:pt x="1347" y="747"/>
                    <a:pt x="1365" y="748"/>
                  </a:cubicBezTo>
                  <a:cubicBezTo>
                    <a:pt x="1358" y="770"/>
                    <a:pt x="1351" y="794"/>
                    <a:pt x="1344" y="820"/>
                  </a:cubicBezTo>
                  <a:moveTo>
                    <a:pt x="1157" y="801"/>
                  </a:moveTo>
                  <a:cubicBezTo>
                    <a:pt x="1153" y="791"/>
                    <a:pt x="1146" y="779"/>
                    <a:pt x="1130" y="767"/>
                  </a:cubicBezTo>
                  <a:cubicBezTo>
                    <a:pt x="1133" y="760"/>
                    <a:pt x="1136" y="753"/>
                    <a:pt x="1139" y="747"/>
                  </a:cubicBezTo>
                  <a:cubicBezTo>
                    <a:pt x="1155" y="762"/>
                    <a:pt x="1161" y="776"/>
                    <a:pt x="1163" y="784"/>
                  </a:cubicBezTo>
                  <a:cubicBezTo>
                    <a:pt x="1161" y="789"/>
                    <a:pt x="1159" y="795"/>
                    <a:pt x="1157" y="801"/>
                  </a:cubicBezTo>
                  <a:moveTo>
                    <a:pt x="794" y="818"/>
                  </a:moveTo>
                  <a:cubicBezTo>
                    <a:pt x="770" y="802"/>
                    <a:pt x="751" y="785"/>
                    <a:pt x="736" y="770"/>
                  </a:cubicBezTo>
                  <a:cubicBezTo>
                    <a:pt x="737" y="761"/>
                    <a:pt x="738" y="753"/>
                    <a:pt x="739" y="745"/>
                  </a:cubicBezTo>
                  <a:cubicBezTo>
                    <a:pt x="755" y="759"/>
                    <a:pt x="774" y="775"/>
                    <a:pt x="797" y="788"/>
                  </a:cubicBezTo>
                  <a:cubicBezTo>
                    <a:pt x="796" y="798"/>
                    <a:pt x="795" y="808"/>
                    <a:pt x="794" y="818"/>
                  </a:cubicBezTo>
                  <a:moveTo>
                    <a:pt x="1073" y="784"/>
                  </a:moveTo>
                  <a:cubicBezTo>
                    <a:pt x="1056" y="779"/>
                    <a:pt x="1035" y="776"/>
                    <a:pt x="1011" y="773"/>
                  </a:cubicBezTo>
                  <a:cubicBezTo>
                    <a:pt x="1014" y="760"/>
                    <a:pt x="1017" y="749"/>
                    <a:pt x="1020" y="739"/>
                  </a:cubicBezTo>
                  <a:cubicBezTo>
                    <a:pt x="1045" y="744"/>
                    <a:pt x="1065" y="749"/>
                    <a:pt x="1082" y="755"/>
                  </a:cubicBezTo>
                  <a:cubicBezTo>
                    <a:pt x="1079" y="764"/>
                    <a:pt x="1076" y="773"/>
                    <a:pt x="1073" y="784"/>
                  </a:cubicBezTo>
                  <a:moveTo>
                    <a:pt x="1000" y="772"/>
                  </a:moveTo>
                  <a:cubicBezTo>
                    <a:pt x="984" y="770"/>
                    <a:pt x="966" y="769"/>
                    <a:pt x="947" y="769"/>
                  </a:cubicBezTo>
                  <a:cubicBezTo>
                    <a:pt x="945" y="769"/>
                    <a:pt x="943" y="769"/>
                    <a:pt x="942" y="768"/>
                  </a:cubicBezTo>
                  <a:cubicBezTo>
                    <a:pt x="945" y="755"/>
                    <a:pt x="948" y="743"/>
                    <a:pt x="950" y="732"/>
                  </a:cubicBezTo>
                  <a:cubicBezTo>
                    <a:pt x="972" y="733"/>
                    <a:pt x="992" y="735"/>
                    <a:pt x="1009" y="738"/>
                  </a:cubicBezTo>
                  <a:cubicBezTo>
                    <a:pt x="1006" y="748"/>
                    <a:pt x="1003" y="759"/>
                    <a:pt x="1000" y="772"/>
                  </a:cubicBezTo>
                  <a:moveTo>
                    <a:pt x="931" y="768"/>
                  </a:moveTo>
                  <a:cubicBezTo>
                    <a:pt x="911" y="766"/>
                    <a:pt x="893" y="764"/>
                    <a:pt x="876" y="760"/>
                  </a:cubicBezTo>
                  <a:cubicBezTo>
                    <a:pt x="878" y="747"/>
                    <a:pt x="881" y="735"/>
                    <a:pt x="883" y="725"/>
                  </a:cubicBezTo>
                  <a:cubicBezTo>
                    <a:pt x="899" y="728"/>
                    <a:pt x="916" y="730"/>
                    <a:pt x="934" y="731"/>
                  </a:cubicBezTo>
                  <a:cubicBezTo>
                    <a:pt x="936" y="731"/>
                    <a:pt x="937" y="731"/>
                    <a:pt x="939" y="731"/>
                  </a:cubicBezTo>
                  <a:cubicBezTo>
                    <a:pt x="936" y="742"/>
                    <a:pt x="933" y="754"/>
                    <a:pt x="931" y="768"/>
                  </a:cubicBezTo>
                  <a:moveTo>
                    <a:pt x="1112" y="756"/>
                  </a:moveTo>
                  <a:cubicBezTo>
                    <a:pt x="1107" y="753"/>
                    <a:pt x="1102" y="750"/>
                    <a:pt x="1096" y="748"/>
                  </a:cubicBezTo>
                  <a:cubicBezTo>
                    <a:pt x="1099" y="738"/>
                    <a:pt x="1102" y="730"/>
                    <a:pt x="1105" y="723"/>
                  </a:cubicBezTo>
                  <a:cubicBezTo>
                    <a:pt x="1112" y="726"/>
                    <a:pt x="1117" y="730"/>
                    <a:pt x="1122" y="733"/>
                  </a:cubicBezTo>
                  <a:cubicBezTo>
                    <a:pt x="1119" y="741"/>
                    <a:pt x="1115" y="748"/>
                    <a:pt x="1112" y="756"/>
                  </a:cubicBezTo>
                  <a:moveTo>
                    <a:pt x="1169" y="768"/>
                  </a:moveTo>
                  <a:cubicBezTo>
                    <a:pt x="1165" y="759"/>
                    <a:pt x="1157" y="748"/>
                    <a:pt x="1145" y="737"/>
                  </a:cubicBezTo>
                  <a:cubicBezTo>
                    <a:pt x="1149" y="729"/>
                    <a:pt x="1153" y="722"/>
                    <a:pt x="1157" y="716"/>
                  </a:cubicBezTo>
                  <a:cubicBezTo>
                    <a:pt x="1169" y="728"/>
                    <a:pt x="1175" y="739"/>
                    <a:pt x="1178" y="748"/>
                  </a:cubicBezTo>
                  <a:cubicBezTo>
                    <a:pt x="1175" y="755"/>
                    <a:pt x="1172" y="761"/>
                    <a:pt x="1169" y="768"/>
                  </a:cubicBezTo>
                  <a:moveTo>
                    <a:pt x="865" y="757"/>
                  </a:moveTo>
                  <a:cubicBezTo>
                    <a:pt x="847" y="752"/>
                    <a:pt x="831" y="746"/>
                    <a:pt x="816" y="739"/>
                  </a:cubicBezTo>
                  <a:cubicBezTo>
                    <a:pt x="818" y="727"/>
                    <a:pt x="820" y="717"/>
                    <a:pt x="821" y="708"/>
                  </a:cubicBezTo>
                  <a:cubicBezTo>
                    <a:pt x="837" y="714"/>
                    <a:pt x="854" y="719"/>
                    <a:pt x="872" y="723"/>
                  </a:cubicBezTo>
                  <a:cubicBezTo>
                    <a:pt x="870" y="733"/>
                    <a:pt x="867" y="744"/>
                    <a:pt x="865" y="757"/>
                  </a:cubicBezTo>
                  <a:moveTo>
                    <a:pt x="799" y="775"/>
                  </a:moveTo>
                  <a:cubicBezTo>
                    <a:pt x="776" y="761"/>
                    <a:pt x="756" y="745"/>
                    <a:pt x="741" y="730"/>
                  </a:cubicBezTo>
                  <a:cubicBezTo>
                    <a:pt x="742" y="722"/>
                    <a:pt x="743" y="714"/>
                    <a:pt x="744" y="707"/>
                  </a:cubicBezTo>
                  <a:cubicBezTo>
                    <a:pt x="761" y="721"/>
                    <a:pt x="780" y="734"/>
                    <a:pt x="803" y="746"/>
                  </a:cubicBezTo>
                  <a:cubicBezTo>
                    <a:pt x="802" y="755"/>
                    <a:pt x="800" y="765"/>
                    <a:pt x="799" y="775"/>
                  </a:cubicBezTo>
                  <a:moveTo>
                    <a:pt x="1085" y="744"/>
                  </a:moveTo>
                  <a:cubicBezTo>
                    <a:pt x="1069" y="738"/>
                    <a:pt x="1049" y="732"/>
                    <a:pt x="1024" y="728"/>
                  </a:cubicBezTo>
                  <a:cubicBezTo>
                    <a:pt x="1029" y="710"/>
                    <a:pt x="1034" y="699"/>
                    <a:pt x="1035" y="697"/>
                  </a:cubicBezTo>
                  <a:cubicBezTo>
                    <a:pt x="1059" y="703"/>
                    <a:pt x="1079" y="710"/>
                    <a:pt x="1095" y="718"/>
                  </a:cubicBezTo>
                  <a:cubicBezTo>
                    <a:pt x="1092" y="725"/>
                    <a:pt x="1089" y="734"/>
                    <a:pt x="1085" y="744"/>
                  </a:cubicBezTo>
                  <a:moveTo>
                    <a:pt x="1013" y="726"/>
                  </a:moveTo>
                  <a:cubicBezTo>
                    <a:pt x="995" y="724"/>
                    <a:pt x="976" y="721"/>
                    <a:pt x="954" y="720"/>
                  </a:cubicBezTo>
                  <a:cubicBezTo>
                    <a:pt x="959" y="702"/>
                    <a:pt x="963" y="689"/>
                    <a:pt x="965" y="685"/>
                  </a:cubicBezTo>
                  <a:cubicBezTo>
                    <a:pt x="987" y="687"/>
                    <a:pt x="1006" y="690"/>
                    <a:pt x="1024" y="694"/>
                  </a:cubicBezTo>
                  <a:cubicBezTo>
                    <a:pt x="1022" y="699"/>
                    <a:pt x="1018" y="710"/>
                    <a:pt x="1013" y="726"/>
                  </a:cubicBezTo>
                  <a:moveTo>
                    <a:pt x="1099" y="707"/>
                  </a:moveTo>
                  <a:cubicBezTo>
                    <a:pt x="1098" y="707"/>
                    <a:pt x="1097" y="706"/>
                    <a:pt x="1096" y="706"/>
                  </a:cubicBezTo>
                  <a:cubicBezTo>
                    <a:pt x="1099" y="697"/>
                    <a:pt x="1103" y="688"/>
                    <a:pt x="1108" y="680"/>
                  </a:cubicBezTo>
                  <a:cubicBezTo>
                    <a:pt x="1121" y="687"/>
                    <a:pt x="1132" y="694"/>
                    <a:pt x="1141" y="701"/>
                  </a:cubicBezTo>
                  <a:cubicBezTo>
                    <a:pt x="1136" y="709"/>
                    <a:pt x="1132" y="716"/>
                    <a:pt x="1128" y="723"/>
                  </a:cubicBezTo>
                  <a:cubicBezTo>
                    <a:pt x="1122" y="720"/>
                    <a:pt x="1116" y="716"/>
                    <a:pt x="1109" y="712"/>
                  </a:cubicBezTo>
                  <a:cubicBezTo>
                    <a:pt x="1114" y="701"/>
                    <a:pt x="1117" y="695"/>
                    <a:pt x="1117" y="695"/>
                  </a:cubicBezTo>
                  <a:cubicBezTo>
                    <a:pt x="1107" y="689"/>
                    <a:pt x="1107" y="689"/>
                    <a:pt x="1107" y="689"/>
                  </a:cubicBezTo>
                  <a:cubicBezTo>
                    <a:pt x="1107" y="690"/>
                    <a:pt x="1104" y="696"/>
                    <a:pt x="1099" y="707"/>
                  </a:cubicBezTo>
                  <a:moveTo>
                    <a:pt x="942" y="719"/>
                  </a:moveTo>
                  <a:cubicBezTo>
                    <a:pt x="940" y="719"/>
                    <a:pt x="937" y="719"/>
                    <a:pt x="934" y="719"/>
                  </a:cubicBezTo>
                  <a:cubicBezTo>
                    <a:pt x="917" y="718"/>
                    <a:pt x="901" y="716"/>
                    <a:pt x="886" y="714"/>
                  </a:cubicBezTo>
                  <a:cubicBezTo>
                    <a:pt x="890" y="697"/>
                    <a:pt x="894" y="685"/>
                    <a:pt x="896" y="679"/>
                  </a:cubicBezTo>
                  <a:cubicBezTo>
                    <a:pt x="904" y="680"/>
                    <a:pt x="913" y="681"/>
                    <a:pt x="921" y="681"/>
                  </a:cubicBezTo>
                  <a:cubicBezTo>
                    <a:pt x="932" y="682"/>
                    <a:pt x="943" y="683"/>
                    <a:pt x="954" y="684"/>
                  </a:cubicBezTo>
                  <a:cubicBezTo>
                    <a:pt x="951" y="690"/>
                    <a:pt x="947" y="702"/>
                    <a:pt x="942" y="719"/>
                  </a:cubicBezTo>
                  <a:moveTo>
                    <a:pt x="805" y="734"/>
                  </a:moveTo>
                  <a:cubicBezTo>
                    <a:pt x="782" y="722"/>
                    <a:pt x="763" y="708"/>
                    <a:pt x="747" y="693"/>
                  </a:cubicBezTo>
                  <a:cubicBezTo>
                    <a:pt x="748" y="684"/>
                    <a:pt x="750" y="676"/>
                    <a:pt x="751" y="669"/>
                  </a:cubicBezTo>
                  <a:cubicBezTo>
                    <a:pt x="769" y="682"/>
                    <a:pt x="788" y="694"/>
                    <a:pt x="811" y="704"/>
                  </a:cubicBezTo>
                  <a:cubicBezTo>
                    <a:pt x="809" y="713"/>
                    <a:pt x="807" y="723"/>
                    <a:pt x="805" y="734"/>
                  </a:cubicBezTo>
                  <a:moveTo>
                    <a:pt x="875" y="712"/>
                  </a:moveTo>
                  <a:cubicBezTo>
                    <a:pt x="857" y="708"/>
                    <a:pt x="840" y="703"/>
                    <a:pt x="824" y="697"/>
                  </a:cubicBezTo>
                  <a:cubicBezTo>
                    <a:pt x="827" y="681"/>
                    <a:pt x="830" y="671"/>
                    <a:pt x="832" y="665"/>
                  </a:cubicBezTo>
                  <a:cubicBezTo>
                    <a:pt x="850" y="671"/>
                    <a:pt x="867" y="675"/>
                    <a:pt x="885" y="677"/>
                  </a:cubicBezTo>
                  <a:cubicBezTo>
                    <a:pt x="882" y="684"/>
                    <a:pt x="879" y="696"/>
                    <a:pt x="875" y="712"/>
                  </a:cubicBezTo>
                  <a:moveTo>
                    <a:pt x="1196" y="670"/>
                  </a:moveTo>
                  <a:cubicBezTo>
                    <a:pt x="1196" y="669"/>
                    <a:pt x="1208" y="666"/>
                    <a:pt x="1229" y="663"/>
                  </a:cubicBezTo>
                  <a:cubicBezTo>
                    <a:pt x="1216" y="679"/>
                    <a:pt x="1200" y="704"/>
                    <a:pt x="1185" y="735"/>
                  </a:cubicBezTo>
                  <a:cubicBezTo>
                    <a:pt x="1181" y="728"/>
                    <a:pt x="1174" y="717"/>
                    <a:pt x="1163" y="706"/>
                  </a:cubicBezTo>
                  <a:cubicBezTo>
                    <a:pt x="1174" y="690"/>
                    <a:pt x="1185" y="677"/>
                    <a:pt x="1195" y="665"/>
                  </a:cubicBezTo>
                  <a:cubicBezTo>
                    <a:pt x="1196" y="670"/>
                    <a:pt x="1196" y="670"/>
                    <a:pt x="1196" y="670"/>
                  </a:cubicBezTo>
                  <a:moveTo>
                    <a:pt x="1086" y="701"/>
                  </a:moveTo>
                  <a:cubicBezTo>
                    <a:pt x="1073" y="696"/>
                    <a:pt x="1059" y="691"/>
                    <a:pt x="1042" y="687"/>
                  </a:cubicBezTo>
                  <a:cubicBezTo>
                    <a:pt x="1046" y="677"/>
                    <a:pt x="1051" y="667"/>
                    <a:pt x="1058" y="659"/>
                  </a:cubicBezTo>
                  <a:cubicBezTo>
                    <a:pt x="1073" y="664"/>
                    <a:pt x="1086" y="669"/>
                    <a:pt x="1098" y="675"/>
                  </a:cubicBezTo>
                  <a:cubicBezTo>
                    <a:pt x="1093" y="683"/>
                    <a:pt x="1089" y="692"/>
                    <a:pt x="1086" y="701"/>
                  </a:cubicBezTo>
                  <a:moveTo>
                    <a:pt x="1148" y="692"/>
                  </a:moveTo>
                  <a:cubicBezTo>
                    <a:pt x="1139" y="685"/>
                    <a:pt x="1128" y="677"/>
                    <a:pt x="1115" y="670"/>
                  </a:cubicBezTo>
                  <a:cubicBezTo>
                    <a:pt x="1119" y="666"/>
                    <a:pt x="1123" y="662"/>
                    <a:pt x="1127" y="658"/>
                  </a:cubicBezTo>
                  <a:cubicBezTo>
                    <a:pt x="1138" y="665"/>
                    <a:pt x="1148" y="673"/>
                    <a:pt x="1155" y="681"/>
                  </a:cubicBezTo>
                  <a:cubicBezTo>
                    <a:pt x="1153" y="685"/>
                    <a:pt x="1150" y="688"/>
                    <a:pt x="1148" y="692"/>
                  </a:cubicBezTo>
                  <a:moveTo>
                    <a:pt x="1031" y="684"/>
                  </a:moveTo>
                  <a:cubicBezTo>
                    <a:pt x="1012" y="679"/>
                    <a:pt x="991" y="676"/>
                    <a:pt x="966" y="673"/>
                  </a:cubicBezTo>
                  <a:cubicBezTo>
                    <a:pt x="971" y="661"/>
                    <a:pt x="979" y="651"/>
                    <a:pt x="988" y="641"/>
                  </a:cubicBezTo>
                  <a:cubicBezTo>
                    <a:pt x="1009" y="645"/>
                    <a:pt x="1029" y="650"/>
                    <a:pt x="1046" y="655"/>
                  </a:cubicBezTo>
                  <a:cubicBezTo>
                    <a:pt x="1040" y="664"/>
                    <a:pt x="1035" y="673"/>
                    <a:pt x="1031" y="684"/>
                  </a:cubicBezTo>
                  <a:moveTo>
                    <a:pt x="1105" y="665"/>
                  </a:moveTo>
                  <a:cubicBezTo>
                    <a:pt x="1094" y="659"/>
                    <a:pt x="1081" y="654"/>
                    <a:pt x="1066" y="648"/>
                  </a:cubicBezTo>
                  <a:cubicBezTo>
                    <a:pt x="1070" y="645"/>
                    <a:pt x="1073" y="641"/>
                    <a:pt x="1077" y="637"/>
                  </a:cubicBezTo>
                  <a:cubicBezTo>
                    <a:pt x="1091" y="642"/>
                    <a:pt x="1104" y="647"/>
                    <a:pt x="1116" y="652"/>
                  </a:cubicBezTo>
                  <a:cubicBezTo>
                    <a:pt x="1112" y="656"/>
                    <a:pt x="1108" y="660"/>
                    <a:pt x="1105" y="665"/>
                  </a:cubicBezTo>
                  <a:moveTo>
                    <a:pt x="954" y="672"/>
                  </a:moveTo>
                  <a:cubicBezTo>
                    <a:pt x="947" y="671"/>
                    <a:pt x="940" y="670"/>
                    <a:pt x="933" y="670"/>
                  </a:cubicBezTo>
                  <a:cubicBezTo>
                    <a:pt x="938" y="657"/>
                    <a:pt x="945" y="646"/>
                    <a:pt x="953" y="635"/>
                  </a:cubicBezTo>
                  <a:cubicBezTo>
                    <a:pt x="960" y="636"/>
                    <a:pt x="967" y="637"/>
                    <a:pt x="975" y="639"/>
                  </a:cubicBezTo>
                  <a:cubicBezTo>
                    <a:pt x="966" y="649"/>
                    <a:pt x="959" y="660"/>
                    <a:pt x="954" y="672"/>
                  </a:cubicBezTo>
                  <a:moveTo>
                    <a:pt x="1245" y="634"/>
                  </a:moveTo>
                  <a:cubicBezTo>
                    <a:pt x="1250" y="634"/>
                    <a:pt x="1256" y="634"/>
                    <a:pt x="1263" y="633"/>
                  </a:cubicBezTo>
                  <a:cubicBezTo>
                    <a:pt x="1255" y="638"/>
                    <a:pt x="1248" y="647"/>
                    <a:pt x="1242" y="653"/>
                  </a:cubicBezTo>
                  <a:cubicBezTo>
                    <a:pt x="1244" y="661"/>
                    <a:pt x="1244" y="661"/>
                    <a:pt x="1244" y="661"/>
                  </a:cubicBezTo>
                  <a:cubicBezTo>
                    <a:pt x="1244" y="661"/>
                    <a:pt x="1244" y="660"/>
                    <a:pt x="1245" y="660"/>
                  </a:cubicBezTo>
                  <a:cubicBezTo>
                    <a:pt x="1266" y="657"/>
                    <a:pt x="1292" y="654"/>
                    <a:pt x="1324" y="652"/>
                  </a:cubicBezTo>
                  <a:cubicBezTo>
                    <a:pt x="1315" y="666"/>
                    <a:pt x="1299" y="695"/>
                    <a:pt x="1281" y="736"/>
                  </a:cubicBezTo>
                  <a:cubicBezTo>
                    <a:pt x="1238" y="737"/>
                    <a:pt x="1206" y="740"/>
                    <a:pt x="1192" y="742"/>
                  </a:cubicBezTo>
                  <a:cubicBezTo>
                    <a:pt x="1206" y="715"/>
                    <a:pt x="1223" y="688"/>
                    <a:pt x="1244" y="662"/>
                  </a:cubicBezTo>
                  <a:cubicBezTo>
                    <a:pt x="1243" y="662"/>
                    <a:pt x="1243" y="662"/>
                    <a:pt x="1243" y="662"/>
                  </a:cubicBezTo>
                  <a:cubicBezTo>
                    <a:pt x="1241" y="654"/>
                    <a:pt x="1241" y="654"/>
                    <a:pt x="1241" y="654"/>
                  </a:cubicBezTo>
                  <a:cubicBezTo>
                    <a:pt x="1241" y="654"/>
                    <a:pt x="1241" y="654"/>
                    <a:pt x="1241" y="654"/>
                  </a:cubicBezTo>
                  <a:cubicBezTo>
                    <a:pt x="1241" y="654"/>
                    <a:pt x="1240" y="654"/>
                    <a:pt x="1240" y="653"/>
                  </a:cubicBezTo>
                  <a:cubicBezTo>
                    <a:pt x="1240" y="653"/>
                    <a:pt x="1240" y="652"/>
                    <a:pt x="1239" y="652"/>
                  </a:cubicBezTo>
                  <a:cubicBezTo>
                    <a:pt x="1239" y="652"/>
                    <a:pt x="1239" y="652"/>
                    <a:pt x="1239" y="652"/>
                  </a:cubicBezTo>
                  <a:cubicBezTo>
                    <a:pt x="1223" y="655"/>
                    <a:pt x="1211" y="655"/>
                    <a:pt x="1203" y="657"/>
                  </a:cubicBezTo>
                  <a:cubicBezTo>
                    <a:pt x="1211" y="648"/>
                    <a:pt x="1218" y="640"/>
                    <a:pt x="1225" y="634"/>
                  </a:cubicBezTo>
                  <a:cubicBezTo>
                    <a:pt x="1228" y="634"/>
                    <a:pt x="1231" y="634"/>
                    <a:pt x="1235" y="634"/>
                  </a:cubicBezTo>
                  <a:cubicBezTo>
                    <a:pt x="1237" y="634"/>
                    <a:pt x="1238" y="634"/>
                    <a:pt x="1240" y="634"/>
                  </a:cubicBezTo>
                  <a:cubicBezTo>
                    <a:pt x="1241" y="634"/>
                    <a:pt x="1243" y="634"/>
                    <a:pt x="1245" y="634"/>
                  </a:cubicBezTo>
                  <a:moveTo>
                    <a:pt x="813" y="692"/>
                  </a:moveTo>
                  <a:cubicBezTo>
                    <a:pt x="791" y="682"/>
                    <a:pt x="771" y="670"/>
                    <a:pt x="754" y="657"/>
                  </a:cubicBezTo>
                  <a:cubicBezTo>
                    <a:pt x="757" y="643"/>
                    <a:pt x="759" y="635"/>
                    <a:pt x="760" y="632"/>
                  </a:cubicBezTo>
                  <a:cubicBezTo>
                    <a:pt x="780" y="645"/>
                    <a:pt x="801" y="654"/>
                    <a:pt x="821" y="662"/>
                  </a:cubicBezTo>
                  <a:cubicBezTo>
                    <a:pt x="820" y="667"/>
                    <a:pt x="817" y="678"/>
                    <a:pt x="813" y="692"/>
                  </a:cubicBezTo>
                  <a:moveTo>
                    <a:pt x="1163" y="672"/>
                  </a:moveTo>
                  <a:cubicBezTo>
                    <a:pt x="1155" y="664"/>
                    <a:pt x="1146" y="657"/>
                    <a:pt x="1136" y="650"/>
                  </a:cubicBezTo>
                  <a:cubicBezTo>
                    <a:pt x="1144" y="643"/>
                    <a:pt x="1152" y="637"/>
                    <a:pt x="1160" y="632"/>
                  </a:cubicBezTo>
                  <a:cubicBezTo>
                    <a:pt x="1169" y="637"/>
                    <a:pt x="1177" y="643"/>
                    <a:pt x="1183" y="650"/>
                  </a:cubicBezTo>
                  <a:cubicBezTo>
                    <a:pt x="1176" y="657"/>
                    <a:pt x="1169" y="664"/>
                    <a:pt x="1163" y="672"/>
                  </a:cubicBezTo>
                  <a:moveTo>
                    <a:pt x="921" y="669"/>
                  </a:moveTo>
                  <a:cubicBezTo>
                    <a:pt x="907" y="668"/>
                    <a:pt x="893" y="667"/>
                    <a:pt x="880" y="664"/>
                  </a:cubicBezTo>
                  <a:cubicBezTo>
                    <a:pt x="886" y="652"/>
                    <a:pt x="893" y="641"/>
                    <a:pt x="900" y="630"/>
                  </a:cubicBezTo>
                  <a:cubicBezTo>
                    <a:pt x="903" y="631"/>
                    <a:pt x="905" y="631"/>
                    <a:pt x="908" y="631"/>
                  </a:cubicBezTo>
                  <a:cubicBezTo>
                    <a:pt x="919" y="632"/>
                    <a:pt x="929" y="633"/>
                    <a:pt x="940" y="634"/>
                  </a:cubicBezTo>
                  <a:cubicBezTo>
                    <a:pt x="932" y="645"/>
                    <a:pt x="926" y="656"/>
                    <a:pt x="921" y="669"/>
                  </a:cubicBezTo>
                  <a:moveTo>
                    <a:pt x="1260" y="646"/>
                  </a:moveTo>
                  <a:cubicBezTo>
                    <a:pt x="1268" y="639"/>
                    <a:pt x="1277" y="633"/>
                    <a:pt x="1287" y="628"/>
                  </a:cubicBezTo>
                  <a:cubicBezTo>
                    <a:pt x="1302" y="627"/>
                    <a:pt x="1320" y="626"/>
                    <a:pt x="1340" y="626"/>
                  </a:cubicBezTo>
                  <a:cubicBezTo>
                    <a:pt x="1356" y="626"/>
                    <a:pt x="1372" y="627"/>
                    <a:pt x="1389" y="627"/>
                  </a:cubicBezTo>
                  <a:cubicBezTo>
                    <a:pt x="1386" y="631"/>
                    <a:pt x="1384" y="635"/>
                    <a:pt x="1381" y="639"/>
                  </a:cubicBezTo>
                  <a:cubicBezTo>
                    <a:pt x="1377" y="639"/>
                    <a:pt x="1373" y="639"/>
                    <a:pt x="1369" y="639"/>
                  </a:cubicBezTo>
                  <a:cubicBezTo>
                    <a:pt x="1326" y="639"/>
                    <a:pt x="1289" y="642"/>
                    <a:pt x="1260" y="646"/>
                  </a:cubicBezTo>
                  <a:moveTo>
                    <a:pt x="869" y="662"/>
                  </a:moveTo>
                  <a:cubicBezTo>
                    <a:pt x="857" y="660"/>
                    <a:pt x="847" y="657"/>
                    <a:pt x="836" y="654"/>
                  </a:cubicBezTo>
                  <a:cubicBezTo>
                    <a:pt x="841" y="642"/>
                    <a:pt x="846" y="632"/>
                    <a:pt x="851" y="623"/>
                  </a:cubicBezTo>
                  <a:cubicBezTo>
                    <a:pt x="863" y="626"/>
                    <a:pt x="874" y="628"/>
                    <a:pt x="887" y="629"/>
                  </a:cubicBezTo>
                  <a:cubicBezTo>
                    <a:pt x="880" y="639"/>
                    <a:pt x="874" y="650"/>
                    <a:pt x="869" y="662"/>
                  </a:cubicBezTo>
                  <a:moveTo>
                    <a:pt x="737" y="684"/>
                  </a:moveTo>
                  <a:cubicBezTo>
                    <a:pt x="720" y="669"/>
                    <a:pt x="707" y="653"/>
                    <a:pt x="697" y="639"/>
                  </a:cubicBezTo>
                  <a:cubicBezTo>
                    <a:pt x="698" y="633"/>
                    <a:pt x="699" y="627"/>
                    <a:pt x="700" y="622"/>
                  </a:cubicBezTo>
                  <a:cubicBezTo>
                    <a:pt x="712" y="635"/>
                    <a:pt x="725" y="649"/>
                    <a:pt x="741" y="662"/>
                  </a:cubicBezTo>
                  <a:cubicBezTo>
                    <a:pt x="740" y="668"/>
                    <a:pt x="738" y="676"/>
                    <a:pt x="737" y="684"/>
                  </a:cubicBezTo>
                  <a:moveTo>
                    <a:pt x="1054" y="644"/>
                  </a:moveTo>
                  <a:cubicBezTo>
                    <a:pt x="1038" y="639"/>
                    <a:pt x="1019" y="634"/>
                    <a:pt x="998" y="630"/>
                  </a:cubicBezTo>
                  <a:cubicBezTo>
                    <a:pt x="1002" y="627"/>
                    <a:pt x="1006" y="623"/>
                    <a:pt x="1011" y="620"/>
                  </a:cubicBezTo>
                  <a:cubicBezTo>
                    <a:pt x="1029" y="624"/>
                    <a:pt x="1047" y="628"/>
                    <a:pt x="1064" y="633"/>
                  </a:cubicBezTo>
                  <a:cubicBezTo>
                    <a:pt x="1061" y="637"/>
                    <a:pt x="1057" y="641"/>
                    <a:pt x="1054" y="644"/>
                  </a:cubicBezTo>
                  <a:moveTo>
                    <a:pt x="984" y="628"/>
                  </a:moveTo>
                  <a:cubicBezTo>
                    <a:pt x="977" y="627"/>
                    <a:pt x="969" y="626"/>
                    <a:pt x="961" y="625"/>
                  </a:cubicBezTo>
                  <a:cubicBezTo>
                    <a:pt x="965" y="620"/>
                    <a:pt x="969" y="616"/>
                    <a:pt x="973" y="613"/>
                  </a:cubicBezTo>
                  <a:cubicBezTo>
                    <a:pt x="981" y="614"/>
                    <a:pt x="988" y="615"/>
                    <a:pt x="996" y="617"/>
                  </a:cubicBezTo>
                  <a:cubicBezTo>
                    <a:pt x="992" y="620"/>
                    <a:pt x="988" y="624"/>
                    <a:pt x="984" y="628"/>
                  </a:cubicBezTo>
                  <a:moveTo>
                    <a:pt x="1125" y="644"/>
                  </a:moveTo>
                  <a:cubicBezTo>
                    <a:pt x="1114" y="638"/>
                    <a:pt x="1101" y="633"/>
                    <a:pt x="1088" y="628"/>
                  </a:cubicBezTo>
                  <a:cubicBezTo>
                    <a:pt x="1096" y="622"/>
                    <a:pt x="1104" y="616"/>
                    <a:pt x="1112" y="611"/>
                  </a:cubicBezTo>
                  <a:cubicBezTo>
                    <a:pt x="1125" y="615"/>
                    <a:pt x="1137" y="620"/>
                    <a:pt x="1149" y="626"/>
                  </a:cubicBezTo>
                  <a:cubicBezTo>
                    <a:pt x="1140" y="631"/>
                    <a:pt x="1132" y="637"/>
                    <a:pt x="1125" y="644"/>
                  </a:cubicBezTo>
                  <a:moveTo>
                    <a:pt x="1215" y="606"/>
                  </a:moveTo>
                  <a:cubicBezTo>
                    <a:pt x="1216" y="606"/>
                    <a:pt x="1218" y="605"/>
                    <a:pt x="1220" y="605"/>
                  </a:cubicBezTo>
                  <a:cubicBezTo>
                    <a:pt x="1222" y="605"/>
                    <a:pt x="1223" y="604"/>
                    <a:pt x="1225" y="604"/>
                  </a:cubicBezTo>
                  <a:cubicBezTo>
                    <a:pt x="1226" y="604"/>
                    <a:pt x="1227" y="604"/>
                    <a:pt x="1229" y="605"/>
                  </a:cubicBezTo>
                  <a:cubicBezTo>
                    <a:pt x="1223" y="608"/>
                    <a:pt x="1218" y="609"/>
                    <a:pt x="1212" y="609"/>
                  </a:cubicBezTo>
                  <a:cubicBezTo>
                    <a:pt x="1211" y="610"/>
                    <a:pt x="1211" y="610"/>
                    <a:pt x="1211" y="610"/>
                  </a:cubicBezTo>
                  <a:cubicBezTo>
                    <a:pt x="1212" y="617"/>
                    <a:pt x="1212" y="617"/>
                    <a:pt x="1212" y="617"/>
                  </a:cubicBezTo>
                  <a:cubicBezTo>
                    <a:pt x="1204" y="623"/>
                    <a:pt x="1198" y="632"/>
                    <a:pt x="1191" y="638"/>
                  </a:cubicBezTo>
                  <a:cubicBezTo>
                    <a:pt x="1185" y="632"/>
                    <a:pt x="1179" y="629"/>
                    <a:pt x="1171" y="624"/>
                  </a:cubicBezTo>
                  <a:cubicBezTo>
                    <a:pt x="1190" y="613"/>
                    <a:pt x="1206" y="607"/>
                    <a:pt x="1211" y="605"/>
                  </a:cubicBezTo>
                  <a:cubicBezTo>
                    <a:pt x="1212" y="605"/>
                    <a:pt x="1214" y="606"/>
                    <a:pt x="1215" y="606"/>
                  </a:cubicBezTo>
                  <a:moveTo>
                    <a:pt x="948" y="623"/>
                  </a:moveTo>
                  <a:cubicBezTo>
                    <a:pt x="935" y="621"/>
                    <a:pt x="922" y="620"/>
                    <a:pt x="909" y="619"/>
                  </a:cubicBezTo>
                  <a:cubicBezTo>
                    <a:pt x="913" y="614"/>
                    <a:pt x="918" y="608"/>
                    <a:pt x="922" y="604"/>
                  </a:cubicBezTo>
                  <a:cubicBezTo>
                    <a:pt x="934" y="606"/>
                    <a:pt x="947" y="608"/>
                    <a:pt x="959" y="610"/>
                  </a:cubicBezTo>
                  <a:cubicBezTo>
                    <a:pt x="955" y="614"/>
                    <a:pt x="951" y="618"/>
                    <a:pt x="948" y="623"/>
                  </a:cubicBezTo>
                  <a:moveTo>
                    <a:pt x="825" y="651"/>
                  </a:moveTo>
                  <a:cubicBezTo>
                    <a:pt x="808" y="645"/>
                    <a:pt x="792" y="637"/>
                    <a:pt x="776" y="629"/>
                  </a:cubicBezTo>
                  <a:cubicBezTo>
                    <a:pt x="781" y="619"/>
                    <a:pt x="785" y="610"/>
                    <a:pt x="789" y="603"/>
                  </a:cubicBezTo>
                  <a:cubicBezTo>
                    <a:pt x="805" y="610"/>
                    <a:pt x="821" y="616"/>
                    <a:pt x="840" y="620"/>
                  </a:cubicBezTo>
                  <a:cubicBezTo>
                    <a:pt x="835" y="629"/>
                    <a:pt x="830" y="639"/>
                    <a:pt x="825" y="651"/>
                  </a:cubicBezTo>
                  <a:moveTo>
                    <a:pt x="1275" y="604"/>
                  </a:moveTo>
                  <a:cubicBezTo>
                    <a:pt x="1275" y="604"/>
                    <a:pt x="1289" y="603"/>
                    <a:pt x="1311" y="601"/>
                  </a:cubicBezTo>
                  <a:cubicBezTo>
                    <a:pt x="1302" y="606"/>
                    <a:pt x="1292" y="611"/>
                    <a:pt x="1283" y="616"/>
                  </a:cubicBezTo>
                  <a:cubicBezTo>
                    <a:pt x="1266" y="617"/>
                    <a:pt x="1252" y="618"/>
                    <a:pt x="1240" y="619"/>
                  </a:cubicBezTo>
                  <a:cubicBezTo>
                    <a:pt x="1243" y="617"/>
                    <a:pt x="1245" y="616"/>
                    <a:pt x="1246" y="615"/>
                  </a:cubicBezTo>
                  <a:cubicBezTo>
                    <a:pt x="1247" y="615"/>
                    <a:pt x="1257" y="609"/>
                    <a:pt x="1274" y="602"/>
                  </a:cubicBezTo>
                  <a:cubicBezTo>
                    <a:pt x="1275" y="604"/>
                    <a:pt x="1275" y="604"/>
                    <a:pt x="1275" y="604"/>
                  </a:cubicBezTo>
                  <a:moveTo>
                    <a:pt x="1074" y="624"/>
                  </a:moveTo>
                  <a:cubicBezTo>
                    <a:pt x="1058" y="619"/>
                    <a:pt x="1041" y="614"/>
                    <a:pt x="1023" y="610"/>
                  </a:cubicBezTo>
                  <a:cubicBezTo>
                    <a:pt x="1031" y="605"/>
                    <a:pt x="1039" y="600"/>
                    <a:pt x="1046" y="595"/>
                  </a:cubicBezTo>
                  <a:cubicBezTo>
                    <a:pt x="1064" y="598"/>
                    <a:pt x="1081" y="602"/>
                    <a:pt x="1097" y="607"/>
                  </a:cubicBezTo>
                  <a:cubicBezTo>
                    <a:pt x="1090" y="612"/>
                    <a:pt x="1082" y="617"/>
                    <a:pt x="1074" y="624"/>
                  </a:cubicBezTo>
                  <a:moveTo>
                    <a:pt x="895" y="618"/>
                  </a:moveTo>
                  <a:cubicBezTo>
                    <a:pt x="882" y="617"/>
                    <a:pt x="869" y="615"/>
                    <a:pt x="857" y="612"/>
                  </a:cubicBezTo>
                  <a:cubicBezTo>
                    <a:pt x="861" y="605"/>
                    <a:pt x="865" y="599"/>
                    <a:pt x="868" y="595"/>
                  </a:cubicBezTo>
                  <a:cubicBezTo>
                    <a:pt x="881" y="597"/>
                    <a:pt x="895" y="599"/>
                    <a:pt x="908" y="601"/>
                  </a:cubicBezTo>
                  <a:cubicBezTo>
                    <a:pt x="904" y="606"/>
                    <a:pt x="899" y="612"/>
                    <a:pt x="895" y="618"/>
                  </a:cubicBezTo>
                  <a:moveTo>
                    <a:pt x="744" y="650"/>
                  </a:moveTo>
                  <a:cubicBezTo>
                    <a:pt x="728" y="636"/>
                    <a:pt x="714" y="622"/>
                    <a:pt x="702" y="608"/>
                  </a:cubicBezTo>
                  <a:cubicBezTo>
                    <a:pt x="704" y="600"/>
                    <a:pt x="705" y="594"/>
                    <a:pt x="706" y="589"/>
                  </a:cubicBezTo>
                  <a:cubicBezTo>
                    <a:pt x="722" y="605"/>
                    <a:pt x="740" y="619"/>
                    <a:pt x="757" y="630"/>
                  </a:cubicBezTo>
                  <a:cubicBezTo>
                    <a:pt x="750" y="628"/>
                    <a:pt x="750" y="628"/>
                    <a:pt x="750" y="628"/>
                  </a:cubicBezTo>
                  <a:cubicBezTo>
                    <a:pt x="750" y="628"/>
                    <a:pt x="747" y="636"/>
                    <a:pt x="744" y="650"/>
                  </a:cubicBezTo>
                  <a:moveTo>
                    <a:pt x="1008" y="607"/>
                  </a:moveTo>
                  <a:cubicBezTo>
                    <a:pt x="1000" y="606"/>
                    <a:pt x="992" y="604"/>
                    <a:pt x="984" y="602"/>
                  </a:cubicBezTo>
                  <a:cubicBezTo>
                    <a:pt x="990" y="597"/>
                    <a:pt x="995" y="593"/>
                    <a:pt x="1000" y="589"/>
                  </a:cubicBezTo>
                  <a:cubicBezTo>
                    <a:pt x="1010" y="590"/>
                    <a:pt x="1019" y="591"/>
                    <a:pt x="1028" y="593"/>
                  </a:cubicBezTo>
                  <a:cubicBezTo>
                    <a:pt x="1022" y="597"/>
                    <a:pt x="1015" y="602"/>
                    <a:pt x="1008" y="607"/>
                  </a:cubicBezTo>
                  <a:moveTo>
                    <a:pt x="1160" y="618"/>
                  </a:moveTo>
                  <a:cubicBezTo>
                    <a:pt x="1149" y="613"/>
                    <a:pt x="1138" y="607"/>
                    <a:pt x="1125" y="603"/>
                  </a:cubicBezTo>
                  <a:cubicBezTo>
                    <a:pt x="1138" y="596"/>
                    <a:pt x="1148" y="592"/>
                    <a:pt x="1148" y="592"/>
                  </a:cubicBezTo>
                  <a:cubicBezTo>
                    <a:pt x="1147" y="588"/>
                    <a:pt x="1147" y="588"/>
                    <a:pt x="1147" y="588"/>
                  </a:cubicBezTo>
                  <a:cubicBezTo>
                    <a:pt x="1163" y="592"/>
                    <a:pt x="1178" y="596"/>
                    <a:pt x="1194" y="601"/>
                  </a:cubicBezTo>
                  <a:cubicBezTo>
                    <a:pt x="1185" y="605"/>
                    <a:pt x="1173" y="611"/>
                    <a:pt x="1160" y="618"/>
                  </a:cubicBezTo>
                  <a:moveTo>
                    <a:pt x="969" y="600"/>
                  </a:moveTo>
                  <a:cubicBezTo>
                    <a:pt x="957" y="598"/>
                    <a:pt x="945" y="595"/>
                    <a:pt x="933" y="593"/>
                  </a:cubicBezTo>
                  <a:cubicBezTo>
                    <a:pt x="937" y="590"/>
                    <a:pt x="940" y="587"/>
                    <a:pt x="943" y="584"/>
                  </a:cubicBezTo>
                  <a:cubicBezTo>
                    <a:pt x="956" y="585"/>
                    <a:pt x="969" y="586"/>
                    <a:pt x="983" y="587"/>
                  </a:cubicBezTo>
                  <a:cubicBezTo>
                    <a:pt x="979" y="591"/>
                    <a:pt x="974" y="595"/>
                    <a:pt x="969" y="600"/>
                  </a:cubicBezTo>
                  <a:moveTo>
                    <a:pt x="918" y="591"/>
                  </a:moveTo>
                  <a:cubicBezTo>
                    <a:pt x="918" y="591"/>
                    <a:pt x="918" y="591"/>
                    <a:pt x="918" y="591"/>
                  </a:cubicBezTo>
                  <a:cubicBezTo>
                    <a:pt x="904" y="589"/>
                    <a:pt x="890" y="586"/>
                    <a:pt x="876" y="584"/>
                  </a:cubicBezTo>
                  <a:cubicBezTo>
                    <a:pt x="876" y="583"/>
                    <a:pt x="877" y="583"/>
                    <a:pt x="877" y="583"/>
                  </a:cubicBezTo>
                  <a:cubicBezTo>
                    <a:pt x="878" y="583"/>
                    <a:pt x="878" y="583"/>
                    <a:pt x="879" y="583"/>
                  </a:cubicBezTo>
                  <a:cubicBezTo>
                    <a:pt x="890" y="583"/>
                    <a:pt x="906" y="583"/>
                    <a:pt x="926" y="584"/>
                  </a:cubicBezTo>
                  <a:cubicBezTo>
                    <a:pt x="924" y="586"/>
                    <a:pt x="921" y="588"/>
                    <a:pt x="918" y="591"/>
                  </a:cubicBezTo>
                  <a:moveTo>
                    <a:pt x="846" y="610"/>
                  </a:moveTo>
                  <a:cubicBezTo>
                    <a:pt x="827" y="605"/>
                    <a:pt x="810" y="599"/>
                    <a:pt x="795" y="592"/>
                  </a:cubicBezTo>
                  <a:cubicBezTo>
                    <a:pt x="797" y="588"/>
                    <a:pt x="800" y="584"/>
                    <a:pt x="802" y="580"/>
                  </a:cubicBezTo>
                  <a:cubicBezTo>
                    <a:pt x="818" y="585"/>
                    <a:pt x="836" y="589"/>
                    <a:pt x="856" y="592"/>
                  </a:cubicBezTo>
                  <a:cubicBezTo>
                    <a:pt x="853" y="597"/>
                    <a:pt x="849" y="603"/>
                    <a:pt x="846" y="610"/>
                  </a:cubicBezTo>
                  <a:moveTo>
                    <a:pt x="766" y="623"/>
                  </a:moveTo>
                  <a:cubicBezTo>
                    <a:pt x="754" y="615"/>
                    <a:pt x="742" y="607"/>
                    <a:pt x="731" y="597"/>
                  </a:cubicBezTo>
                  <a:cubicBezTo>
                    <a:pt x="735" y="590"/>
                    <a:pt x="738" y="583"/>
                    <a:pt x="741" y="577"/>
                  </a:cubicBezTo>
                  <a:cubicBezTo>
                    <a:pt x="753" y="585"/>
                    <a:pt x="765" y="592"/>
                    <a:pt x="779" y="598"/>
                  </a:cubicBezTo>
                  <a:cubicBezTo>
                    <a:pt x="775" y="605"/>
                    <a:pt x="771" y="614"/>
                    <a:pt x="766" y="623"/>
                  </a:cubicBezTo>
                  <a:moveTo>
                    <a:pt x="1110" y="598"/>
                  </a:moveTo>
                  <a:cubicBezTo>
                    <a:pt x="1095" y="593"/>
                    <a:pt x="1079" y="589"/>
                    <a:pt x="1063" y="586"/>
                  </a:cubicBezTo>
                  <a:cubicBezTo>
                    <a:pt x="1074" y="581"/>
                    <a:pt x="1081" y="577"/>
                    <a:pt x="1083" y="577"/>
                  </a:cubicBezTo>
                  <a:cubicBezTo>
                    <a:pt x="1101" y="579"/>
                    <a:pt x="1118" y="582"/>
                    <a:pt x="1134" y="585"/>
                  </a:cubicBezTo>
                  <a:cubicBezTo>
                    <a:pt x="1128" y="588"/>
                    <a:pt x="1119" y="592"/>
                    <a:pt x="1110" y="598"/>
                  </a:cubicBezTo>
                  <a:moveTo>
                    <a:pt x="1044" y="583"/>
                  </a:moveTo>
                  <a:cubicBezTo>
                    <a:pt x="1035" y="581"/>
                    <a:pt x="1025" y="580"/>
                    <a:pt x="1016" y="579"/>
                  </a:cubicBezTo>
                  <a:cubicBezTo>
                    <a:pt x="1018" y="577"/>
                    <a:pt x="1019" y="577"/>
                    <a:pt x="1019" y="577"/>
                  </a:cubicBezTo>
                  <a:cubicBezTo>
                    <a:pt x="1017" y="572"/>
                    <a:pt x="1017" y="572"/>
                    <a:pt x="1017" y="572"/>
                  </a:cubicBezTo>
                  <a:cubicBezTo>
                    <a:pt x="1032" y="572"/>
                    <a:pt x="1046" y="573"/>
                    <a:pt x="1060" y="574"/>
                  </a:cubicBezTo>
                  <a:cubicBezTo>
                    <a:pt x="1055" y="577"/>
                    <a:pt x="1050" y="580"/>
                    <a:pt x="1044" y="583"/>
                  </a:cubicBezTo>
                  <a:moveTo>
                    <a:pt x="997" y="576"/>
                  </a:moveTo>
                  <a:cubicBezTo>
                    <a:pt x="982" y="575"/>
                    <a:pt x="968" y="574"/>
                    <a:pt x="954" y="573"/>
                  </a:cubicBezTo>
                  <a:cubicBezTo>
                    <a:pt x="954" y="572"/>
                    <a:pt x="954" y="572"/>
                    <a:pt x="954" y="572"/>
                  </a:cubicBezTo>
                  <a:cubicBezTo>
                    <a:pt x="965" y="571"/>
                    <a:pt x="975" y="571"/>
                    <a:pt x="986" y="571"/>
                  </a:cubicBezTo>
                  <a:cubicBezTo>
                    <a:pt x="992" y="571"/>
                    <a:pt x="999" y="571"/>
                    <a:pt x="1005" y="571"/>
                  </a:cubicBezTo>
                  <a:cubicBezTo>
                    <a:pt x="1003" y="573"/>
                    <a:pt x="1000" y="574"/>
                    <a:pt x="997" y="576"/>
                  </a:cubicBezTo>
                  <a:moveTo>
                    <a:pt x="863" y="582"/>
                  </a:moveTo>
                  <a:cubicBezTo>
                    <a:pt x="844" y="578"/>
                    <a:pt x="825" y="574"/>
                    <a:pt x="809" y="570"/>
                  </a:cubicBezTo>
                  <a:cubicBezTo>
                    <a:pt x="810" y="568"/>
                    <a:pt x="812" y="566"/>
                    <a:pt x="813" y="564"/>
                  </a:cubicBezTo>
                  <a:cubicBezTo>
                    <a:pt x="830" y="571"/>
                    <a:pt x="847" y="575"/>
                    <a:pt x="864" y="576"/>
                  </a:cubicBezTo>
                  <a:cubicBezTo>
                    <a:pt x="864" y="580"/>
                    <a:pt x="864" y="580"/>
                    <a:pt x="864" y="580"/>
                  </a:cubicBezTo>
                  <a:cubicBezTo>
                    <a:pt x="864" y="581"/>
                    <a:pt x="864" y="581"/>
                    <a:pt x="863" y="582"/>
                  </a:cubicBezTo>
                  <a:moveTo>
                    <a:pt x="784" y="588"/>
                  </a:moveTo>
                  <a:cubicBezTo>
                    <a:pt x="771" y="581"/>
                    <a:pt x="758" y="574"/>
                    <a:pt x="747" y="566"/>
                  </a:cubicBezTo>
                  <a:cubicBezTo>
                    <a:pt x="749" y="563"/>
                    <a:pt x="750" y="559"/>
                    <a:pt x="752" y="556"/>
                  </a:cubicBezTo>
                  <a:cubicBezTo>
                    <a:pt x="764" y="565"/>
                    <a:pt x="777" y="572"/>
                    <a:pt x="790" y="577"/>
                  </a:cubicBezTo>
                  <a:cubicBezTo>
                    <a:pt x="789" y="580"/>
                    <a:pt x="786" y="584"/>
                    <a:pt x="784" y="588"/>
                  </a:cubicBezTo>
                  <a:moveTo>
                    <a:pt x="797" y="566"/>
                  </a:moveTo>
                  <a:cubicBezTo>
                    <a:pt x="796" y="566"/>
                    <a:pt x="796" y="566"/>
                    <a:pt x="796" y="566"/>
                  </a:cubicBezTo>
                  <a:cubicBezTo>
                    <a:pt x="783" y="562"/>
                    <a:pt x="770" y="555"/>
                    <a:pt x="758" y="545"/>
                  </a:cubicBezTo>
                  <a:cubicBezTo>
                    <a:pt x="760" y="541"/>
                    <a:pt x="762" y="536"/>
                    <a:pt x="764" y="533"/>
                  </a:cubicBezTo>
                  <a:cubicBezTo>
                    <a:pt x="776" y="544"/>
                    <a:pt x="789" y="552"/>
                    <a:pt x="802" y="559"/>
                  </a:cubicBezTo>
                  <a:cubicBezTo>
                    <a:pt x="801" y="561"/>
                    <a:pt x="799" y="564"/>
                    <a:pt x="797" y="566"/>
                  </a:cubicBezTo>
                  <a:moveTo>
                    <a:pt x="737" y="560"/>
                  </a:moveTo>
                  <a:cubicBezTo>
                    <a:pt x="726" y="551"/>
                    <a:pt x="716" y="542"/>
                    <a:pt x="706" y="533"/>
                  </a:cubicBezTo>
                  <a:cubicBezTo>
                    <a:pt x="709" y="528"/>
                    <a:pt x="712" y="523"/>
                    <a:pt x="714" y="519"/>
                  </a:cubicBezTo>
                  <a:cubicBezTo>
                    <a:pt x="723" y="530"/>
                    <a:pt x="733" y="540"/>
                    <a:pt x="743" y="549"/>
                  </a:cubicBezTo>
                  <a:cubicBezTo>
                    <a:pt x="741" y="552"/>
                    <a:pt x="739" y="556"/>
                    <a:pt x="737" y="560"/>
                  </a:cubicBezTo>
                  <a:moveTo>
                    <a:pt x="743" y="496"/>
                  </a:moveTo>
                  <a:cubicBezTo>
                    <a:pt x="728" y="496"/>
                    <a:pt x="728" y="496"/>
                    <a:pt x="728" y="496"/>
                  </a:cubicBezTo>
                  <a:cubicBezTo>
                    <a:pt x="737" y="507"/>
                    <a:pt x="746" y="517"/>
                    <a:pt x="755" y="525"/>
                  </a:cubicBezTo>
                  <a:cubicBezTo>
                    <a:pt x="753" y="529"/>
                    <a:pt x="751" y="533"/>
                    <a:pt x="749" y="538"/>
                  </a:cubicBezTo>
                  <a:cubicBezTo>
                    <a:pt x="738" y="529"/>
                    <a:pt x="729" y="518"/>
                    <a:pt x="719" y="507"/>
                  </a:cubicBezTo>
                  <a:cubicBezTo>
                    <a:pt x="721" y="502"/>
                    <a:pt x="723" y="499"/>
                    <a:pt x="724" y="496"/>
                  </a:cubicBezTo>
                  <a:cubicBezTo>
                    <a:pt x="712" y="496"/>
                    <a:pt x="712" y="496"/>
                    <a:pt x="712" y="496"/>
                  </a:cubicBezTo>
                  <a:cubicBezTo>
                    <a:pt x="712" y="496"/>
                    <a:pt x="712" y="496"/>
                    <a:pt x="711" y="497"/>
                  </a:cubicBezTo>
                  <a:cubicBezTo>
                    <a:pt x="711" y="496"/>
                    <a:pt x="711" y="496"/>
                    <a:pt x="710" y="496"/>
                  </a:cubicBezTo>
                  <a:cubicBezTo>
                    <a:pt x="697" y="496"/>
                    <a:pt x="697" y="496"/>
                    <a:pt x="697" y="496"/>
                  </a:cubicBezTo>
                  <a:cubicBezTo>
                    <a:pt x="697" y="497"/>
                    <a:pt x="697" y="497"/>
                    <a:pt x="697" y="497"/>
                  </a:cubicBezTo>
                  <a:cubicBezTo>
                    <a:pt x="700" y="501"/>
                    <a:pt x="703" y="505"/>
                    <a:pt x="706" y="509"/>
                  </a:cubicBezTo>
                  <a:cubicBezTo>
                    <a:pt x="704" y="513"/>
                    <a:pt x="701" y="519"/>
                    <a:pt x="698" y="525"/>
                  </a:cubicBezTo>
                  <a:cubicBezTo>
                    <a:pt x="698" y="525"/>
                    <a:pt x="697" y="524"/>
                    <a:pt x="697" y="524"/>
                  </a:cubicBezTo>
                  <a:cubicBezTo>
                    <a:pt x="697" y="552"/>
                    <a:pt x="697" y="552"/>
                    <a:pt x="697" y="552"/>
                  </a:cubicBezTo>
                  <a:cubicBezTo>
                    <a:pt x="698" y="549"/>
                    <a:pt x="700" y="547"/>
                    <a:pt x="701" y="544"/>
                  </a:cubicBezTo>
                  <a:cubicBezTo>
                    <a:pt x="710" y="553"/>
                    <a:pt x="721" y="562"/>
                    <a:pt x="732" y="570"/>
                  </a:cubicBezTo>
                  <a:cubicBezTo>
                    <a:pt x="729" y="576"/>
                    <a:pt x="726" y="582"/>
                    <a:pt x="722" y="589"/>
                  </a:cubicBezTo>
                  <a:cubicBezTo>
                    <a:pt x="714" y="581"/>
                    <a:pt x="705" y="572"/>
                    <a:pt x="697" y="562"/>
                  </a:cubicBezTo>
                  <a:cubicBezTo>
                    <a:pt x="697" y="579"/>
                    <a:pt x="697" y="579"/>
                    <a:pt x="697" y="579"/>
                  </a:cubicBezTo>
                  <a:cubicBezTo>
                    <a:pt x="697" y="579"/>
                    <a:pt x="697" y="579"/>
                    <a:pt x="697" y="579"/>
                  </a:cubicBezTo>
                  <a:cubicBezTo>
                    <a:pt x="697" y="580"/>
                    <a:pt x="697" y="580"/>
                    <a:pt x="697" y="580"/>
                  </a:cubicBezTo>
                  <a:cubicBezTo>
                    <a:pt x="697" y="658"/>
                    <a:pt x="697" y="658"/>
                    <a:pt x="697" y="658"/>
                  </a:cubicBezTo>
                  <a:cubicBezTo>
                    <a:pt x="707" y="671"/>
                    <a:pt x="720" y="684"/>
                    <a:pt x="734" y="698"/>
                  </a:cubicBezTo>
                  <a:cubicBezTo>
                    <a:pt x="733" y="705"/>
                    <a:pt x="732" y="712"/>
                    <a:pt x="731" y="720"/>
                  </a:cubicBezTo>
                  <a:cubicBezTo>
                    <a:pt x="718" y="707"/>
                    <a:pt x="708" y="694"/>
                    <a:pt x="700" y="684"/>
                  </a:cubicBezTo>
                  <a:cubicBezTo>
                    <a:pt x="699" y="683"/>
                    <a:pt x="698" y="682"/>
                    <a:pt x="697" y="681"/>
                  </a:cubicBezTo>
                  <a:cubicBezTo>
                    <a:pt x="697" y="699"/>
                    <a:pt x="697" y="699"/>
                    <a:pt x="697" y="699"/>
                  </a:cubicBezTo>
                  <a:cubicBezTo>
                    <a:pt x="705" y="710"/>
                    <a:pt x="716" y="722"/>
                    <a:pt x="729" y="735"/>
                  </a:cubicBezTo>
                  <a:cubicBezTo>
                    <a:pt x="728" y="743"/>
                    <a:pt x="727" y="751"/>
                    <a:pt x="726" y="760"/>
                  </a:cubicBezTo>
                  <a:cubicBezTo>
                    <a:pt x="724" y="758"/>
                    <a:pt x="723" y="757"/>
                    <a:pt x="722" y="756"/>
                  </a:cubicBezTo>
                  <a:cubicBezTo>
                    <a:pt x="712" y="745"/>
                    <a:pt x="704" y="737"/>
                    <a:pt x="697" y="733"/>
                  </a:cubicBezTo>
                  <a:cubicBezTo>
                    <a:pt x="697" y="748"/>
                    <a:pt x="697" y="748"/>
                    <a:pt x="697" y="748"/>
                  </a:cubicBezTo>
                  <a:cubicBezTo>
                    <a:pt x="702" y="752"/>
                    <a:pt x="709" y="759"/>
                    <a:pt x="714" y="765"/>
                  </a:cubicBezTo>
                  <a:cubicBezTo>
                    <a:pt x="717" y="768"/>
                    <a:pt x="721" y="771"/>
                    <a:pt x="724" y="775"/>
                  </a:cubicBezTo>
                  <a:cubicBezTo>
                    <a:pt x="723" y="785"/>
                    <a:pt x="722" y="796"/>
                    <a:pt x="722" y="808"/>
                  </a:cubicBezTo>
                  <a:cubicBezTo>
                    <a:pt x="715" y="803"/>
                    <a:pt x="709" y="801"/>
                    <a:pt x="704" y="801"/>
                  </a:cubicBezTo>
                  <a:cubicBezTo>
                    <a:pt x="702" y="801"/>
                    <a:pt x="700" y="801"/>
                    <a:pt x="698" y="802"/>
                  </a:cubicBezTo>
                  <a:cubicBezTo>
                    <a:pt x="698" y="802"/>
                    <a:pt x="697" y="802"/>
                    <a:pt x="697" y="802"/>
                  </a:cubicBezTo>
                  <a:cubicBezTo>
                    <a:pt x="697" y="815"/>
                    <a:pt x="697" y="815"/>
                    <a:pt x="697" y="815"/>
                  </a:cubicBezTo>
                  <a:cubicBezTo>
                    <a:pt x="699" y="814"/>
                    <a:pt x="700" y="814"/>
                    <a:pt x="702" y="813"/>
                  </a:cubicBezTo>
                  <a:cubicBezTo>
                    <a:pt x="702" y="813"/>
                    <a:pt x="703" y="813"/>
                    <a:pt x="704" y="813"/>
                  </a:cubicBezTo>
                  <a:cubicBezTo>
                    <a:pt x="708" y="813"/>
                    <a:pt x="714" y="816"/>
                    <a:pt x="721" y="822"/>
                  </a:cubicBezTo>
                  <a:cubicBezTo>
                    <a:pt x="721" y="835"/>
                    <a:pt x="720" y="848"/>
                    <a:pt x="720" y="862"/>
                  </a:cubicBezTo>
                  <a:cubicBezTo>
                    <a:pt x="720" y="865"/>
                    <a:pt x="720" y="868"/>
                    <a:pt x="720" y="871"/>
                  </a:cubicBezTo>
                  <a:cubicBezTo>
                    <a:pt x="718" y="871"/>
                    <a:pt x="715" y="872"/>
                    <a:pt x="713" y="873"/>
                  </a:cubicBezTo>
                  <a:cubicBezTo>
                    <a:pt x="707" y="875"/>
                    <a:pt x="702" y="877"/>
                    <a:pt x="697" y="879"/>
                  </a:cubicBezTo>
                  <a:cubicBezTo>
                    <a:pt x="697" y="892"/>
                    <a:pt x="697" y="892"/>
                    <a:pt x="697" y="892"/>
                  </a:cubicBezTo>
                  <a:cubicBezTo>
                    <a:pt x="703" y="889"/>
                    <a:pt x="710" y="887"/>
                    <a:pt x="717" y="884"/>
                  </a:cubicBezTo>
                  <a:cubicBezTo>
                    <a:pt x="718" y="883"/>
                    <a:pt x="719" y="883"/>
                    <a:pt x="720" y="883"/>
                  </a:cubicBezTo>
                  <a:cubicBezTo>
                    <a:pt x="721" y="903"/>
                    <a:pt x="722" y="924"/>
                    <a:pt x="724" y="945"/>
                  </a:cubicBezTo>
                  <a:cubicBezTo>
                    <a:pt x="715" y="948"/>
                    <a:pt x="706" y="952"/>
                    <a:pt x="697" y="956"/>
                  </a:cubicBezTo>
                  <a:cubicBezTo>
                    <a:pt x="697" y="969"/>
                    <a:pt x="697" y="969"/>
                    <a:pt x="697" y="969"/>
                  </a:cubicBezTo>
                  <a:cubicBezTo>
                    <a:pt x="706" y="965"/>
                    <a:pt x="716" y="961"/>
                    <a:pt x="726" y="957"/>
                  </a:cubicBezTo>
                  <a:cubicBezTo>
                    <a:pt x="727" y="969"/>
                    <a:pt x="729" y="981"/>
                    <a:pt x="731" y="993"/>
                  </a:cubicBezTo>
                  <a:cubicBezTo>
                    <a:pt x="742" y="993"/>
                    <a:pt x="742" y="993"/>
                    <a:pt x="742" y="993"/>
                  </a:cubicBezTo>
                  <a:cubicBezTo>
                    <a:pt x="740" y="980"/>
                    <a:pt x="738" y="967"/>
                    <a:pt x="736" y="954"/>
                  </a:cubicBezTo>
                  <a:cubicBezTo>
                    <a:pt x="737" y="953"/>
                    <a:pt x="738" y="953"/>
                    <a:pt x="738" y="953"/>
                  </a:cubicBezTo>
                  <a:cubicBezTo>
                    <a:pt x="750" y="953"/>
                    <a:pt x="766" y="962"/>
                    <a:pt x="787" y="974"/>
                  </a:cubicBezTo>
                  <a:cubicBezTo>
                    <a:pt x="790" y="975"/>
                    <a:pt x="794" y="977"/>
                    <a:pt x="797" y="979"/>
                  </a:cubicBezTo>
                  <a:cubicBezTo>
                    <a:pt x="798" y="984"/>
                    <a:pt x="798" y="988"/>
                    <a:pt x="799" y="993"/>
                  </a:cubicBezTo>
                  <a:cubicBezTo>
                    <a:pt x="810" y="993"/>
                    <a:pt x="810" y="993"/>
                    <a:pt x="810" y="993"/>
                  </a:cubicBezTo>
                  <a:cubicBezTo>
                    <a:pt x="810" y="990"/>
                    <a:pt x="810" y="988"/>
                    <a:pt x="809" y="985"/>
                  </a:cubicBezTo>
                  <a:cubicBezTo>
                    <a:pt x="814" y="988"/>
                    <a:pt x="819" y="990"/>
                    <a:pt x="825" y="993"/>
                  </a:cubicBezTo>
                  <a:cubicBezTo>
                    <a:pt x="854" y="993"/>
                    <a:pt x="854" y="993"/>
                    <a:pt x="854" y="993"/>
                  </a:cubicBezTo>
                  <a:cubicBezTo>
                    <a:pt x="837" y="986"/>
                    <a:pt x="821" y="978"/>
                    <a:pt x="807" y="971"/>
                  </a:cubicBezTo>
                  <a:cubicBezTo>
                    <a:pt x="806" y="958"/>
                    <a:pt x="805" y="945"/>
                    <a:pt x="804" y="932"/>
                  </a:cubicBezTo>
                  <a:cubicBezTo>
                    <a:pt x="818" y="940"/>
                    <a:pt x="834" y="948"/>
                    <a:pt x="852" y="955"/>
                  </a:cubicBezTo>
                  <a:cubicBezTo>
                    <a:pt x="852" y="962"/>
                    <a:pt x="852" y="968"/>
                    <a:pt x="853" y="974"/>
                  </a:cubicBezTo>
                  <a:cubicBezTo>
                    <a:pt x="853" y="980"/>
                    <a:pt x="854" y="987"/>
                    <a:pt x="855" y="993"/>
                  </a:cubicBezTo>
                  <a:cubicBezTo>
                    <a:pt x="866" y="993"/>
                    <a:pt x="866" y="993"/>
                    <a:pt x="866" y="993"/>
                  </a:cubicBezTo>
                  <a:cubicBezTo>
                    <a:pt x="866" y="987"/>
                    <a:pt x="865" y="980"/>
                    <a:pt x="864" y="973"/>
                  </a:cubicBezTo>
                  <a:cubicBezTo>
                    <a:pt x="864" y="969"/>
                    <a:pt x="863" y="964"/>
                    <a:pt x="863" y="960"/>
                  </a:cubicBezTo>
                  <a:cubicBezTo>
                    <a:pt x="879" y="965"/>
                    <a:pt x="896" y="970"/>
                    <a:pt x="914" y="974"/>
                  </a:cubicBezTo>
                  <a:cubicBezTo>
                    <a:pt x="915" y="980"/>
                    <a:pt x="915" y="987"/>
                    <a:pt x="916" y="993"/>
                  </a:cubicBezTo>
                  <a:cubicBezTo>
                    <a:pt x="926" y="993"/>
                    <a:pt x="926" y="993"/>
                    <a:pt x="926" y="993"/>
                  </a:cubicBezTo>
                  <a:cubicBezTo>
                    <a:pt x="925" y="987"/>
                    <a:pt x="925" y="981"/>
                    <a:pt x="925" y="976"/>
                  </a:cubicBezTo>
                  <a:cubicBezTo>
                    <a:pt x="941" y="978"/>
                    <a:pt x="959" y="980"/>
                    <a:pt x="979" y="980"/>
                  </a:cubicBezTo>
                  <a:cubicBezTo>
                    <a:pt x="979" y="984"/>
                    <a:pt x="979" y="989"/>
                    <a:pt x="979" y="993"/>
                  </a:cubicBezTo>
                  <a:cubicBezTo>
                    <a:pt x="991" y="993"/>
                    <a:pt x="991" y="993"/>
                    <a:pt x="991" y="993"/>
                  </a:cubicBezTo>
                  <a:cubicBezTo>
                    <a:pt x="990" y="989"/>
                    <a:pt x="990" y="984"/>
                    <a:pt x="990" y="980"/>
                  </a:cubicBezTo>
                  <a:cubicBezTo>
                    <a:pt x="991" y="980"/>
                    <a:pt x="991" y="980"/>
                    <a:pt x="992" y="980"/>
                  </a:cubicBezTo>
                  <a:cubicBezTo>
                    <a:pt x="992" y="980"/>
                    <a:pt x="993" y="980"/>
                    <a:pt x="993" y="980"/>
                  </a:cubicBezTo>
                  <a:cubicBezTo>
                    <a:pt x="993" y="980"/>
                    <a:pt x="994" y="980"/>
                    <a:pt x="994" y="980"/>
                  </a:cubicBezTo>
                  <a:cubicBezTo>
                    <a:pt x="995" y="980"/>
                    <a:pt x="997" y="980"/>
                    <a:pt x="998" y="980"/>
                  </a:cubicBezTo>
                  <a:cubicBezTo>
                    <a:pt x="1014" y="980"/>
                    <a:pt x="1027" y="979"/>
                    <a:pt x="1039" y="979"/>
                  </a:cubicBezTo>
                  <a:cubicBezTo>
                    <a:pt x="1041" y="979"/>
                    <a:pt x="1043" y="979"/>
                    <a:pt x="1045" y="979"/>
                  </a:cubicBezTo>
                  <a:cubicBezTo>
                    <a:pt x="1045" y="980"/>
                    <a:pt x="1045" y="980"/>
                    <a:pt x="1045" y="980"/>
                  </a:cubicBezTo>
                  <a:cubicBezTo>
                    <a:pt x="1045" y="985"/>
                    <a:pt x="1045" y="989"/>
                    <a:pt x="1045" y="993"/>
                  </a:cubicBezTo>
                  <a:cubicBezTo>
                    <a:pt x="1056" y="993"/>
                    <a:pt x="1056" y="993"/>
                    <a:pt x="1056" y="993"/>
                  </a:cubicBezTo>
                  <a:cubicBezTo>
                    <a:pt x="1056" y="989"/>
                    <a:pt x="1056" y="984"/>
                    <a:pt x="1056" y="980"/>
                  </a:cubicBezTo>
                  <a:cubicBezTo>
                    <a:pt x="1056" y="980"/>
                    <a:pt x="1056" y="980"/>
                    <a:pt x="1056" y="979"/>
                  </a:cubicBezTo>
                  <a:cubicBezTo>
                    <a:pt x="1064" y="980"/>
                    <a:pt x="1072" y="980"/>
                    <a:pt x="1079" y="980"/>
                  </a:cubicBezTo>
                  <a:cubicBezTo>
                    <a:pt x="1079" y="985"/>
                    <a:pt x="1079" y="989"/>
                    <a:pt x="1080" y="993"/>
                  </a:cubicBezTo>
                  <a:cubicBezTo>
                    <a:pt x="1099" y="993"/>
                    <a:pt x="1099" y="993"/>
                    <a:pt x="1099" y="993"/>
                  </a:cubicBezTo>
                  <a:cubicBezTo>
                    <a:pt x="1099" y="989"/>
                    <a:pt x="1098" y="985"/>
                    <a:pt x="1098" y="982"/>
                  </a:cubicBezTo>
                  <a:cubicBezTo>
                    <a:pt x="1112" y="983"/>
                    <a:pt x="1121" y="985"/>
                    <a:pt x="1127" y="987"/>
                  </a:cubicBezTo>
                  <a:cubicBezTo>
                    <a:pt x="1127" y="989"/>
                    <a:pt x="1127" y="991"/>
                    <a:pt x="1127" y="993"/>
                  </a:cubicBezTo>
                  <a:cubicBezTo>
                    <a:pt x="1179" y="993"/>
                    <a:pt x="1179" y="993"/>
                    <a:pt x="1179" y="993"/>
                  </a:cubicBezTo>
                  <a:cubicBezTo>
                    <a:pt x="1163" y="990"/>
                    <a:pt x="1151" y="988"/>
                    <a:pt x="1146" y="986"/>
                  </a:cubicBezTo>
                  <a:cubicBezTo>
                    <a:pt x="1145" y="984"/>
                    <a:pt x="1143" y="981"/>
                    <a:pt x="1137" y="978"/>
                  </a:cubicBezTo>
                  <a:cubicBezTo>
                    <a:pt x="1137" y="974"/>
                    <a:pt x="1137" y="970"/>
                    <a:pt x="1137" y="966"/>
                  </a:cubicBezTo>
                  <a:cubicBezTo>
                    <a:pt x="1137" y="963"/>
                    <a:pt x="1137" y="960"/>
                    <a:pt x="1137" y="957"/>
                  </a:cubicBezTo>
                  <a:cubicBezTo>
                    <a:pt x="1139" y="960"/>
                    <a:pt x="1139" y="960"/>
                    <a:pt x="1139" y="960"/>
                  </a:cubicBezTo>
                  <a:cubicBezTo>
                    <a:pt x="1143" y="956"/>
                    <a:pt x="1143" y="956"/>
                    <a:pt x="1143" y="956"/>
                  </a:cubicBezTo>
                  <a:cubicBezTo>
                    <a:pt x="1144" y="955"/>
                    <a:pt x="1145" y="951"/>
                    <a:pt x="1146" y="951"/>
                  </a:cubicBezTo>
                  <a:cubicBezTo>
                    <a:pt x="1149" y="950"/>
                    <a:pt x="1149" y="950"/>
                    <a:pt x="1149" y="950"/>
                  </a:cubicBezTo>
                  <a:cubicBezTo>
                    <a:pt x="1149" y="955"/>
                    <a:pt x="1149" y="955"/>
                    <a:pt x="1149" y="955"/>
                  </a:cubicBezTo>
                  <a:cubicBezTo>
                    <a:pt x="1149" y="953"/>
                    <a:pt x="1149" y="950"/>
                    <a:pt x="1148" y="947"/>
                  </a:cubicBezTo>
                  <a:cubicBezTo>
                    <a:pt x="1147" y="943"/>
                    <a:pt x="1143" y="939"/>
                    <a:pt x="1138" y="935"/>
                  </a:cubicBezTo>
                  <a:cubicBezTo>
                    <a:pt x="1138" y="931"/>
                    <a:pt x="1138" y="926"/>
                    <a:pt x="1139" y="921"/>
                  </a:cubicBezTo>
                  <a:cubicBezTo>
                    <a:pt x="1139" y="921"/>
                    <a:pt x="1139" y="921"/>
                    <a:pt x="1139" y="921"/>
                  </a:cubicBezTo>
                  <a:cubicBezTo>
                    <a:pt x="1139" y="922"/>
                    <a:pt x="1139" y="922"/>
                    <a:pt x="1139" y="922"/>
                  </a:cubicBezTo>
                  <a:cubicBezTo>
                    <a:pt x="1140" y="922"/>
                    <a:pt x="1173" y="925"/>
                    <a:pt x="1228" y="930"/>
                  </a:cubicBezTo>
                  <a:cubicBezTo>
                    <a:pt x="1226" y="950"/>
                    <a:pt x="1224" y="971"/>
                    <a:pt x="1223" y="993"/>
                  </a:cubicBezTo>
                  <a:cubicBezTo>
                    <a:pt x="1233" y="993"/>
                    <a:pt x="1233" y="993"/>
                    <a:pt x="1233" y="993"/>
                  </a:cubicBezTo>
                  <a:cubicBezTo>
                    <a:pt x="1234" y="971"/>
                    <a:pt x="1236" y="951"/>
                    <a:pt x="1238" y="931"/>
                  </a:cubicBezTo>
                  <a:cubicBezTo>
                    <a:pt x="1262" y="934"/>
                    <a:pt x="1290" y="936"/>
                    <a:pt x="1321" y="940"/>
                  </a:cubicBezTo>
                  <a:cubicBezTo>
                    <a:pt x="1319" y="957"/>
                    <a:pt x="1318" y="975"/>
                    <a:pt x="1317" y="993"/>
                  </a:cubicBezTo>
                  <a:cubicBezTo>
                    <a:pt x="1328" y="993"/>
                    <a:pt x="1328" y="993"/>
                    <a:pt x="1328" y="993"/>
                  </a:cubicBezTo>
                  <a:cubicBezTo>
                    <a:pt x="1329" y="975"/>
                    <a:pt x="1331" y="958"/>
                    <a:pt x="1333" y="941"/>
                  </a:cubicBezTo>
                  <a:cubicBezTo>
                    <a:pt x="1352" y="943"/>
                    <a:pt x="1373" y="945"/>
                    <a:pt x="1395" y="948"/>
                  </a:cubicBezTo>
                  <a:cubicBezTo>
                    <a:pt x="1395" y="935"/>
                    <a:pt x="1395" y="935"/>
                    <a:pt x="1395" y="935"/>
                  </a:cubicBezTo>
                  <a:cubicBezTo>
                    <a:pt x="1374" y="933"/>
                    <a:pt x="1353" y="931"/>
                    <a:pt x="1334" y="929"/>
                  </a:cubicBezTo>
                  <a:cubicBezTo>
                    <a:pt x="1338" y="895"/>
                    <a:pt x="1345" y="863"/>
                    <a:pt x="1352" y="833"/>
                  </a:cubicBezTo>
                  <a:cubicBezTo>
                    <a:pt x="1366" y="835"/>
                    <a:pt x="1380" y="837"/>
                    <a:pt x="1395" y="839"/>
                  </a:cubicBezTo>
                  <a:cubicBezTo>
                    <a:pt x="1395" y="826"/>
                    <a:pt x="1395" y="826"/>
                    <a:pt x="1395" y="826"/>
                  </a:cubicBezTo>
                  <a:cubicBezTo>
                    <a:pt x="1381" y="825"/>
                    <a:pt x="1368" y="823"/>
                    <a:pt x="1355" y="822"/>
                  </a:cubicBezTo>
                  <a:cubicBezTo>
                    <a:pt x="1362" y="795"/>
                    <a:pt x="1370" y="770"/>
                    <a:pt x="1377" y="749"/>
                  </a:cubicBezTo>
                  <a:cubicBezTo>
                    <a:pt x="1383" y="749"/>
                    <a:pt x="1389" y="749"/>
                    <a:pt x="1395" y="750"/>
                  </a:cubicBezTo>
                  <a:cubicBezTo>
                    <a:pt x="1395" y="738"/>
                    <a:pt x="1395" y="738"/>
                    <a:pt x="1395" y="738"/>
                  </a:cubicBezTo>
                  <a:cubicBezTo>
                    <a:pt x="1391" y="737"/>
                    <a:pt x="1386" y="737"/>
                    <a:pt x="1381" y="737"/>
                  </a:cubicBezTo>
                  <a:cubicBezTo>
                    <a:pt x="1386" y="724"/>
                    <a:pt x="1391" y="712"/>
                    <a:pt x="1395" y="701"/>
                  </a:cubicBezTo>
                  <a:cubicBezTo>
                    <a:pt x="1395" y="673"/>
                    <a:pt x="1395" y="673"/>
                    <a:pt x="1395" y="673"/>
                  </a:cubicBezTo>
                  <a:cubicBezTo>
                    <a:pt x="1388" y="689"/>
                    <a:pt x="1379" y="710"/>
                    <a:pt x="1370" y="736"/>
                  </a:cubicBezTo>
                  <a:cubicBezTo>
                    <a:pt x="1350" y="736"/>
                    <a:pt x="1331" y="735"/>
                    <a:pt x="1314" y="735"/>
                  </a:cubicBezTo>
                  <a:cubicBezTo>
                    <a:pt x="1307" y="735"/>
                    <a:pt x="1300" y="735"/>
                    <a:pt x="1293" y="735"/>
                  </a:cubicBezTo>
                  <a:cubicBezTo>
                    <a:pt x="1314" y="688"/>
                    <a:pt x="1333" y="658"/>
                    <a:pt x="1338" y="651"/>
                  </a:cubicBezTo>
                  <a:cubicBezTo>
                    <a:pt x="1348" y="651"/>
                    <a:pt x="1358" y="651"/>
                    <a:pt x="1369" y="651"/>
                  </a:cubicBezTo>
                  <a:cubicBezTo>
                    <a:pt x="1377" y="651"/>
                    <a:pt x="1386" y="651"/>
                    <a:pt x="1395" y="651"/>
                  </a:cubicBezTo>
                  <a:cubicBezTo>
                    <a:pt x="1395" y="639"/>
                    <a:pt x="1395" y="639"/>
                    <a:pt x="1395" y="639"/>
                  </a:cubicBezTo>
                  <a:cubicBezTo>
                    <a:pt x="1395" y="639"/>
                    <a:pt x="1395" y="639"/>
                    <a:pt x="1395" y="639"/>
                  </a:cubicBezTo>
                  <a:cubicBezTo>
                    <a:pt x="1395" y="639"/>
                    <a:pt x="1395" y="639"/>
                    <a:pt x="1395" y="638"/>
                  </a:cubicBezTo>
                  <a:cubicBezTo>
                    <a:pt x="1395" y="616"/>
                    <a:pt x="1395" y="616"/>
                    <a:pt x="1395" y="616"/>
                  </a:cubicBezTo>
                  <a:cubicBezTo>
                    <a:pt x="1376" y="615"/>
                    <a:pt x="1357" y="614"/>
                    <a:pt x="1340" y="614"/>
                  </a:cubicBezTo>
                  <a:cubicBezTo>
                    <a:pt x="1330" y="614"/>
                    <a:pt x="1320" y="615"/>
                    <a:pt x="1311" y="615"/>
                  </a:cubicBezTo>
                  <a:cubicBezTo>
                    <a:pt x="1322" y="609"/>
                    <a:pt x="1334" y="605"/>
                    <a:pt x="1346" y="600"/>
                  </a:cubicBezTo>
                  <a:cubicBezTo>
                    <a:pt x="1348" y="600"/>
                    <a:pt x="1351" y="600"/>
                    <a:pt x="1353" y="600"/>
                  </a:cubicBezTo>
                  <a:cubicBezTo>
                    <a:pt x="1366" y="600"/>
                    <a:pt x="1380" y="601"/>
                    <a:pt x="1395" y="601"/>
                  </a:cubicBezTo>
                  <a:cubicBezTo>
                    <a:pt x="1395" y="589"/>
                    <a:pt x="1395" y="589"/>
                    <a:pt x="1395" y="589"/>
                  </a:cubicBezTo>
                  <a:cubicBezTo>
                    <a:pt x="1391" y="589"/>
                    <a:pt x="1386" y="589"/>
                    <a:pt x="1382" y="589"/>
                  </a:cubicBezTo>
                  <a:cubicBezTo>
                    <a:pt x="1386" y="588"/>
                    <a:pt x="1391" y="586"/>
                    <a:pt x="1395" y="585"/>
                  </a:cubicBezTo>
                  <a:cubicBezTo>
                    <a:pt x="1395" y="573"/>
                    <a:pt x="1395" y="573"/>
                    <a:pt x="1395" y="573"/>
                  </a:cubicBezTo>
                  <a:cubicBezTo>
                    <a:pt x="1378" y="577"/>
                    <a:pt x="1360" y="582"/>
                    <a:pt x="1343" y="588"/>
                  </a:cubicBezTo>
                  <a:cubicBezTo>
                    <a:pt x="1329" y="589"/>
                    <a:pt x="1316" y="589"/>
                    <a:pt x="1306" y="590"/>
                  </a:cubicBezTo>
                  <a:cubicBezTo>
                    <a:pt x="1329" y="582"/>
                    <a:pt x="1357" y="574"/>
                    <a:pt x="1388" y="569"/>
                  </a:cubicBezTo>
                  <a:cubicBezTo>
                    <a:pt x="1391" y="569"/>
                    <a:pt x="1393" y="569"/>
                    <a:pt x="1395" y="568"/>
                  </a:cubicBezTo>
                  <a:cubicBezTo>
                    <a:pt x="1395" y="556"/>
                    <a:pt x="1395" y="556"/>
                    <a:pt x="1395" y="556"/>
                  </a:cubicBezTo>
                  <a:cubicBezTo>
                    <a:pt x="1393" y="557"/>
                    <a:pt x="1391" y="557"/>
                    <a:pt x="1388" y="558"/>
                  </a:cubicBezTo>
                  <a:cubicBezTo>
                    <a:pt x="1311" y="570"/>
                    <a:pt x="1255" y="597"/>
                    <a:pt x="1243" y="604"/>
                  </a:cubicBezTo>
                  <a:cubicBezTo>
                    <a:pt x="1165" y="577"/>
                    <a:pt x="1098" y="559"/>
                    <a:pt x="986" y="559"/>
                  </a:cubicBezTo>
                  <a:cubicBezTo>
                    <a:pt x="955" y="559"/>
                    <a:pt x="920" y="560"/>
                    <a:pt x="881" y="564"/>
                  </a:cubicBezTo>
                  <a:cubicBezTo>
                    <a:pt x="877" y="564"/>
                    <a:pt x="874" y="564"/>
                    <a:pt x="870" y="564"/>
                  </a:cubicBezTo>
                  <a:cubicBezTo>
                    <a:pt x="852" y="564"/>
                    <a:pt x="834" y="560"/>
                    <a:pt x="818" y="553"/>
                  </a:cubicBezTo>
                  <a:cubicBezTo>
                    <a:pt x="816" y="551"/>
                    <a:pt x="816" y="551"/>
                    <a:pt x="816" y="551"/>
                  </a:cubicBezTo>
                  <a:cubicBezTo>
                    <a:pt x="813" y="547"/>
                    <a:pt x="813" y="547"/>
                    <a:pt x="813" y="547"/>
                  </a:cubicBezTo>
                  <a:cubicBezTo>
                    <a:pt x="813" y="547"/>
                    <a:pt x="812" y="548"/>
                    <a:pt x="810" y="550"/>
                  </a:cubicBezTo>
                  <a:cubicBezTo>
                    <a:pt x="796" y="543"/>
                    <a:pt x="782" y="534"/>
                    <a:pt x="770" y="523"/>
                  </a:cubicBezTo>
                  <a:cubicBezTo>
                    <a:pt x="771" y="521"/>
                    <a:pt x="771" y="520"/>
                    <a:pt x="771" y="520"/>
                  </a:cubicBezTo>
                  <a:cubicBezTo>
                    <a:pt x="762" y="514"/>
                    <a:pt x="762" y="514"/>
                    <a:pt x="762" y="514"/>
                  </a:cubicBezTo>
                  <a:cubicBezTo>
                    <a:pt x="762" y="514"/>
                    <a:pt x="761" y="514"/>
                    <a:pt x="761" y="515"/>
                  </a:cubicBezTo>
                  <a:cubicBezTo>
                    <a:pt x="755" y="509"/>
                    <a:pt x="749" y="502"/>
                    <a:pt x="743" y="496"/>
                  </a:cubicBezTo>
                  <a:moveTo>
                    <a:pt x="329" y="421"/>
                  </a:moveTo>
                  <a:cubicBezTo>
                    <a:pt x="356" y="421"/>
                    <a:pt x="384" y="419"/>
                    <a:pt x="412" y="415"/>
                  </a:cubicBezTo>
                  <a:cubicBezTo>
                    <a:pt x="426" y="413"/>
                    <a:pt x="439" y="410"/>
                    <a:pt x="453" y="407"/>
                  </a:cubicBezTo>
                  <a:cubicBezTo>
                    <a:pt x="452" y="413"/>
                    <a:pt x="451" y="420"/>
                    <a:pt x="450" y="428"/>
                  </a:cubicBezTo>
                  <a:cubicBezTo>
                    <a:pt x="413" y="435"/>
                    <a:pt x="376" y="439"/>
                    <a:pt x="338" y="439"/>
                  </a:cubicBezTo>
                  <a:cubicBezTo>
                    <a:pt x="333" y="439"/>
                    <a:pt x="328" y="439"/>
                    <a:pt x="323" y="439"/>
                  </a:cubicBezTo>
                  <a:cubicBezTo>
                    <a:pt x="323" y="433"/>
                    <a:pt x="324" y="427"/>
                    <a:pt x="325" y="421"/>
                  </a:cubicBezTo>
                  <a:cubicBezTo>
                    <a:pt x="326" y="421"/>
                    <a:pt x="328" y="421"/>
                    <a:pt x="329" y="421"/>
                  </a:cubicBezTo>
                  <a:moveTo>
                    <a:pt x="650" y="461"/>
                  </a:moveTo>
                  <a:cubicBezTo>
                    <a:pt x="644" y="449"/>
                    <a:pt x="638" y="438"/>
                    <a:pt x="634" y="428"/>
                  </a:cubicBezTo>
                  <a:cubicBezTo>
                    <a:pt x="638" y="421"/>
                    <a:pt x="642" y="413"/>
                    <a:pt x="645" y="407"/>
                  </a:cubicBezTo>
                  <a:cubicBezTo>
                    <a:pt x="650" y="417"/>
                    <a:pt x="655" y="427"/>
                    <a:pt x="661" y="438"/>
                  </a:cubicBezTo>
                  <a:cubicBezTo>
                    <a:pt x="658" y="445"/>
                    <a:pt x="654" y="452"/>
                    <a:pt x="650" y="461"/>
                  </a:cubicBezTo>
                  <a:moveTo>
                    <a:pt x="311" y="439"/>
                  </a:moveTo>
                  <a:cubicBezTo>
                    <a:pt x="271" y="436"/>
                    <a:pt x="231" y="429"/>
                    <a:pt x="188" y="416"/>
                  </a:cubicBezTo>
                  <a:cubicBezTo>
                    <a:pt x="189" y="412"/>
                    <a:pt x="190" y="407"/>
                    <a:pt x="190" y="403"/>
                  </a:cubicBezTo>
                  <a:cubicBezTo>
                    <a:pt x="230" y="413"/>
                    <a:pt x="271" y="420"/>
                    <a:pt x="314" y="421"/>
                  </a:cubicBezTo>
                  <a:cubicBezTo>
                    <a:pt x="313" y="427"/>
                    <a:pt x="312" y="433"/>
                    <a:pt x="311" y="439"/>
                  </a:cubicBezTo>
                  <a:moveTo>
                    <a:pt x="593" y="460"/>
                  </a:moveTo>
                  <a:cubicBezTo>
                    <a:pt x="598" y="435"/>
                    <a:pt x="603" y="412"/>
                    <a:pt x="607" y="390"/>
                  </a:cubicBezTo>
                  <a:cubicBezTo>
                    <a:pt x="608" y="390"/>
                    <a:pt x="608" y="390"/>
                    <a:pt x="608" y="390"/>
                  </a:cubicBezTo>
                  <a:cubicBezTo>
                    <a:pt x="612" y="404"/>
                    <a:pt x="622" y="436"/>
                    <a:pt x="644" y="472"/>
                  </a:cubicBezTo>
                  <a:cubicBezTo>
                    <a:pt x="643" y="473"/>
                    <a:pt x="643" y="474"/>
                    <a:pt x="643" y="475"/>
                  </a:cubicBezTo>
                  <a:cubicBezTo>
                    <a:pt x="640" y="470"/>
                    <a:pt x="638" y="465"/>
                    <a:pt x="636" y="460"/>
                  </a:cubicBezTo>
                  <a:cubicBezTo>
                    <a:pt x="633" y="452"/>
                    <a:pt x="631" y="447"/>
                    <a:pt x="627" y="447"/>
                  </a:cubicBezTo>
                  <a:cubicBezTo>
                    <a:pt x="626" y="447"/>
                    <a:pt x="625" y="447"/>
                    <a:pt x="624" y="447"/>
                  </a:cubicBezTo>
                  <a:cubicBezTo>
                    <a:pt x="614" y="452"/>
                    <a:pt x="604" y="456"/>
                    <a:pt x="593" y="460"/>
                  </a:cubicBezTo>
                  <a:moveTo>
                    <a:pt x="231" y="381"/>
                  </a:moveTo>
                  <a:cubicBezTo>
                    <a:pt x="238" y="381"/>
                    <a:pt x="245" y="381"/>
                    <a:pt x="253" y="380"/>
                  </a:cubicBezTo>
                  <a:cubicBezTo>
                    <a:pt x="270" y="380"/>
                    <a:pt x="289" y="378"/>
                    <a:pt x="308" y="374"/>
                  </a:cubicBezTo>
                  <a:cubicBezTo>
                    <a:pt x="312" y="373"/>
                    <a:pt x="316" y="372"/>
                    <a:pt x="320" y="372"/>
                  </a:cubicBezTo>
                  <a:cubicBezTo>
                    <a:pt x="319" y="384"/>
                    <a:pt x="317" y="397"/>
                    <a:pt x="315" y="412"/>
                  </a:cubicBezTo>
                  <a:cubicBezTo>
                    <a:pt x="276" y="411"/>
                    <a:pt x="235" y="404"/>
                    <a:pt x="192" y="392"/>
                  </a:cubicBezTo>
                  <a:cubicBezTo>
                    <a:pt x="193" y="387"/>
                    <a:pt x="194" y="382"/>
                    <a:pt x="194" y="378"/>
                  </a:cubicBezTo>
                  <a:cubicBezTo>
                    <a:pt x="206" y="380"/>
                    <a:pt x="218" y="381"/>
                    <a:pt x="231" y="381"/>
                  </a:cubicBezTo>
                  <a:moveTo>
                    <a:pt x="666" y="424"/>
                  </a:moveTo>
                  <a:cubicBezTo>
                    <a:pt x="661" y="413"/>
                    <a:pt x="655" y="402"/>
                    <a:pt x="651" y="392"/>
                  </a:cubicBezTo>
                  <a:cubicBezTo>
                    <a:pt x="653" y="385"/>
                    <a:pt x="655" y="378"/>
                    <a:pt x="656" y="372"/>
                  </a:cubicBezTo>
                  <a:cubicBezTo>
                    <a:pt x="661" y="382"/>
                    <a:pt x="666" y="393"/>
                    <a:pt x="671" y="405"/>
                  </a:cubicBezTo>
                  <a:cubicBezTo>
                    <a:pt x="671" y="408"/>
                    <a:pt x="669" y="414"/>
                    <a:pt x="666" y="424"/>
                  </a:cubicBezTo>
                  <a:moveTo>
                    <a:pt x="169" y="476"/>
                  </a:moveTo>
                  <a:cubicBezTo>
                    <a:pt x="127" y="461"/>
                    <a:pt x="84" y="439"/>
                    <a:pt x="41" y="412"/>
                  </a:cubicBezTo>
                  <a:cubicBezTo>
                    <a:pt x="42" y="394"/>
                    <a:pt x="44" y="378"/>
                    <a:pt x="44" y="364"/>
                  </a:cubicBezTo>
                  <a:cubicBezTo>
                    <a:pt x="90" y="391"/>
                    <a:pt x="133" y="411"/>
                    <a:pt x="176" y="425"/>
                  </a:cubicBezTo>
                  <a:cubicBezTo>
                    <a:pt x="174" y="440"/>
                    <a:pt x="172" y="458"/>
                    <a:pt x="169" y="476"/>
                  </a:cubicBezTo>
                  <a:moveTo>
                    <a:pt x="242" y="368"/>
                  </a:moveTo>
                  <a:cubicBezTo>
                    <a:pt x="226" y="368"/>
                    <a:pt x="211" y="367"/>
                    <a:pt x="196" y="365"/>
                  </a:cubicBezTo>
                  <a:cubicBezTo>
                    <a:pt x="197" y="362"/>
                    <a:pt x="197" y="361"/>
                    <a:pt x="197" y="360"/>
                  </a:cubicBezTo>
                  <a:cubicBezTo>
                    <a:pt x="218" y="364"/>
                    <a:pt x="242" y="366"/>
                    <a:pt x="268" y="366"/>
                  </a:cubicBezTo>
                  <a:cubicBezTo>
                    <a:pt x="269" y="366"/>
                    <a:pt x="269" y="366"/>
                    <a:pt x="269" y="366"/>
                  </a:cubicBezTo>
                  <a:cubicBezTo>
                    <a:pt x="267" y="366"/>
                    <a:pt x="265" y="367"/>
                    <a:pt x="263" y="367"/>
                  </a:cubicBezTo>
                  <a:cubicBezTo>
                    <a:pt x="259" y="367"/>
                    <a:pt x="255" y="368"/>
                    <a:pt x="252" y="368"/>
                  </a:cubicBezTo>
                  <a:cubicBezTo>
                    <a:pt x="248" y="368"/>
                    <a:pt x="245" y="368"/>
                    <a:pt x="242" y="368"/>
                  </a:cubicBezTo>
                  <a:cubicBezTo>
                    <a:pt x="242" y="368"/>
                    <a:pt x="242" y="368"/>
                    <a:pt x="242" y="368"/>
                  </a:cubicBezTo>
                  <a:moveTo>
                    <a:pt x="461" y="425"/>
                  </a:moveTo>
                  <a:cubicBezTo>
                    <a:pt x="462" y="418"/>
                    <a:pt x="464" y="411"/>
                    <a:pt x="465" y="404"/>
                  </a:cubicBezTo>
                  <a:cubicBezTo>
                    <a:pt x="510" y="393"/>
                    <a:pt x="556" y="376"/>
                    <a:pt x="604" y="352"/>
                  </a:cubicBezTo>
                  <a:cubicBezTo>
                    <a:pt x="602" y="361"/>
                    <a:pt x="600" y="371"/>
                    <a:pt x="598" y="381"/>
                  </a:cubicBezTo>
                  <a:cubicBezTo>
                    <a:pt x="553" y="399"/>
                    <a:pt x="508" y="415"/>
                    <a:pt x="461" y="425"/>
                  </a:cubicBezTo>
                  <a:moveTo>
                    <a:pt x="610" y="376"/>
                  </a:moveTo>
                  <a:cubicBezTo>
                    <a:pt x="613" y="364"/>
                    <a:pt x="615" y="353"/>
                    <a:pt x="618" y="343"/>
                  </a:cubicBezTo>
                  <a:cubicBezTo>
                    <a:pt x="623" y="356"/>
                    <a:pt x="630" y="373"/>
                    <a:pt x="638" y="393"/>
                  </a:cubicBezTo>
                  <a:cubicBezTo>
                    <a:pt x="636" y="400"/>
                    <a:pt x="632" y="407"/>
                    <a:pt x="628" y="415"/>
                  </a:cubicBezTo>
                  <a:cubicBezTo>
                    <a:pt x="620" y="395"/>
                    <a:pt x="617" y="381"/>
                    <a:pt x="617" y="381"/>
                  </a:cubicBezTo>
                  <a:cubicBezTo>
                    <a:pt x="616" y="374"/>
                    <a:pt x="616" y="374"/>
                    <a:pt x="616" y="374"/>
                  </a:cubicBezTo>
                  <a:cubicBezTo>
                    <a:pt x="610" y="376"/>
                    <a:pt x="610" y="376"/>
                    <a:pt x="610" y="376"/>
                  </a:cubicBezTo>
                  <a:moveTo>
                    <a:pt x="178" y="413"/>
                  </a:moveTo>
                  <a:cubicBezTo>
                    <a:pt x="135" y="399"/>
                    <a:pt x="91" y="378"/>
                    <a:pt x="45" y="350"/>
                  </a:cubicBezTo>
                  <a:cubicBezTo>
                    <a:pt x="46" y="347"/>
                    <a:pt x="46" y="345"/>
                    <a:pt x="46" y="342"/>
                  </a:cubicBezTo>
                  <a:cubicBezTo>
                    <a:pt x="88" y="366"/>
                    <a:pt x="132" y="386"/>
                    <a:pt x="180" y="400"/>
                  </a:cubicBezTo>
                  <a:cubicBezTo>
                    <a:pt x="179" y="404"/>
                    <a:pt x="178" y="408"/>
                    <a:pt x="178" y="413"/>
                  </a:cubicBezTo>
                  <a:moveTo>
                    <a:pt x="333" y="412"/>
                  </a:moveTo>
                  <a:cubicBezTo>
                    <a:pt x="331" y="412"/>
                    <a:pt x="329" y="412"/>
                    <a:pt x="326" y="412"/>
                  </a:cubicBezTo>
                  <a:cubicBezTo>
                    <a:pt x="328" y="397"/>
                    <a:pt x="330" y="382"/>
                    <a:pt x="332" y="369"/>
                  </a:cubicBezTo>
                  <a:cubicBezTo>
                    <a:pt x="333" y="369"/>
                    <a:pt x="335" y="369"/>
                    <a:pt x="336" y="368"/>
                  </a:cubicBezTo>
                  <a:cubicBezTo>
                    <a:pt x="380" y="361"/>
                    <a:pt x="423" y="352"/>
                    <a:pt x="464" y="340"/>
                  </a:cubicBezTo>
                  <a:cubicBezTo>
                    <a:pt x="462" y="349"/>
                    <a:pt x="459" y="367"/>
                    <a:pt x="454" y="397"/>
                  </a:cubicBezTo>
                  <a:cubicBezTo>
                    <a:pt x="418" y="406"/>
                    <a:pt x="378" y="412"/>
                    <a:pt x="333" y="412"/>
                  </a:cubicBezTo>
                  <a:moveTo>
                    <a:pt x="181" y="388"/>
                  </a:moveTo>
                  <a:cubicBezTo>
                    <a:pt x="139" y="375"/>
                    <a:pt x="94" y="355"/>
                    <a:pt x="47" y="327"/>
                  </a:cubicBezTo>
                  <a:cubicBezTo>
                    <a:pt x="47" y="326"/>
                    <a:pt x="47" y="325"/>
                    <a:pt x="47" y="324"/>
                  </a:cubicBezTo>
                  <a:cubicBezTo>
                    <a:pt x="82" y="346"/>
                    <a:pt x="118" y="364"/>
                    <a:pt x="156" y="376"/>
                  </a:cubicBezTo>
                  <a:cubicBezTo>
                    <a:pt x="157" y="369"/>
                    <a:pt x="157" y="369"/>
                    <a:pt x="157" y="369"/>
                  </a:cubicBezTo>
                  <a:cubicBezTo>
                    <a:pt x="166" y="372"/>
                    <a:pt x="174" y="374"/>
                    <a:pt x="183" y="376"/>
                  </a:cubicBezTo>
                  <a:cubicBezTo>
                    <a:pt x="183" y="380"/>
                    <a:pt x="182" y="384"/>
                    <a:pt x="181" y="388"/>
                  </a:cubicBezTo>
                  <a:moveTo>
                    <a:pt x="268" y="318"/>
                  </a:moveTo>
                  <a:cubicBezTo>
                    <a:pt x="279" y="318"/>
                    <a:pt x="289" y="318"/>
                    <a:pt x="300" y="317"/>
                  </a:cubicBezTo>
                  <a:cubicBezTo>
                    <a:pt x="306" y="323"/>
                    <a:pt x="315" y="326"/>
                    <a:pt x="327" y="328"/>
                  </a:cubicBezTo>
                  <a:cubicBezTo>
                    <a:pt x="327" y="329"/>
                    <a:pt x="327" y="329"/>
                    <a:pt x="326" y="329"/>
                  </a:cubicBezTo>
                  <a:cubicBezTo>
                    <a:pt x="296" y="329"/>
                    <a:pt x="271" y="325"/>
                    <a:pt x="252" y="318"/>
                  </a:cubicBezTo>
                  <a:cubicBezTo>
                    <a:pt x="257" y="318"/>
                    <a:pt x="263" y="318"/>
                    <a:pt x="268" y="318"/>
                  </a:cubicBezTo>
                  <a:moveTo>
                    <a:pt x="328" y="316"/>
                  </a:moveTo>
                  <a:cubicBezTo>
                    <a:pt x="325" y="316"/>
                    <a:pt x="323" y="315"/>
                    <a:pt x="320" y="315"/>
                  </a:cubicBezTo>
                  <a:cubicBezTo>
                    <a:pt x="321" y="314"/>
                    <a:pt x="322" y="314"/>
                    <a:pt x="322" y="314"/>
                  </a:cubicBezTo>
                  <a:cubicBezTo>
                    <a:pt x="324" y="314"/>
                    <a:pt x="327" y="313"/>
                    <a:pt x="329" y="313"/>
                  </a:cubicBezTo>
                  <a:cubicBezTo>
                    <a:pt x="329" y="314"/>
                    <a:pt x="329" y="315"/>
                    <a:pt x="328" y="316"/>
                  </a:cubicBezTo>
                  <a:moveTo>
                    <a:pt x="101" y="341"/>
                  </a:moveTo>
                  <a:cubicBezTo>
                    <a:pt x="83" y="332"/>
                    <a:pt x="65" y="322"/>
                    <a:pt x="48" y="311"/>
                  </a:cubicBezTo>
                  <a:cubicBezTo>
                    <a:pt x="48" y="310"/>
                    <a:pt x="48" y="309"/>
                    <a:pt x="48" y="309"/>
                  </a:cubicBezTo>
                  <a:cubicBezTo>
                    <a:pt x="61" y="317"/>
                    <a:pt x="74" y="325"/>
                    <a:pt x="88" y="333"/>
                  </a:cubicBezTo>
                  <a:cubicBezTo>
                    <a:pt x="92" y="336"/>
                    <a:pt x="97" y="339"/>
                    <a:pt x="101" y="341"/>
                  </a:cubicBezTo>
                  <a:moveTo>
                    <a:pt x="356" y="319"/>
                  </a:moveTo>
                  <a:cubicBezTo>
                    <a:pt x="350" y="319"/>
                    <a:pt x="345" y="318"/>
                    <a:pt x="340" y="318"/>
                  </a:cubicBezTo>
                  <a:cubicBezTo>
                    <a:pt x="340" y="315"/>
                    <a:pt x="340" y="313"/>
                    <a:pt x="341" y="311"/>
                  </a:cubicBezTo>
                  <a:cubicBezTo>
                    <a:pt x="346" y="310"/>
                    <a:pt x="351" y="309"/>
                    <a:pt x="357" y="307"/>
                  </a:cubicBezTo>
                  <a:cubicBezTo>
                    <a:pt x="361" y="307"/>
                    <a:pt x="366" y="306"/>
                    <a:pt x="370" y="305"/>
                  </a:cubicBezTo>
                  <a:cubicBezTo>
                    <a:pt x="380" y="304"/>
                    <a:pt x="389" y="302"/>
                    <a:pt x="398" y="300"/>
                  </a:cubicBezTo>
                  <a:cubicBezTo>
                    <a:pt x="404" y="306"/>
                    <a:pt x="414" y="308"/>
                    <a:pt x="426" y="308"/>
                  </a:cubicBezTo>
                  <a:cubicBezTo>
                    <a:pt x="429" y="308"/>
                    <a:pt x="433" y="308"/>
                    <a:pt x="436" y="308"/>
                  </a:cubicBezTo>
                  <a:cubicBezTo>
                    <a:pt x="435" y="308"/>
                    <a:pt x="434" y="308"/>
                    <a:pt x="433" y="308"/>
                  </a:cubicBezTo>
                  <a:cubicBezTo>
                    <a:pt x="422" y="311"/>
                    <a:pt x="411" y="313"/>
                    <a:pt x="400" y="315"/>
                  </a:cubicBezTo>
                  <a:cubicBezTo>
                    <a:pt x="384" y="318"/>
                    <a:pt x="369" y="319"/>
                    <a:pt x="356" y="319"/>
                  </a:cubicBezTo>
                  <a:moveTo>
                    <a:pt x="644" y="376"/>
                  </a:moveTo>
                  <a:cubicBezTo>
                    <a:pt x="633" y="352"/>
                    <a:pt x="626" y="333"/>
                    <a:pt x="622" y="323"/>
                  </a:cubicBezTo>
                  <a:cubicBezTo>
                    <a:pt x="625" y="313"/>
                    <a:pt x="627" y="304"/>
                    <a:pt x="628" y="296"/>
                  </a:cubicBezTo>
                  <a:cubicBezTo>
                    <a:pt x="633" y="311"/>
                    <a:pt x="639" y="329"/>
                    <a:pt x="647" y="349"/>
                  </a:cubicBezTo>
                  <a:cubicBezTo>
                    <a:pt x="647" y="356"/>
                    <a:pt x="646" y="365"/>
                    <a:pt x="644" y="376"/>
                  </a:cubicBezTo>
                  <a:moveTo>
                    <a:pt x="269" y="306"/>
                  </a:moveTo>
                  <a:cubicBezTo>
                    <a:pt x="255" y="306"/>
                    <a:pt x="242" y="305"/>
                    <a:pt x="229" y="304"/>
                  </a:cubicBezTo>
                  <a:cubicBezTo>
                    <a:pt x="226" y="301"/>
                    <a:pt x="224" y="298"/>
                    <a:pt x="223" y="295"/>
                  </a:cubicBezTo>
                  <a:cubicBezTo>
                    <a:pt x="239" y="300"/>
                    <a:pt x="255" y="304"/>
                    <a:pt x="272" y="306"/>
                  </a:cubicBezTo>
                  <a:cubicBezTo>
                    <a:pt x="271" y="306"/>
                    <a:pt x="270" y="306"/>
                    <a:pt x="269" y="306"/>
                  </a:cubicBezTo>
                  <a:cubicBezTo>
                    <a:pt x="269" y="306"/>
                    <a:pt x="269" y="306"/>
                    <a:pt x="269" y="306"/>
                  </a:cubicBezTo>
                  <a:moveTo>
                    <a:pt x="318" y="297"/>
                  </a:moveTo>
                  <a:cubicBezTo>
                    <a:pt x="313" y="297"/>
                    <a:pt x="309" y="297"/>
                    <a:pt x="304" y="297"/>
                  </a:cubicBezTo>
                  <a:cubicBezTo>
                    <a:pt x="304" y="295"/>
                    <a:pt x="305" y="294"/>
                    <a:pt x="307" y="291"/>
                  </a:cubicBezTo>
                  <a:cubicBezTo>
                    <a:pt x="323" y="294"/>
                    <a:pt x="339" y="295"/>
                    <a:pt x="355" y="295"/>
                  </a:cubicBezTo>
                  <a:cubicBezTo>
                    <a:pt x="355" y="295"/>
                    <a:pt x="355" y="295"/>
                    <a:pt x="356" y="295"/>
                  </a:cubicBezTo>
                  <a:cubicBezTo>
                    <a:pt x="355" y="295"/>
                    <a:pt x="355" y="295"/>
                    <a:pt x="355" y="295"/>
                  </a:cubicBezTo>
                  <a:cubicBezTo>
                    <a:pt x="342" y="297"/>
                    <a:pt x="330" y="297"/>
                    <a:pt x="318" y="297"/>
                  </a:cubicBezTo>
                  <a:moveTo>
                    <a:pt x="268" y="354"/>
                  </a:moveTo>
                  <a:cubicBezTo>
                    <a:pt x="183" y="354"/>
                    <a:pt x="123" y="333"/>
                    <a:pt x="115" y="295"/>
                  </a:cubicBezTo>
                  <a:cubicBezTo>
                    <a:pt x="115" y="292"/>
                    <a:pt x="114" y="289"/>
                    <a:pt x="114" y="287"/>
                  </a:cubicBezTo>
                  <a:cubicBezTo>
                    <a:pt x="114" y="285"/>
                    <a:pt x="114" y="282"/>
                    <a:pt x="115" y="280"/>
                  </a:cubicBezTo>
                  <a:cubicBezTo>
                    <a:pt x="148" y="297"/>
                    <a:pt x="184" y="310"/>
                    <a:pt x="225" y="316"/>
                  </a:cubicBezTo>
                  <a:cubicBezTo>
                    <a:pt x="244" y="332"/>
                    <a:pt x="279" y="341"/>
                    <a:pt x="325" y="342"/>
                  </a:cubicBezTo>
                  <a:cubicBezTo>
                    <a:pt x="324" y="345"/>
                    <a:pt x="324" y="348"/>
                    <a:pt x="323" y="351"/>
                  </a:cubicBezTo>
                  <a:cubicBezTo>
                    <a:pt x="304" y="353"/>
                    <a:pt x="285" y="354"/>
                    <a:pt x="268" y="354"/>
                  </a:cubicBezTo>
                  <a:cubicBezTo>
                    <a:pt x="268" y="354"/>
                    <a:pt x="268" y="354"/>
                    <a:pt x="268" y="354"/>
                  </a:cubicBezTo>
                  <a:moveTo>
                    <a:pt x="354" y="283"/>
                  </a:moveTo>
                  <a:cubicBezTo>
                    <a:pt x="342" y="283"/>
                    <a:pt x="329" y="282"/>
                    <a:pt x="317" y="281"/>
                  </a:cubicBezTo>
                  <a:cubicBezTo>
                    <a:pt x="319" y="279"/>
                    <a:pt x="321" y="277"/>
                    <a:pt x="324" y="276"/>
                  </a:cubicBezTo>
                  <a:cubicBezTo>
                    <a:pt x="344" y="279"/>
                    <a:pt x="364" y="281"/>
                    <a:pt x="385" y="281"/>
                  </a:cubicBezTo>
                  <a:cubicBezTo>
                    <a:pt x="388" y="281"/>
                    <a:pt x="391" y="281"/>
                    <a:pt x="394" y="281"/>
                  </a:cubicBezTo>
                  <a:cubicBezTo>
                    <a:pt x="380" y="282"/>
                    <a:pt x="367" y="283"/>
                    <a:pt x="354" y="283"/>
                  </a:cubicBezTo>
                  <a:cubicBezTo>
                    <a:pt x="354" y="283"/>
                    <a:pt x="354" y="283"/>
                    <a:pt x="354" y="283"/>
                  </a:cubicBezTo>
                  <a:moveTo>
                    <a:pt x="466" y="394"/>
                  </a:moveTo>
                  <a:cubicBezTo>
                    <a:pt x="472" y="360"/>
                    <a:pt x="475" y="342"/>
                    <a:pt x="476" y="336"/>
                  </a:cubicBezTo>
                  <a:cubicBezTo>
                    <a:pt x="508" y="326"/>
                    <a:pt x="540" y="314"/>
                    <a:pt x="568" y="300"/>
                  </a:cubicBezTo>
                  <a:cubicBezTo>
                    <a:pt x="597" y="286"/>
                    <a:pt x="612" y="276"/>
                    <a:pt x="621" y="269"/>
                  </a:cubicBezTo>
                  <a:cubicBezTo>
                    <a:pt x="621" y="271"/>
                    <a:pt x="622" y="273"/>
                    <a:pt x="622" y="274"/>
                  </a:cubicBezTo>
                  <a:cubicBezTo>
                    <a:pt x="619" y="285"/>
                    <a:pt x="616" y="300"/>
                    <a:pt x="612" y="318"/>
                  </a:cubicBezTo>
                  <a:cubicBezTo>
                    <a:pt x="609" y="319"/>
                    <a:pt x="609" y="319"/>
                    <a:pt x="609" y="319"/>
                  </a:cubicBezTo>
                  <a:cubicBezTo>
                    <a:pt x="609" y="320"/>
                    <a:pt x="610" y="321"/>
                    <a:pt x="611" y="323"/>
                  </a:cubicBezTo>
                  <a:cubicBezTo>
                    <a:pt x="609" y="328"/>
                    <a:pt x="608" y="333"/>
                    <a:pt x="607" y="338"/>
                  </a:cubicBezTo>
                  <a:cubicBezTo>
                    <a:pt x="607" y="337"/>
                    <a:pt x="607" y="337"/>
                    <a:pt x="607" y="337"/>
                  </a:cubicBezTo>
                  <a:cubicBezTo>
                    <a:pt x="575" y="353"/>
                    <a:pt x="527" y="378"/>
                    <a:pt x="466" y="394"/>
                  </a:cubicBezTo>
                  <a:moveTo>
                    <a:pt x="292" y="296"/>
                  </a:moveTo>
                  <a:cubicBezTo>
                    <a:pt x="267" y="294"/>
                    <a:pt x="243" y="289"/>
                    <a:pt x="220" y="282"/>
                  </a:cubicBezTo>
                  <a:cubicBezTo>
                    <a:pt x="220" y="277"/>
                    <a:pt x="222" y="272"/>
                    <a:pt x="224" y="267"/>
                  </a:cubicBezTo>
                  <a:cubicBezTo>
                    <a:pt x="248" y="277"/>
                    <a:pt x="271" y="285"/>
                    <a:pt x="295" y="289"/>
                  </a:cubicBezTo>
                  <a:cubicBezTo>
                    <a:pt x="294" y="292"/>
                    <a:pt x="293" y="294"/>
                    <a:pt x="292" y="296"/>
                  </a:cubicBezTo>
                  <a:moveTo>
                    <a:pt x="461" y="273"/>
                  </a:moveTo>
                  <a:cubicBezTo>
                    <a:pt x="466" y="271"/>
                    <a:pt x="472" y="268"/>
                    <a:pt x="477" y="266"/>
                  </a:cubicBezTo>
                  <a:cubicBezTo>
                    <a:pt x="484" y="267"/>
                    <a:pt x="488" y="269"/>
                    <a:pt x="488" y="271"/>
                  </a:cubicBezTo>
                  <a:cubicBezTo>
                    <a:pt x="488" y="271"/>
                    <a:pt x="488" y="271"/>
                    <a:pt x="488" y="271"/>
                  </a:cubicBezTo>
                  <a:cubicBezTo>
                    <a:pt x="488" y="275"/>
                    <a:pt x="476" y="287"/>
                    <a:pt x="450" y="293"/>
                  </a:cubicBezTo>
                  <a:cubicBezTo>
                    <a:pt x="446" y="294"/>
                    <a:pt x="443" y="295"/>
                    <a:pt x="440" y="295"/>
                  </a:cubicBezTo>
                  <a:cubicBezTo>
                    <a:pt x="434" y="296"/>
                    <a:pt x="430" y="296"/>
                    <a:pt x="426" y="296"/>
                  </a:cubicBezTo>
                  <a:cubicBezTo>
                    <a:pt x="420" y="296"/>
                    <a:pt x="416" y="296"/>
                    <a:pt x="412" y="295"/>
                  </a:cubicBezTo>
                  <a:cubicBezTo>
                    <a:pt x="411" y="290"/>
                    <a:pt x="411" y="290"/>
                    <a:pt x="411" y="290"/>
                  </a:cubicBezTo>
                  <a:cubicBezTo>
                    <a:pt x="422" y="286"/>
                    <a:pt x="433" y="281"/>
                    <a:pt x="444" y="276"/>
                  </a:cubicBezTo>
                  <a:cubicBezTo>
                    <a:pt x="442" y="270"/>
                    <a:pt x="442" y="270"/>
                    <a:pt x="442" y="270"/>
                  </a:cubicBezTo>
                  <a:cubicBezTo>
                    <a:pt x="446" y="275"/>
                    <a:pt x="446" y="275"/>
                    <a:pt x="446" y="275"/>
                  </a:cubicBezTo>
                  <a:cubicBezTo>
                    <a:pt x="446" y="274"/>
                    <a:pt x="447" y="273"/>
                    <a:pt x="448" y="272"/>
                  </a:cubicBezTo>
                  <a:cubicBezTo>
                    <a:pt x="449" y="275"/>
                    <a:pt x="449" y="275"/>
                    <a:pt x="449" y="275"/>
                  </a:cubicBezTo>
                  <a:cubicBezTo>
                    <a:pt x="450" y="274"/>
                    <a:pt x="451" y="273"/>
                    <a:pt x="452" y="273"/>
                  </a:cubicBezTo>
                  <a:cubicBezTo>
                    <a:pt x="453" y="274"/>
                    <a:pt x="453" y="274"/>
                    <a:pt x="453" y="274"/>
                  </a:cubicBezTo>
                  <a:cubicBezTo>
                    <a:pt x="454" y="274"/>
                    <a:pt x="455" y="273"/>
                    <a:pt x="456" y="272"/>
                  </a:cubicBezTo>
                  <a:cubicBezTo>
                    <a:pt x="457" y="274"/>
                    <a:pt x="457" y="274"/>
                    <a:pt x="457" y="274"/>
                  </a:cubicBezTo>
                  <a:cubicBezTo>
                    <a:pt x="458" y="273"/>
                    <a:pt x="459" y="273"/>
                    <a:pt x="460" y="272"/>
                  </a:cubicBezTo>
                  <a:cubicBezTo>
                    <a:pt x="461" y="273"/>
                    <a:pt x="461" y="273"/>
                    <a:pt x="461" y="273"/>
                  </a:cubicBezTo>
                  <a:moveTo>
                    <a:pt x="363" y="268"/>
                  </a:moveTo>
                  <a:cubicBezTo>
                    <a:pt x="355" y="268"/>
                    <a:pt x="347" y="267"/>
                    <a:pt x="340" y="266"/>
                  </a:cubicBezTo>
                  <a:cubicBezTo>
                    <a:pt x="342" y="265"/>
                    <a:pt x="344" y="263"/>
                    <a:pt x="347" y="262"/>
                  </a:cubicBezTo>
                  <a:cubicBezTo>
                    <a:pt x="352" y="264"/>
                    <a:pt x="358" y="266"/>
                    <a:pt x="363" y="268"/>
                  </a:cubicBezTo>
                  <a:moveTo>
                    <a:pt x="69" y="296"/>
                  </a:moveTo>
                  <a:cubicBezTo>
                    <a:pt x="69" y="296"/>
                    <a:pt x="71" y="281"/>
                    <a:pt x="80" y="260"/>
                  </a:cubicBezTo>
                  <a:cubicBezTo>
                    <a:pt x="88" y="265"/>
                    <a:pt x="96" y="270"/>
                    <a:pt x="104" y="275"/>
                  </a:cubicBezTo>
                  <a:cubicBezTo>
                    <a:pt x="103" y="279"/>
                    <a:pt x="103" y="283"/>
                    <a:pt x="103" y="287"/>
                  </a:cubicBezTo>
                  <a:cubicBezTo>
                    <a:pt x="103" y="290"/>
                    <a:pt x="103" y="294"/>
                    <a:pt x="104" y="298"/>
                  </a:cubicBezTo>
                  <a:cubicBezTo>
                    <a:pt x="110" y="326"/>
                    <a:pt x="140" y="347"/>
                    <a:pt x="186" y="358"/>
                  </a:cubicBezTo>
                  <a:cubicBezTo>
                    <a:pt x="186" y="359"/>
                    <a:pt x="186" y="360"/>
                    <a:pt x="185" y="363"/>
                  </a:cubicBezTo>
                  <a:cubicBezTo>
                    <a:pt x="170" y="359"/>
                    <a:pt x="155" y="355"/>
                    <a:pt x="140" y="349"/>
                  </a:cubicBezTo>
                  <a:cubicBezTo>
                    <a:pt x="131" y="344"/>
                    <a:pt x="121" y="339"/>
                    <a:pt x="112" y="333"/>
                  </a:cubicBezTo>
                  <a:cubicBezTo>
                    <a:pt x="112" y="332"/>
                    <a:pt x="112" y="332"/>
                    <a:pt x="112" y="332"/>
                  </a:cubicBezTo>
                  <a:cubicBezTo>
                    <a:pt x="109" y="331"/>
                    <a:pt x="107" y="329"/>
                    <a:pt x="105" y="328"/>
                  </a:cubicBezTo>
                  <a:cubicBezTo>
                    <a:pt x="91" y="319"/>
                    <a:pt x="77" y="308"/>
                    <a:pt x="65" y="295"/>
                  </a:cubicBezTo>
                  <a:cubicBezTo>
                    <a:pt x="69" y="296"/>
                    <a:pt x="69" y="296"/>
                    <a:pt x="69" y="296"/>
                  </a:cubicBezTo>
                  <a:moveTo>
                    <a:pt x="213" y="302"/>
                  </a:moveTo>
                  <a:cubicBezTo>
                    <a:pt x="178" y="295"/>
                    <a:pt x="146" y="284"/>
                    <a:pt x="118" y="268"/>
                  </a:cubicBezTo>
                  <a:cubicBezTo>
                    <a:pt x="120" y="263"/>
                    <a:pt x="123" y="257"/>
                    <a:pt x="127" y="250"/>
                  </a:cubicBezTo>
                  <a:cubicBezTo>
                    <a:pt x="153" y="267"/>
                    <a:pt x="180" y="281"/>
                    <a:pt x="210" y="291"/>
                  </a:cubicBezTo>
                  <a:cubicBezTo>
                    <a:pt x="210" y="292"/>
                    <a:pt x="210" y="292"/>
                    <a:pt x="210" y="292"/>
                  </a:cubicBezTo>
                  <a:cubicBezTo>
                    <a:pt x="211" y="295"/>
                    <a:pt x="212" y="298"/>
                    <a:pt x="213" y="302"/>
                  </a:cubicBezTo>
                  <a:moveTo>
                    <a:pt x="302" y="279"/>
                  </a:moveTo>
                  <a:cubicBezTo>
                    <a:pt x="278" y="274"/>
                    <a:pt x="254" y="267"/>
                    <a:pt x="230" y="257"/>
                  </a:cubicBezTo>
                  <a:cubicBezTo>
                    <a:pt x="232" y="255"/>
                    <a:pt x="234" y="252"/>
                    <a:pt x="236" y="250"/>
                  </a:cubicBezTo>
                  <a:cubicBezTo>
                    <a:pt x="260" y="260"/>
                    <a:pt x="284" y="268"/>
                    <a:pt x="309" y="273"/>
                  </a:cubicBezTo>
                  <a:cubicBezTo>
                    <a:pt x="306" y="275"/>
                    <a:pt x="304" y="277"/>
                    <a:pt x="302" y="279"/>
                  </a:cubicBezTo>
                  <a:moveTo>
                    <a:pt x="402" y="264"/>
                  </a:moveTo>
                  <a:cubicBezTo>
                    <a:pt x="388" y="262"/>
                    <a:pt x="375" y="260"/>
                    <a:pt x="362" y="255"/>
                  </a:cubicBezTo>
                  <a:cubicBezTo>
                    <a:pt x="367" y="253"/>
                    <a:pt x="373" y="251"/>
                    <a:pt x="378" y="249"/>
                  </a:cubicBezTo>
                  <a:cubicBezTo>
                    <a:pt x="386" y="255"/>
                    <a:pt x="394" y="260"/>
                    <a:pt x="402" y="264"/>
                  </a:cubicBezTo>
                  <a:moveTo>
                    <a:pt x="482" y="293"/>
                  </a:moveTo>
                  <a:cubicBezTo>
                    <a:pt x="493" y="287"/>
                    <a:pt x="500" y="279"/>
                    <a:pt x="500" y="271"/>
                  </a:cubicBezTo>
                  <a:cubicBezTo>
                    <a:pt x="500" y="270"/>
                    <a:pt x="499" y="269"/>
                    <a:pt x="499" y="268"/>
                  </a:cubicBezTo>
                  <a:cubicBezTo>
                    <a:pt x="499" y="265"/>
                    <a:pt x="497" y="263"/>
                    <a:pt x="495" y="261"/>
                  </a:cubicBezTo>
                  <a:cubicBezTo>
                    <a:pt x="509" y="258"/>
                    <a:pt x="524" y="254"/>
                    <a:pt x="540" y="247"/>
                  </a:cubicBezTo>
                  <a:cubicBezTo>
                    <a:pt x="543" y="246"/>
                    <a:pt x="545" y="245"/>
                    <a:pt x="547" y="244"/>
                  </a:cubicBezTo>
                  <a:cubicBezTo>
                    <a:pt x="547" y="244"/>
                    <a:pt x="547" y="244"/>
                    <a:pt x="547" y="245"/>
                  </a:cubicBezTo>
                  <a:cubicBezTo>
                    <a:pt x="547" y="251"/>
                    <a:pt x="540" y="262"/>
                    <a:pt x="519" y="275"/>
                  </a:cubicBezTo>
                  <a:cubicBezTo>
                    <a:pt x="508" y="281"/>
                    <a:pt x="496" y="287"/>
                    <a:pt x="482" y="293"/>
                  </a:cubicBezTo>
                  <a:moveTo>
                    <a:pt x="424" y="262"/>
                  </a:moveTo>
                  <a:cubicBezTo>
                    <a:pt x="414" y="258"/>
                    <a:pt x="403" y="252"/>
                    <a:pt x="392" y="244"/>
                  </a:cubicBezTo>
                  <a:cubicBezTo>
                    <a:pt x="399" y="242"/>
                    <a:pt x="407" y="240"/>
                    <a:pt x="415" y="238"/>
                  </a:cubicBezTo>
                  <a:cubicBezTo>
                    <a:pt x="420" y="247"/>
                    <a:pt x="425" y="255"/>
                    <a:pt x="428" y="261"/>
                  </a:cubicBezTo>
                  <a:cubicBezTo>
                    <a:pt x="426" y="261"/>
                    <a:pt x="425" y="262"/>
                    <a:pt x="424" y="262"/>
                  </a:cubicBezTo>
                  <a:moveTo>
                    <a:pt x="531" y="237"/>
                  </a:moveTo>
                  <a:cubicBezTo>
                    <a:pt x="533" y="237"/>
                    <a:pt x="534" y="236"/>
                    <a:pt x="536" y="235"/>
                  </a:cubicBezTo>
                  <a:cubicBezTo>
                    <a:pt x="536" y="236"/>
                    <a:pt x="536" y="236"/>
                    <a:pt x="536" y="236"/>
                  </a:cubicBezTo>
                  <a:cubicBezTo>
                    <a:pt x="534" y="236"/>
                    <a:pt x="533" y="237"/>
                    <a:pt x="531" y="237"/>
                  </a:cubicBezTo>
                  <a:moveTo>
                    <a:pt x="438" y="258"/>
                  </a:moveTo>
                  <a:cubicBezTo>
                    <a:pt x="435" y="251"/>
                    <a:pt x="431" y="244"/>
                    <a:pt x="426" y="235"/>
                  </a:cubicBezTo>
                  <a:cubicBezTo>
                    <a:pt x="434" y="233"/>
                    <a:pt x="442" y="232"/>
                    <a:pt x="450" y="231"/>
                  </a:cubicBezTo>
                  <a:cubicBezTo>
                    <a:pt x="450" y="240"/>
                    <a:pt x="448" y="249"/>
                    <a:pt x="445" y="256"/>
                  </a:cubicBezTo>
                  <a:cubicBezTo>
                    <a:pt x="444" y="256"/>
                    <a:pt x="443" y="256"/>
                    <a:pt x="442" y="257"/>
                  </a:cubicBezTo>
                  <a:cubicBezTo>
                    <a:pt x="441" y="257"/>
                    <a:pt x="440" y="257"/>
                    <a:pt x="438" y="258"/>
                  </a:cubicBezTo>
                  <a:moveTo>
                    <a:pt x="108" y="263"/>
                  </a:moveTo>
                  <a:cubicBezTo>
                    <a:pt x="100" y="258"/>
                    <a:pt x="92" y="253"/>
                    <a:pt x="84" y="248"/>
                  </a:cubicBezTo>
                  <a:cubicBezTo>
                    <a:pt x="87" y="242"/>
                    <a:pt x="90" y="235"/>
                    <a:pt x="94" y="227"/>
                  </a:cubicBezTo>
                  <a:cubicBezTo>
                    <a:pt x="102" y="233"/>
                    <a:pt x="110" y="239"/>
                    <a:pt x="117" y="244"/>
                  </a:cubicBezTo>
                  <a:cubicBezTo>
                    <a:pt x="113" y="250"/>
                    <a:pt x="110" y="257"/>
                    <a:pt x="108" y="263"/>
                  </a:cubicBezTo>
                  <a:moveTo>
                    <a:pt x="458" y="253"/>
                  </a:moveTo>
                  <a:cubicBezTo>
                    <a:pt x="460" y="246"/>
                    <a:pt x="461" y="239"/>
                    <a:pt x="461" y="230"/>
                  </a:cubicBezTo>
                  <a:cubicBezTo>
                    <a:pt x="461" y="230"/>
                    <a:pt x="461" y="229"/>
                    <a:pt x="461" y="229"/>
                  </a:cubicBezTo>
                  <a:cubicBezTo>
                    <a:pt x="467" y="228"/>
                    <a:pt x="473" y="228"/>
                    <a:pt x="478" y="227"/>
                  </a:cubicBezTo>
                  <a:cubicBezTo>
                    <a:pt x="473" y="237"/>
                    <a:pt x="466" y="246"/>
                    <a:pt x="458" y="253"/>
                  </a:cubicBezTo>
                  <a:moveTo>
                    <a:pt x="485" y="240"/>
                  </a:moveTo>
                  <a:cubicBezTo>
                    <a:pt x="487" y="236"/>
                    <a:pt x="489" y="231"/>
                    <a:pt x="491" y="227"/>
                  </a:cubicBezTo>
                  <a:cubicBezTo>
                    <a:pt x="493" y="227"/>
                    <a:pt x="494" y="227"/>
                    <a:pt x="495" y="227"/>
                  </a:cubicBezTo>
                  <a:cubicBezTo>
                    <a:pt x="496" y="227"/>
                    <a:pt x="497" y="227"/>
                    <a:pt x="499" y="227"/>
                  </a:cubicBezTo>
                  <a:cubicBezTo>
                    <a:pt x="494" y="231"/>
                    <a:pt x="490" y="236"/>
                    <a:pt x="485" y="240"/>
                  </a:cubicBezTo>
                  <a:moveTo>
                    <a:pt x="59" y="290"/>
                  </a:moveTo>
                  <a:cubicBezTo>
                    <a:pt x="49" y="280"/>
                    <a:pt x="38" y="268"/>
                    <a:pt x="29" y="256"/>
                  </a:cubicBezTo>
                  <a:cubicBezTo>
                    <a:pt x="29" y="253"/>
                    <a:pt x="31" y="242"/>
                    <a:pt x="35" y="226"/>
                  </a:cubicBezTo>
                  <a:cubicBezTo>
                    <a:pt x="46" y="235"/>
                    <a:pt x="58" y="244"/>
                    <a:pt x="70" y="253"/>
                  </a:cubicBezTo>
                  <a:cubicBezTo>
                    <a:pt x="63" y="270"/>
                    <a:pt x="60" y="283"/>
                    <a:pt x="59" y="290"/>
                  </a:cubicBezTo>
                  <a:moveTo>
                    <a:pt x="210" y="278"/>
                  </a:moveTo>
                  <a:cubicBezTo>
                    <a:pt x="183" y="269"/>
                    <a:pt x="158" y="256"/>
                    <a:pt x="134" y="241"/>
                  </a:cubicBezTo>
                  <a:cubicBezTo>
                    <a:pt x="138" y="235"/>
                    <a:pt x="144" y="230"/>
                    <a:pt x="150" y="224"/>
                  </a:cubicBezTo>
                  <a:cubicBezTo>
                    <a:pt x="171" y="239"/>
                    <a:pt x="192" y="252"/>
                    <a:pt x="214" y="262"/>
                  </a:cubicBezTo>
                  <a:cubicBezTo>
                    <a:pt x="212" y="268"/>
                    <a:pt x="210" y="273"/>
                    <a:pt x="210" y="278"/>
                  </a:cubicBezTo>
                  <a:moveTo>
                    <a:pt x="321" y="263"/>
                  </a:moveTo>
                  <a:cubicBezTo>
                    <a:pt x="295" y="259"/>
                    <a:pt x="269" y="251"/>
                    <a:pt x="245" y="241"/>
                  </a:cubicBezTo>
                  <a:cubicBezTo>
                    <a:pt x="251" y="235"/>
                    <a:pt x="258" y="230"/>
                    <a:pt x="266" y="224"/>
                  </a:cubicBezTo>
                  <a:cubicBezTo>
                    <a:pt x="267" y="223"/>
                    <a:pt x="269" y="222"/>
                    <a:pt x="270" y="221"/>
                  </a:cubicBezTo>
                  <a:cubicBezTo>
                    <a:pt x="291" y="236"/>
                    <a:pt x="312" y="248"/>
                    <a:pt x="332" y="257"/>
                  </a:cubicBezTo>
                  <a:cubicBezTo>
                    <a:pt x="330" y="258"/>
                    <a:pt x="328" y="259"/>
                    <a:pt x="326" y="260"/>
                  </a:cubicBezTo>
                  <a:cubicBezTo>
                    <a:pt x="324" y="261"/>
                    <a:pt x="323" y="262"/>
                    <a:pt x="321" y="263"/>
                  </a:cubicBezTo>
                  <a:moveTo>
                    <a:pt x="220" y="252"/>
                  </a:moveTo>
                  <a:cubicBezTo>
                    <a:pt x="199" y="242"/>
                    <a:pt x="178" y="230"/>
                    <a:pt x="159" y="217"/>
                  </a:cubicBezTo>
                  <a:cubicBezTo>
                    <a:pt x="161" y="215"/>
                    <a:pt x="163" y="213"/>
                    <a:pt x="165" y="211"/>
                  </a:cubicBezTo>
                  <a:cubicBezTo>
                    <a:pt x="185" y="224"/>
                    <a:pt x="205" y="236"/>
                    <a:pt x="225" y="245"/>
                  </a:cubicBezTo>
                  <a:cubicBezTo>
                    <a:pt x="223" y="248"/>
                    <a:pt x="221" y="250"/>
                    <a:pt x="220" y="252"/>
                  </a:cubicBezTo>
                  <a:moveTo>
                    <a:pt x="526" y="284"/>
                  </a:moveTo>
                  <a:cubicBezTo>
                    <a:pt x="547" y="271"/>
                    <a:pt x="558" y="257"/>
                    <a:pt x="559" y="245"/>
                  </a:cubicBezTo>
                  <a:cubicBezTo>
                    <a:pt x="559" y="243"/>
                    <a:pt x="558" y="242"/>
                    <a:pt x="558" y="240"/>
                  </a:cubicBezTo>
                  <a:cubicBezTo>
                    <a:pt x="558" y="239"/>
                    <a:pt x="558" y="239"/>
                    <a:pt x="558" y="239"/>
                  </a:cubicBezTo>
                  <a:cubicBezTo>
                    <a:pt x="576" y="231"/>
                    <a:pt x="597" y="219"/>
                    <a:pt x="619" y="202"/>
                  </a:cubicBezTo>
                  <a:cubicBezTo>
                    <a:pt x="615" y="228"/>
                    <a:pt x="579" y="259"/>
                    <a:pt x="526" y="284"/>
                  </a:cubicBezTo>
                  <a:moveTo>
                    <a:pt x="124" y="235"/>
                  </a:moveTo>
                  <a:cubicBezTo>
                    <a:pt x="116" y="229"/>
                    <a:pt x="108" y="223"/>
                    <a:pt x="100" y="217"/>
                  </a:cubicBezTo>
                  <a:cubicBezTo>
                    <a:pt x="104" y="210"/>
                    <a:pt x="109" y="204"/>
                    <a:pt x="114" y="197"/>
                  </a:cubicBezTo>
                  <a:cubicBezTo>
                    <a:pt x="122" y="204"/>
                    <a:pt x="131" y="211"/>
                    <a:pt x="140" y="217"/>
                  </a:cubicBezTo>
                  <a:cubicBezTo>
                    <a:pt x="134" y="223"/>
                    <a:pt x="129" y="229"/>
                    <a:pt x="124" y="235"/>
                  </a:cubicBezTo>
                  <a:moveTo>
                    <a:pt x="346" y="249"/>
                  </a:moveTo>
                  <a:cubicBezTo>
                    <a:pt x="324" y="241"/>
                    <a:pt x="303" y="229"/>
                    <a:pt x="281" y="215"/>
                  </a:cubicBezTo>
                  <a:cubicBezTo>
                    <a:pt x="292" y="208"/>
                    <a:pt x="305" y="201"/>
                    <a:pt x="319" y="195"/>
                  </a:cubicBezTo>
                  <a:cubicBezTo>
                    <a:pt x="335" y="212"/>
                    <a:pt x="352" y="228"/>
                    <a:pt x="367" y="240"/>
                  </a:cubicBezTo>
                  <a:cubicBezTo>
                    <a:pt x="360" y="243"/>
                    <a:pt x="353" y="246"/>
                    <a:pt x="346" y="249"/>
                  </a:cubicBezTo>
                  <a:moveTo>
                    <a:pt x="74" y="242"/>
                  </a:moveTo>
                  <a:cubicBezTo>
                    <a:pt x="62" y="233"/>
                    <a:pt x="50" y="223"/>
                    <a:pt x="39" y="213"/>
                  </a:cubicBezTo>
                  <a:cubicBezTo>
                    <a:pt x="41" y="205"/>
                    <a:pt x="44" y="197"/>
                    <a:pt x="48" y="188"/>
                  </a:cubicBezTo>
                  <a:cubicBezTo>
                    <a:pt x="60" y="199"/>
                    <a:pt x="72" y="210"/>
                    <a:pt x="85" y="220"/>
                  </a:cubicBezTo>
                  <a:cubicBezTo>
                    <a:pt x="81" y="228"/>
                    <a:pt x="77" y="235"/>
                    <a:pt x="74" y="242"/>
                  </a:cubicBezTo>
                  <a:moveTo>
                    <a:pt x="148" y="209"/>
                  </a:moveTo>
                  <a:cubicBezTo>
                    <a:pt x="139" y="203"/>
                    <a:pt x="130" y="195"/>
                    <a:pt x="121" y="187"/>
                  </a:cubicBezTo>
                  <a:cubicBezTo>
                    <a:pt x="122" y="185"/>
                    <a:pt x="124" y="183"/>
                    <a:pt x="126" y="182"/>
                  </a:cubicBezTo>
                  <a:cubicBezTo>
                    <a:pt x="135" y="189"/>
                    <a:pt x="145" y="197"/>
                    <a:pt x="155" y="204"/>
                  </a:cubicBezTo>
                  <a:cubicBezTo>
                    <a:pt x="153" y="206"/>
                    <a:pt x="151" y="208"/>
                    <a:pt x="148" y="209"/>
                  </a:cubicBezTo>
                  <a:moveTo>
                    <a:pt x="233" y="236"/>
                  </a:moveTo>
                  <a:cubicBezTo>
                    <a:pt x="213" y="227"/>
                    <a:pt x="194" y="216"/>
                    <a:pt x="175" y="204"/>
                  </a:cubicBezTo>
                  <a:cubicBezTo>
                    <a:pt x="187" y="195"/>
                    <a:pt x="201" y="186"/>
                    <a:pt x="216" y="178"/>
                  </a:cubicBezTo>
                  <a:cubicBezTo>
                    <a:pt x="230" y="191"/>
                    <a:pt x="245" y="203"/>
                    <a:pt x="260" y="214"/>
                  </a:cubicBezTo>
                  <a:cubicBezTo>
                    <a:pt x="249" y="221"/>
                    <a:pt x="241" y="229"/>
                    <a:pt x="233" y="236"/>
                  </a:cubicBezTo>
                  <a:moveTo>
                    <a:pt x="555" y="222"/>
                  </a:moveTo>
                  <a:cubicBezTo>
                    <a:pt x="576" y="207"/>
                    <a:pt x="594" y="192"/>
                    <a:pt x="609" y="176"/>
                  </a:cubicBezTo>
                  <a:cubicBezTo>
                    <a:pt x="611" y="178"/>
                    <a:pt x="612" y="179"/>
                    <a:pt x="613" y="181"/>
                  </a:cubicBezTo>
                  <a:cubicBezTo>
                    <a:pt x="596" y="197"/>
                    <a:pt x="577" y="210"/>
                    <a:pt x="555" y="222"/>
                  </a:cubicBezTo>
                  <a:moveTo>
                    <a:pt x="380" y="236"/>
                  </a:moveTo>
                  <a:cubicBezTo>
                    <a:pt x="364" y="223"/>
                    <a:pt x="347" y="208"/>
                    <a:pt x="329" y="190"/>
                  </a:cubicBezTo>
                  <a:cubicBezTo>
                    <a:pt x="344" y="184"/>
                    <a:pt x="359" y="179"/>
                    <a:pt x="375" y="174"/>
                  </a:cubicBezTo>
                  <a:cubicBezTo>
                    <a:pt x="388" y="194"/>
                    <a:pt x="399" y="212"/>
                    <a:pt x="408" y="227"/>
                  </a:cubicBezTo>
                  <a:cubicBezTo>
                    <a:pt x="399" y="230"/>
                    <a:pt x="389" y="233"/>
                    <a:pt x="380" y="236"/>
                  </a:cubicBezTo>
                  <a:moveTo>
                    <a:pt x="554" y="208"/>
                  </a:moveTo>
                  <a:cubicBezTo>
                    <a:pt x="568" y="194"/>
                    <a:pt x="579" y="179"/>
                    <a:pt x="588" y="164"/>
                  </a:cubicBezTo>
                  <a:cubicBezTo>
                    <a:pt x="592" y="165"/>
                    <a:pt x="596" y="167"/>
                    <a:pt x="599" y="169"/>
                  </a:cubicBezTo>
                  <a:cubicBezTo>
                    <a:pt x="586" y="182"/>
                    <a:pt x="571" y="195"/>
                    <a:pt x="554" y="208"/>
                  </a:cubicBezTo>
                  <a:moveTo>
                    <a:pt x="420" y="222"/>
                  </a:moveTo>
                  <a:cubicBezTo>
                    <a:pt x="410" y="207"/>
                    <a:pt x="399" y="190"/>
                    <a:pt x="386" y="169"/>
                  </a:cubicBezTo>
                  <a:cubicBezTo>
                    <a:pt x="392" y="168"/>
                    <a:pt x="398" y="167"/>
                    <a:pt x="404" y="165"/>
                  </a:cubicBezTo>
                  <a:cubicBezTo>
                    <a:pt x="414" y="163"/>
                    <a:pt x="424" y="159"/>
                    <a:pt x="434" y="157"/>
                  </a:cubicBezTo>
                  <a:cubicBezTo>
                    <a:pt x="442" y="179"/>
                    <a:pt x="447" y="203"/>
                    <a:pt x="448" y="214"/>
                  </a:cubicBezTo>
                  <a:cubicBezTo>
                    <a:pt x="448" y="214"/>
                    <a:pt x="448" y="214"/>
                    <a:pt x="448" y="214"/>
                  </a:cubicBezTo>
                  <a:cubicBezTo>
                    <a:pt x="438" y="216"/>
                    <a:pt x="429" y="220"/>
                    <a:pt x="420" y="222"/>
                  </a:cubicBezTo>
                  <a:moveTo>
                    <a:pt x="526" y="218"/>
                  </a:moveTo>
                  <a:cubicBezTo>
                    <a:pt x="525" y="217"/>
                    <a:pt x="524" y="217"/>
                    <a:pt x="523" y="217"/>
                  </a:cubicBezTo>
                  <a:cubicBezTo>
                    <a:pt x="537" y="198"/>
                    <a:pt x="546" y="177"/>
                    <a:pt x="552" y="154"/>
                  </a:cubicBezTo>
                  <a:cubicBezTo>
                    <a:pt x="561" y="156"/>
                    <a:pt x="569" y="157"/>
                    <a:pt x="577" y="160"/>
                  </a:cubicBezTo>
                  <a:cubicBezTo>
                    <a:pt x="564" y="180"/>
                    <a:pt x="547" y="200"/>
                    <a:pt x="526" y="218"/>
                  </a:cubicBezTo>
                  <a:moveTo>
                    <a:pt x="460" y="217"/>
                  </a:moveTo>
                  <a:cubicBezTo>
                    <a:pt x="458" y="199"/>
                    <a:pt x="453" y="179"/>
                    <a:pt x="445" y="157"/>
                  </a:cubicBezTo>
                  <a:cubicBezTo>
                    <a:pt x="446" y="157"/>
                    <a:pt x="447" y="157"/>
                    <a:pt x="447" y="157"/>
                  </a:cubicBezTo>
                  <a:cubicBezTo>
                    <a:pt x="463" y="155"/>
                    <a:pt x="477" y="153"/>
                    <a:pt x="491" y="152"/>
                  </a:cubicBezTo>
                  <a:cubicBezTo>
                    <a:pt x="492" y="157"/>
                    <a:pt x="492" y="162"/>
                    <a:pt x="492" y="166"/>
                  </a:cubicBezTo>
                  <a:cubicBezTo>
                    <a:pt x="492" y="184"/>
                    <a:pt x="489" y="200"/>
                    <a:pt x="484" y="215"/>
                  </a:cubicBezTo>
                  <a:cubicBezTo>
                    <a:pt x="476" y="215"/>
                    <a:pt x="468" y="216"/>
                    <a:pt x="460" y="217"/>
                  </a:cubicBezTo>
                  <a:moveTo>
                    <a:pt x="509" y="215"/>
                  </a:moveTo>
                  <a:cubicBezTo>
                    <a:pt x="505" y="215"/>
                    <a:pt x="500" y="215"/>
                    <a:pt x="496" y="215"/>
                  </a:cubicBezTo>
                  <a:cubicBezTo>
                    <a:pt x="501" y="200"/>
                    <a:pt x="503" y="184"/>
                    <a:pt x="503" y="167"/>
                  </a:cubicBezTo>
                  <a:cubicBezTo>
                    <a:pt x="503" y="162"/>
                    <a:pt x="503" y="157"/>
                    <a:pt x="503" y="152"/>
                  </a:cubicBezTo>
                  <a:cubicBezTo>
                    <a:pt x="506" y="152"/>
                    <a:pt x="509" y="152"/>
                    <a:pt x="513" y="152"/>
                  </a:cubicBezTo>
                  <a:cubicBezTo>
                    <a:pt x="522" y="152"/>
                    <a:pt x="531" y="152"/>
                    <a:pt x="540" y="153"/>
                  </a:cubicBezTo>
                  <a:cubicBezTo>
                    <a:pt x="534" y="176"/>
                    <a:pt x="524" y="197"/>
                    <a:pt x="509" y="215"/>
                  </a:cubicBezTo>
                  <a:moveTo>
                    <a:pt x="91" y="210"/>
                  </a:moveTo>
                  <a:cubicBezTo>
                    <a:pt x="78" y="199"/>
                    <a:pt x="65" y="188"/>
                    <a:pt x="53" y="176"/>
                  </a:cubicBezTo>
                  <a:cubicBezTo>
                    <a:pt x="57" y="168"/>
                    <a:pt x="61" y="160"/>
                    <a:pt x="66" y="151"/>
                  </a:cubicBezTo>
                  <a:cubicBezTo>
                    <a:pt x="79" y="165"/>
                    <a:pt x="92" y="177"/>
                    <a:pt x="105" y="189"/>
                  </a:cubicBezTo>
                  <a:cubicBezTo>
                    <a:pt x="100" y="196"/>
                    <a:pt x="95" y="203"/>
                    <a:pt x="91" y="210"/>
                  </a:cubicBezTo>
                  <a:moveTo>
                    <a:pt x="270" y="207"/>
                  </a:moveTo>
                  <a:cubicBezTo>
                    <a:pt x="255" y="197"/>
                    <a:pt x="241" y="185"/>
                    <a:pt x="226" y="172"/>
                  </a:cubicBezTo>
                  <a:cubicBezTo>
                    <a:pt x="242" y="164"/>
                    <a:pt x="259" y="156"/>
                    <a:pt x="277" y="149"/>
                  </a:cubicBezTo>
                  <a:cubicBezTo>
                    <a:pt x="288" y="162"/>
                    <a:pt x="299" y="174"/>
                    <a:pt x="310" y="186"/>
                  </a:cubicBezTo>
                  <a:cubicBezTo>
                    <a:pt x="295" y="192"/>
                    <a:pt x="282" y="200"/>
                    <a:pt x="270" y="207"/>
                  </a:cubicBezTo>
                  <a:moveTo>
                    <a:pt x="335" y="350"/>
                  </a:moveTo>
                  <a:cubicBezTo>
                    <a:pt x="335" y="347"/>
                    <a:pt x="336" y="344"/>
                    <a:pt x="336" y="341"/>
                  </a:cubicBezTo>
                  <a:cubicBezTo>
                    <a:pt x="354" y="341"/>
                    <a:pt x="373" y="339"/>
                    <a:pt x="394" y="336"/>
                  </a:cubicBezTo>
                  <a:cubicBezTo>
                    <a:pt x="408" y="334"/>
                    <a:pt x="423" y="331"/>
                    <a:pt x="438" y="327"/>
                  </a:cubicBezTo>
                  <a:cubicBezTo>
                    <a:pt x="549" y="300"/>
                    <a:pt x="630" y="245"/>
                    <a:pt x="630" y="198"/>
                  </a:cubicBezTo>
                  <a:cubicBezTo>
                    <a:pt x="630" y="196"/>
                    <a:pt x="630" y="195"/>
                    <a:pt x="630" y="194"/>
                  </a:cubicBezTo>
                  <a:cubicBezTo>
                    <a:pt x="647" y="180"/>
                    <a:pt x="664" y="163"/>
                    <a:pt x="681" y="144"/>
                  </a:cubicBezTo>
                  <a:cubicBezTo>
                    <a:pt x="683" y="147"/>
                    <a:pt x="685" y="151"/>
                    <a:pt x="686" y="156"/>
                  </a:cubicBezTo>
                  <a:cubicBezTo>
                    <a:pt x="686" y="158"/>
                    <a:pt x="687" y="161"/>
                    <a:pt x="687" y="164"/>
                  </a:cubicBezTo>
                  <a:cubicBezTo>
                    <a:pt x="687" y="167"/>
                    <a:pt x="686" y="170"/>
                    <a:pt x="686" y="173"/>
                  </a:cubicBezTo>
                  <a:cubicBezTo>
                    <a:pt x="672" y="200"/>
                    <a:pt x="654" y="223"/>
                    <a:pt x="632" y="243"/>
                  </a:cubicBezTo>
                  <a:cubicBezTo>
                    <a:pt x="584" y="279"/>
                    <a:pt x="509" y="313"/>
                    <a:pt x="424" y="334"/>
                  </a:cubicBezTo>
                  <a:cubicBezTo>
                    <a:pt x="403" y="339"/>
                    <a:pt x="382" y="343"/>
                    <a:pt x="362" y="347"/>
                  </a:cubicBezTo>
                  <a:cubicBezTo>
                    <a:pt x="352" y="348"/>
                    <a:pt x="344" y="349"/>
                    <a:pt x="335" y="350"/>
                  </a:cubicBezTo>
                  <a:moveTo>
                    <a:pt x="164" y="196"/>
                  </a:moveTo>
                  <a:cubicBezTo>
                    <a:pt x="154" y="189"/>
                    <a:pt x="143" y="181"/>
                    <a:pt x="133" y="173"/>
                  </a:cubicBezTo>
                  <a:cubicBezTo>
                    <a:pt x="144" y="161"/>
                    <a:pt x="156" y="150"/>
                    <a:pt x="170" y="138"/>
                  </a:cubicBezTo>
                  <a:cubicBezTo>
                    <a:pt x="171" y="138"/>
                    <a:pt x="172" y="137"/>
                    <a:pt x="174" y="136"/>
                  </a:cubicBezTo>
                  <a:cubicBezTo>
                    <a:pt x="184" y="148"/>
                    <a:pt x="195" y="159"/>
                    <a:pt x="206" y="169"/>
                  </a:cubicBezTo>
                  <a:cubicBezTo>
                    <a:pt x="191" y="178"/>
                    <a:pt x="177" y="187"/>
                    <a:pt x="164" y="196"/>
                  </a:cubicBezTo>
                  <a:moveTo>
                    <a:pt x="112" y="180"/>
                  </a:moveTo>
                  <a:cubicBezTo>
                    <a:pt x="98" y="168"/>
                    <a:pt x="85" y="154"/>
                    <a:pt x="72" y="140"/>
                  </a:cubicBezTo>
                  <a:cubicBezTo>
                    <a:pt x="73" y="139"/>
                    <a:pt x="74" y="137"/>
                    <a:pt x="75" y="135"/>
                  </a:cubicBezTo>
                  <a:cubicBezTo>
                    <a:pt x="89" y="149"/>
                    <a:pt x="103" y="162"/>
                    <a:pt x="117" y="174"/>
                  </a:cubicBezTo>
                  <a:cubicBezTo>
                    <a:pt x="115" y="176"/>
                    <a:pt x="114" y="178"/>
                    <a:pt x="112" y="180"/>
                  </a:cubicBezTo>
                  <a:moveTo>
                    <a:pt x="642" y="168"/>
                  </a:moveTo>
                  <a:cubicBezTo>
                    <a:pt x="652" y="156"/>
                    <a:pt x="661" y="143"/>
                    <a:pt x="669" y="129"/>
                  </a:cubicBezTo>
                  <a:cubicBezTo>
                    <a:pt x="671" y="131"/>
                    <a:pt x="673" y="132"/>
                    <a:pt x="674" y="134"/>
                  </a:cubicBezTo>
                  <a:cubicBezTo>
                    <a:pt x="663" y="147"/>
                    <a:pt x="653" y="158"/>
                    <a:pt x="642" y="168"/>
                  </a:cubicBezTo>
                  <a:moveTo>
                    <a:pt x="321" y="181"/>
                  </a:moveTo>
                  <a:cubicBezTo>
                    <a:pt x="310" y="170"/>
                    <a:pt x="299" y="157"/>
                    <a:pt x="288" y="144"/>
                  </a:cubicBezTo>
                  <a:cubicBezTo>
                    <a:pt x="306" y="137"/>
                    <a:pt x="325" y="131"/>
                    <a:pt x="344" y="125"/>
                  </a:cubicBezTo>
                  <a:cubicBezTo>
                    <a:pt x="353" y="139"/>
                    <a:pt x="361" y="151"/>
                    <a:pt x="368" y="163"/>
                  </a:cubicBezTo>
                  <a:cubicBezTo>
                    <a:pt x="352" y="169"/>
                    <a:pt x="336" y="174"/>
                    <a:pt x="321" y="181"/>
                  </a:cubicBezTo>
                  <a:moveTo>
                    <a:pt x="622" y="173"/>
                  </a:moveTo>
                  <a:cubicBezTo>
                    <a:pt x="620" y="171"/>
                    <a:pt x="619" y="169"/>
                    <a:pt x="617" y="168"/>
                  </a:cubicBezTo>
                  <a:cubicBezTo>
                    <a:pt x="631" y="152"/>
                    <a:pt x="643" y="135"/>
                    <a:pt x="653" y="118"/>
                  </a:cubicBezTo>
                  <a:cubicBezTo>
                    <a:pt x="655" y="120"/>
                    <a:pt x="658" y="121"/>
                    <a:pt x="660" y="122"/>
                  </a:cubicBezTo>
                  <a:cubicBezTo>
                    <a:pt x="649" y="141"/>
                    <a:pt x="636" y="158"/>
                    <a:pt x="622" y="173"/>
                  </a:cubicBezTo>
                  <a:moveTo>
                    <a:pt x="380" y="160"/>
                  </a:moveTo>
                  <a:cubicBezTo>
                    <a:pt x="379" y="160"/>
                    <a:pt x="379" y="160"/>
                    <a:pt x="379" y="160"/>
                  </a:cubicBezTo>
                  <a:cubicBezTo>
                    <a:pt x="372" y="148"/>
                    <a:pt x="364" y="135"/>
                    <a:pt x="356" y="122"/>
                  </a:cubicBezTo>
                  <a:cubicBezTo>
                    <a:pt x="363" y="120"/>
                    <a:pt x="370" y="118"/>
                    <a:pt x="377" y="116"/>
                  </a:cubicBezTo>
                  <a:cubicBezTo>
                    <a:pt x="389" y="113"/>
                    <a:pt x="402" y="111"/>
                    <a:pt x="414" y="108"/>
                  </a:cubicBezTo>
                  <a:cubicBezTo>
                    <a:pt x="420" y="122"/>
                    <a:pt x="425" y="135"/>
                    <a:pt x="430" y="148"/>
                  </a:cubicBezTo>
                  <a:cubicBezTo>
                    <a:pt x="420" y="150"/>
                    <a:pt x="411" y="152"/>
                    <a:pt x="401" y="154"/>
                  </a:cubicBezTo>
                  <a:cubicBezTo>
                    <a:pt x="394" y="156"/>
                    <a:pt x="387" y="158"/>
                    <a:pt x="380" y="160"/>
                  </a:cubicBezTo>
                  <a:moveTo>
                    <a:pt x="607" y="160"/>
                  </a:moveTo>
                  <a:cubicBezTo>
                    <a:pt x="603" y="158"/>
                    <a:pt x="599" y="155"/>
                    <a:pt x="594" y="153"/>
                  </a:cubicBezTo>
                  <a:cubicBezTo>
                    <a:pt x="602" y="137"/>
                    <a:pt x="608" y="121"/>
                    <a:pt x="613" y="104"/>
                  </a:cubicBezTo>
                  <a:cubicBezTo>
                    <a:pt x="623" y="107"/>
                    <a:pt x="633" y="110"/>
                    <a:pt x="642" y="113"/>
                  </a:cubicBezTo>
                  <a:cubicBezTo>
                    <a:pt x="632" y="129"/>
                    <a:pt x="621" y="145"/>
                    <a:pt x="607" y="160"/>
                  </a:cubicBezTo>
                  <a:moveTo>
                    <a:pt x="44" y="167"/>
                  </a:moveTo>
                  <a:cubicBezTo>
                    <a:pt x="33" y="156"/>
                    <a:pt x="22" y="144"/>
                    <a:pt x="12" y="132"/>
                  </a:cubicBezTo>
                  <a:cubicBezTo>
                    <a:pt x="15" y="122"/>
                    <a:pt x="18" y="113"/>
                    <a:pt x="23" y="103"/>
                  </a:cubicBezTo>
                  <a:cubicBezTo>
                    <a:pt x="34" y="117"/>
                    <a:pt x="46" y="130"/>
                    <a:pt x="57" y="142"/>
                  </a:cubicBezTo>
                  <a:cubicBezTo>
                    <a:pt x="54" y="147"/>
                    <a:pt x="52" y="152"/>
                    <a:pt x="49" y="157"/>
                  </a:cubicBezTo>
                  <a:cubicBezTo>
                    <a:pt x="48" y="160"/>
                    <a:pt x="46" y="164"/>
                    <a:pt x="44" y="167"/>
                  </a:cubicBezTo>
                  <a:moveTo>
                    <a:pt x="441" y="146"/>
                  </a:moveTo>
                  <a:cubicBezTo>
                    <a:pt x="437" y="133"/>
                    <a:pt x="431" y="120"/>
                    <a:pt x="425" y="106"/>
                  </a:cubicBezTo>
                  <a:cubicBezTo>
                    <a:pt x="430" y="106"/>
                    <a:pt x="435" y="105"/>
                    <a:pt x="439" y="104"/>
                  </a:cubicBezTo>
                  <a:cubicBezTo>
                    <a:pt x="454" y="102"/>
                    <a:pt x="469" y="100"/>
                    <a:pt x="483" y="99"/>
                  </a:cubicBezTo>
                  <a:cubicBezTo>
                    <a:pt x="486" y="113"/>
                    <a:pt x="489" y="127"/>
                    <a:pt x="490" y="141"/>
                  </a:cubicBezTo>
                  <a:cubicBezTo>
                    <a:pt x="476" y="141"/>
                    <a:pt x="461" y="143"/>
                    <a:pt x="446" y="145"/>
                  </a:cubicBezTo>
                  <a:cubicBezTo>
                    <a:pt x="444" y="145"/>
                    <a:pt x="443" y="146"/>
                    <a:pt x="441" y="146"/>
                  </a:cubicBezTo>
                  <a:moveTo>
                    <a:pt x="217" y="163"/>
                  </a:moveTo>
                  <a:cubicBezTo>
                    <a:pt x="206" y="153"/>
                    <a:pt x="194" y="141"/>
                    <a:pt x="183" y="129"/>
                  </a:cubicBezTo>
                  <a:cubicBezTo>
                    <a:pt x="200" y="117"/>
                    <a:pt x="218" y="106"/>
                    <a:pt x="237" y="97"/>
                  </a:cubicBezTo>
                  <a:cubicBezTo>
                    <a:pt x="248" y="112"/>
                    <a:pt x="258" y="126"/>
                    <a:pt x="269" y="139"/>
                  </a:cubicBezTo>
                  <a:cubicBezTo>
                    <a:pt x="250" y="146"/>
                    <a:pt x="233" y="155"/>
                    <a:pt x="217" y="163"/>
                  </a:cubicBezTo>
                  <a:moveTo>
                    <a:pt x="583" y="149"/>
                  </a:moveTo>
                  <a:cubicBezTo>
                    <a:pt x="574" y="146"/>
                    <a:pt x="565" y="144"/>
                    <a:pt x="554" y="143"/>
                  </a:cubicBezTo>
                  <a:cubicBezTo>
                    <a:pt x="557" y="129"/>
                    <a:pt x="558" y="114"/>
                    <a:pt x="558" y="100"/>
                  </a:cubicBezTo>
                  <a:cubicBezTo>
                    <a:pt x="558" y="99"/>
                    <a:pt x="558" y="98"/>
                    <a:pt x="558" y="97"/>
                  </a:cubicBezTo>
                  <a:cubicBezTo>
                    <a:pt x="573" y="98"/>
                    <a:pt x="588" y="99"/>
                    <a:pt x="601" y="102"/>
                  </a:cubicBezTo>
                  <a:cubicBezTo>
                    <a:pt x="597" y="118"/>
                    <a:pt x="591" y="134"/>
                    <a:pt x="583" y="149"/>
                  </a:cubicBezTo>
                  <a:moveTo>
                    <a:pt x="502" y="140"/>
                  </a:moveTo>
                  <a:cubicBezTo>
                    <a:pt x="500" y="126"/>
                    <a:pt x="497" y="112"/>
                    <a:pt x="494" y="98"/>
                  </a:cubicBezTo>
                  <a:cubicBezTo>
                    <a:pt x="508" y="97"/>
                    <a:pt x="521" y="96"/>
                    <a:pt x="533" y="96"/>
                  </a:cubicBezTo>
                  <a:cubicBezTo>
                    <a:pt x="538" y="96"/>
                    <a:pt x="542" y="96"/>
                    <a:pt x="546" y="96"/>
                  </a:cubicBezTo>
                  <a:cubicBezTo>
                    <a:pt x="546" y="97"/>
                    <a:pt x="546" y="98"/>
                    <a:pt x="546" y="99"/>
                  </a:cubicBezTo>
                  <a:cubicBezTo>
                    <a:pt x="546" y="113"/>
                    <a:pt x="545" y="127"/>
                    <a:pt x="542" y="141"/>
                  </a:cubicBezTo>
                  <a:cubicBezTo>
                    <a:pt x="533" y="140"/>
                    <a:pt x="523" y="140"/>
                    <a:pt x="512" y="140"/>
                  </a:cubicBezTo>
                  <a:cubicBezTo>
                    <a:pt x="509" y="140"/>
                    <a:pt x="505" y="140"/>
                    <a:pt x="502" y="140"/>
                  </a:cubicBezTo>
                  <a:moveTo>
                    <a:pt x="63" y="132"/>
                  </a:moveTo>
                  <a:cubicBezTo>
                    <a:pt x="51" y="119"/>
                    <a:pt x="40" y="105"/>
                    <a:pt x="28" y="90"/>
                  </a:cubicBezTo>
                  <a:cubicBezTo>
                    <a:pt x="29" y="88"/>
                    <a:pt x="30" y="86"/>
                    <a:pt x="31" y="84"/>
                  </a:cubicBezTo>
                  <a:cubicBezTo>
                    <a:pt x="43" y="99"/>
                    <a:pt x="55" y="113"/>
                    <a:pt x="67" y="126"/>
                  </a:cubicBezTo>
                  <a:cubicBezTo>
                    <a:pt x="66" y="128"/>
                    <a:pt x="65" y="130"/>
                    <a:pt x="63" y="132"/>
                  </a:cubicBezTo>
                  <a:moveTo>
                    <a:pt x="124" y="165"/>
                  </a:moveTo>
                  <a:cubicBezTo>
                    <a:pt x="110" y="153"/>
                    <a:pt x="95" y="139"/>
                    <a:pt x="82" y="125"/>
                  </a:cubicBezTo>
                  <a:cubicBezTo>
                    <a:pt x="93" y="108"/>
                    <a:pt x="107" y="91"/>
                    <a:pt x="123" y="75"/>
                  </a:cubicBezTo>
                  <a:cubicBezTo>
                    <a:pt x="137" y="94"/>
                    <a:pt x="151" y="111"/>
                    <a:pt x="166" y="127"/>
                  </a:cubicBezTo>
                  <a:cubicBezTo>
                    <a:pt x="165" y="128"/>
                    <a:pt x="164" y="128"/>
                    <a:pt x="163" y="129"/>
                  </a:cubicBezTo>
                  <a:cubicBezTo>
                    <a:pt x="148" y="141"/>
                    <a:pt x="135" y="153"/>
                    <a:pt x="124" y="165"/>
                  </a:cubicBezTo>
                  <a:moveTo>
                    <a:pt x="280" y="134"/>
                  </a:moveTo>
                  <a:cubicBezTo>
                    <a:pt x="269" y="121"/>
                    <a:pt x="258" y="107"/>
                    <a:pt x="247" y="93"/>
                  </a:cubicBezTo>
                  <a:cubicBezTo>
                    <a:pt x="267" y="84"/>
                    <a:pt x="288" y="76"/>
                    <a:pt x="310" y="71"/>
                  </a:cubicBezTo>
                  <a:cubicBezTo>
                    <a:pt x="319" y="86"/>
                    <a:pt x="329" y="101"/>
                    <a:pt x="337" y="115"/>
                  </a:cubicBezTo>
                  <a:cubicBezTo>
                    <a:pt x="317" y="121"/>
                    <a:pt x="298" y="127"/>
                    <a:pt x="280" y="134"/>
                  </a:cubicBezTo>
                  <a:moveTo>
                    <a:pt x="665" y="112"/>
                  </a:moveTo>
                  <a:cubicBezTo>
                    <a:pt x="663" y="111"/>
                    <a:pt x="660" y="109"/>
                    <a:pt x="658" y="108"/>
                  </a:cubicBezTo>
                  <a:cubicBezTo>
                    <a:pt x="665" y="94"/>
                    <a:pt x="671" y="79"/>
                    <a:pt x="676" y="64"/>
                  </a:cubicBezTo>
                  <a:cubicBezTo>
                    <a:pt x="678" y="65"/>
                    <a:pt x="681" y="65"/>
                    <a:pt x="684" y="65"/>
                  </a:cubicBezTo>
                  <a:cubicBezTo>
                    <a:pt x="683" y="67"/>
                    <a:pt x="683" y="68"/>
                    <a:pt x="683" y="70"/>
                  </a:cubicBezTo>
                  <a:cubicBezTo>
                    <a:pt x="678" y="85"/>
                    <a:pt x="672" y="99"/>
                    <a:pt x="665" y="112"/>
                  </a:cubicBezTo>
                  <a:moveTo>
                    <a:pt x="647" y="103"/>
                  </a:moveTo>
                  <a:cubicBezTo>
                    <a:pt x="638" y="99"/>
                    <a:pt x="627" y="95"/>
                    <a:pt x="615" y="93"/>
                  </a:cubicBezTo>
                  <a:cubicBezTo>
                    <a:pt x="618" y="81"/>
                    <a:pt x="619" y="69"/>
                    <a:pt x="620" y="57"/>
                  </a:cubicBezTo>
                  <a:cubicBezTo>
                    <a:pt x="635" y="58"/>
                    <a:pt x="649" y="60"/>
                    <a:pt x="664" y="62"/>
                  </a:cubicBezTo>
                  <a:cubicBezTo>
                    <a:pt x="659" y="76"/>
                    <a:pt x="654" y="89"/>
                    <a:pt x="647" y="103"/>
                  </a:cubicBezTo>
                  <a:moveTo>
                    <a:pt x="349" y="111"/>
                  </a:moveTo>
                  <a:cubicBezTo>
                    <a:pt x="340" y="97"/>
                    <a:pt x="331" y="83"/>
                    <a:pt x="322" y="68"/>
                  </a:cubicBezTo>
                  <a:cubicBezTo>
                    <a:pt x="344" y="62"/>
                    <a:pt x="366" y="58"/>
                    <a:pt x="389" y="55"/>
                  </a:cubicBezTo>
                  <a:cubicBezTo>
                    <a:pt x="396" y="69"/>
                    <a:pt x="402" y="83"/>
                    <a:pt x="409" y="97"/>
                  </a:cubicBezTo>
                  <a:cubicBezTo>
                    <a:pt x="397" y="99"/>
                    <a:pt x="386" y="102"/>
                    <a:pt x="375" y="105"/>
                  </a:cubicBezTo>
                  <a:cubicBezTo>
                    <a:pt x="366" y="107"/>
                    <a:pt x="357" y="109"/>
                    <a:pt x="349" y="111"/>
                  </a:cubicBezTo>
                  <a:moveTo>
                    <a:pt x="604" y="90"/>
                  </a:moveTo>
                  <a:cubicBezTo>
                    <a:pt x="589" y="88"/>
                    <a:pt x="574" y="86"/>
                    <a:pt x="557" y="85"/>
                  </a:cubicBezTo>
                  <a:cubicBezTo>
                    <a:pt x="557" y="74"/>
                    <a:pt x="556" y="62"/>
                    <a:pt x="554" y="51"/>
                  </a:cubicBezTo>
                  <a:cubicBezTo>
                    <a:pt x="572" y="52"/>
                    <a:pt x="591" y="53"/>
                    <a:pt x="608" y="55"/>
                  </a:cubicBezTo>
                  <a:cubicBezTo>
                    <a:pt x="608" y="67"/>
                    <a:pt x="606" y="79"/>
                    <a:pt x="604" y="90"/>
                  </a:cubicBezTo>
                  <a:moveTo>
                    <a:pt x="420" y="95"/>
                  </a:moveTo>
                  <a:cubicBezTo>
                    <a:pt x="414" y="82"/>
                    <a:pt x="408" y="68"/>
                    <a:pt x="401" y="54"/>
                  </a:cubicBezTo>
                  <a:cubicBezTo>
                    <a:pt x="423" y="51"/>
                    <a:pt x="446" y="50"/>
                    <a:pt x="468" y="49"/>
                  </a:cubicBezTo>
                  <a:cubicBezTo>
                    <a:pt x="472" y="62"/>
                    <a:pt x="476" y="75"/>
                    <a:pt x="480" y="87"/>
                  </a:cubicBezTo>
                  <a:cubicBezTo>
                    <a:pt x="466" y="88"/>
                    <a:pt x="452" y="90"/>
                    <a:pt x="438" y="92"/>
                  </a:cubicBezTo>
                  <a:cubicBezTo>
                    <a:pt x="432" y="93"/>
                    <a:pt x="426" y="94"/>
                    <a:pt x="420" y="95"/>
                  </a:cubicBezTo>
                  <a:moveTo>
                    <a:pt x="491" y="86"/>
                  </a:moveTo>
                  <a:cubicBezTo>
                    <a:pt x="488" y="74"/>
                    <a:pt x="484" y="61"/>
                    <a:pt x="480" y="49"/>
                  </a:cubicBezTo>
                  <a:cubicBezTo>
                    <a:pt x="484" y="49"/>
                    <a:pt x="488" y="49"/>
                    <a:pt x="492" y="49"/>
                  </a:cubicBezTo>
                  <a:cubicBezTo>
                    <a:pt x="509" y="49"/>
                    <a:pt x="526" y="49"/>
                    <a:pt x="542" y="50"/>
                  </a:cubicBezTo>
                  <a:cubicBezTo>
                    <a:pt x="544" y="62"/>
                    <a:pt x="545" y="73"/>
                    <a:pt x="546" y="85"/>
                  </a:cubicBezTo>
                  <a:cubicBezTo>
                    <a:pt x="541" y="84"/>
                    <a:pt x="537" y="84"/>
                    <a:pt x="532" y="84"/>
                  </a:cubicBezTo>
                  <a:cubicBezTo>
                    <a:pt x="519" y="84"/>
                    <a:pt x="505" y="85"/>
                    <a:pt x="491" y="86"/>
                  </a:cubicBezTo>
                  <a:moveTo>
                    <a:pt x="175" y="120"/>
                  </a:moveTo>
                  <a:cubicBezTo>
                    <a:pt x="160" y="104"/>
                    <a:pt x="146" y="86"/>
                    <a:pt x="132" y="67"/>
                  </a:cubicBezTo>
                  <a:cubicBezTo>
                    <a:pt x="148" y="53"/>
                    <a:pt x="166" y="39"/>
                    <a:pt x="188" y="26"/>
                  </a:cubicBezTo>
                  <a:cubicBezTo>
                    <a:pt x="201" y="47"/>
                    <a:pt x="215" y="68"/>
                    <a:pt x="230" y="88"/>
                  </a:cubicBezTo>
                  <a:cubicBezTo>
                    <a:pt x="210" y="97"/>
                    <a:pt x="192" y="108"/>
                    <a:pt x="175" y="120"/>
                  </a:cubicBezTo>
                  <a:moveTo>
                    <a:pt x="74" y="116"/>
                  </a:moveTo>
                  <a:cubicBezTo>
                    <a:pt x="61" y="102"/>
                    <a:pt x="49" y="88"/>
                    <a:pt x="37" y="73"/>
                  </a:cubicBezTo>
                  <a:cubicBezTo>
                    <a:pt x="48" y="52"/>
                    <a:pt x="62" y="31"/>
                    <a:pt x="79" y="11"/>
                  </a:cubicBezTo>
                  <a:cubicBezTo>
                    <a:pt x="91" y="30"/>
                    <a:pt x="104" y="48"/>
                    <a:pt x="117" y="65"/>
                  </a:cubicBezTo>
                  <a:cubicBezTo>
                    <a:pt x="99" y="82"/>
                    <a:pt x="85" y="99"/>
                    <a:pt x="74" y="116"/>
                  </a:cubicBezTo>
                  <a:moveTo>
                    <a:pt x="697" y="0"/>
                  </a:moveTo>
                  <a:cubicBezTo>
                    <a:pt x="696" y="0"/>
                    <a:pt x="696" y="0"/>
                    <a:pt x="696" y="0"/>
                  </a:cubicBezTo>
                  <a:cubicBezTo>
                    <a:pt x="694" y="18"/>
                    <a:pt x="691" y="36"/>
                    <a:pt x="687" y="54"/>
                  </a:cubicBezTo>
                  <a:cubicBezTo>
                    <a:pt x="684" y="53"/>
                    <a:pt x="682" y="53"/>
                    <a:pt x="679" y="52"/>
                  </a:cubicBezTo>
                  <a:cubicBezTo>
                    <a:pt x="684" y="35"/>
                    <a:pt x="686" y="17"/>
                    <a:pt x="688" y="0"/>
                  </a:cubicBezTo>
                  <a:cubicBezTo>
                    <a:pt x="676" y="0"/>
                    <a:pt x="676" y="0"/>
                    <a:pt x="676" y="0"/>
                  </a:cubicBezTo>
                  <a:cubicBezTo>
                    <a:pt x="675" y="17"/>
                    <a:pt x="672" y="34"/>
                    <a:pt x="667" y="51"/>
                  </a:cubicBezTo>
                  <a:cubicBezTo>
                    <a:pt x="651" y="48"/>
                    <a:pt x="636" y="46"/>
                    <a:pt x="621" y="45"/>
                  </a:cubicBezTo>
                  <a:cubicBezTo>
                    <a:pt x="621" y="41"/>
                    <a:pt x="621" y="37"/>
                    <a:pt x="621" y="33"/>
                  </a:cubicBezTo>
                  <a:cubicBezTo>
                    <a:pt x="621" y="22"/>
                    <a:pt x="620" y="11"/>
                    <a:pt x="619" y="0"/>
                  </a:cubicBezTo>
                  <a:cubicBezTo>
                    <a:pt x="608" y="0"/>
                    <a:pt x="608" y="0"/>
                    <a:pt x="608" y="0"/>
                  </a:cubicBezTo>
                  <a:cubicBezTo>
                    <a:pt x="609" y="10"/>
                    <a:pt x="609" y="21"/>
                    <a:pt x="609" y="32"/>
                  </a:cubicBezTo>
                  <a:cubicBezTo>
                    <a:pt x="609" y="36"/>
                    <a:pt x="609" y="40"/>
                    <a:pt x="609" y="43"/>
                  </a:cubicBezTo>
                  <a:cubicBezTo>
                    <a:pt x="590" y="41"/>
                    <a:pt x="571" y="39"/>
                    <a:pt x="552" y="38"/>
                  </a:cubicBezTo>
                  <a:cubicBezTo>
                    <a:pt x="550" y="25"/>
                    <a:pt x="547" y="13"/>
                    <a:pt x="544" y="0"/>
                  </a:cubicBezTo>
                  <a:cubicBezTo>
                    <a:pt x="532" y="0"/>
                    <a:pt x="532" y="0"/>
                    <a:pt x="532" y="0"/>
                  </a:cubicBezTo>
                  <a:cubicBezTo>
                    <a:pt x="535" y="12"/>
                    <a:pt x="538" y="25"/>
                    <a:pt x="540" y="38"/>
                  </a:cubicBezTo>
                  <a:cubicBezTo>
                    <a:pt x="523" y="37"/>
                    <a:pt x="507" y="36"/>
                    <a:pt x="490" y="36"/>
                  </a:cubicBezTo>
                  <a:cubicBezTo>
                    <a:pt x="485" y="36"/>
                    <a:pt x="481" y="36"/>
                    <a:pt x="476" y="36"/>
                  </a:cubicBezTo>
                  <a:cubicBezTo>
                    <a:pt x="472" y="24"/>
                    <a:pt x="467" y="12"/>
                    <a:pt x="462" y="0"/>
                  </a:cubicBezTo>
                  <a:cubicBezTo>
                    <a:pt x="450" y="0"/>
                    <a:pt x="450" y="0"/>
                    <a:pt x="450" y="0"/>
                  </a:cubicBezTo>
                  <a:cubicBezTo>
                    <a:pt x="455" y="12"/>
                    <a:pt x="460" y="24"/>
                    <a:pt x="464" y="37"/>
                  </a:cubicBezTo>
                  <a:cubicBezTo>
                    <a:pt x="440" y="37"/>
                    <a:pt x="417" y="39"/>
                    <a:pt x="395" y="42"/>
                  </a:cubicBezTo>
                  <a:cubicBezTo>
                    <a:pt x="388" y="28"/>
                    <a:pt x="381" y="14"/>
                    <a:pt x="374" y="0"/>
                  </a:cubicBezTo>
                  <a:cubicBezTo>
                    <a:pt x="362" y="0"/>
                    <a:pt x="362" y="0"/>
                    <a:pt x="362" y="0"/>
                  </a:cubicBezTo>
                  <a:cubicBezTo>
                    <a:pt x="362" y="0"/>
                    <a:pt x="362" y="1"/>
                    <a:pt x="362" y="1"/>
                  </a:cubicBezTo>
                  <a:cubicBezTo>
                    <a:pt x="369" y="15"/>
                    <a:pt x="376" y="29"/>
                    <a:pt x="383" y="43"/>
                  </a:cubicBezTo>
                  <a:cubicBezTo>
                    <a:pt x="359" y="46"/>
                    <a:pt x="337" y="51"/>
                    <a:pt x="315" y="57"/>
                  </a:cubicBezTo>
                  <a:cubicBezTo>
                    <a:pt x="304" y="38"/>
                    <a:pt x="292" y="19"/>
                    <a:pt x="281" y="0"/>
                  </a:cubicBezTo>
                  <a:cubicBezTo>
                    <a:pt x="268" y="0"/>
                    <a:pt x="268" y="0"/>
                    <a:pt x="268" y="0"/>
                  </a:cubicBezTo>
                  <a:cubicBezTo>
                    <a:pt x="280" y="20"/>
                    <a:pt x="292" y="40"/>
                    <a:pt x="304" y="60"/>
                  </a:cubicBezTo>
                  <a:cubicBezTo>
                    <a:pt x="281" y="66"/>
                    <a:pt x="260" y="74"/>
                    <a:pt x="240" y="83"/>
                  </a:cubicBezTo>
                  <a:cubicBezTo>
                    <a:pt x="226" y="63"/>
                    <a:pt x="212" y="42"/>
                    <a:pt x="198" y="21"/>
                  </a:cubicBezTo>
                  <a:cubicBezTo>
                    <a:pt x="206" y="17"/>
                    <a:pt x="214" y="13"/>
                    <a:pt x="222" y="9"/>
                  </a:cubicBezTo>
                  <a:cubicBezTo>
                    <a:pt x="230" y="6"/>
                    <a:pt x="237" y="3"/>
                    <a:pt x="245" y="0"/>
                  </a:cubicBezTo>
                  <a:cubicBezTo>
                    <a:pt x="214" y="0"/>
                    <a:pt x="214" y="0"/>
                    <a:pt x="214" y="0"/>
                  </a:cubicBezTo>
                  <a:cubicBezTo>
                    <a:pt x="206" y="3"/>
                    <a:pt x="199" y="7"/>
                    <a:pt x="192" y="11"/>
                  </a:cubicBezTo>
                  <a:cubicBezTo>
                    <a:pt x="189" y="7"/>
                    <a:pt x="187" y="3"/>
                    <a:pt x="185" y="0"/>
                  </a:cubicBezTo>
                  <a:cubicBezTo>
                    <a:pt x="171" y="0"/>
                    <a:pt x="171" y="0"/>
                    <a:pt x="171" y="0"/>
                  </a:cubicBezTo>
                  <a:cubicBezTo>
                    <a:pt x="175" y="5"/>
                    <a:pt x="178" y="11"/>
                    <a:pt x="182" y="16"/>
                  </a:cubicBezTo>
                  <a:cubicBezTo>
                    <a:pt x="160" y="29"/>
                    <a:pt x="141" y="43"/>
                    <a:pt x="125" y="58"/>
                  </a:cubicBezTo>
                  <a:cubicBezTo>
                    <a:pt x="112" y="40"/>
                    <a:pt x="99" y="21"/>
                    <a:pt x="87" y="2"/>
                  </a:cubicBezTo>
                  <a:cubicBezTo>
                    <a:pt x="88" y="1"/>
                    <a:pt x="88" y="0"/>
                    <a:pt x="89" y="0"/>
                  </a:cubicBezTo>
                  <a:cubicBezTo>
                    <a:pt x="72" y="0"/>
                    <a:pt x="72" y="0"/>
                    <a:pt x="72" y="0"/>
                  </a:cubicBezTo>
                  <a:cubicBezTo>
                    <a:pt x="72" y="0"/>
                    <a:pt x="73" y="0"/>
                    <a:pt x="73" y="0"/>
                  </a:cubicBezTo>
                  <a:cubicBezTo>
                    <a:pt x="55" y="21"/>
                    <a:pt x="41" y="42"/>
                    <a:pt x="29" y="63"/>
                  </a:cubicBezTo>
                  <a:cubicBezTo>
                    <a:pt x="19" y="50"/>
                    <a:pt x="10" y="36"/>
                    <a:pt x="0" y="22"/>
                  </a:cubicBezTo>
                  <a:cubicBezTo>
                    <a:pt x="0" y="43"/>
                    <a:pt x="0" y="43"/>
                    <a:pt x="0" y="43"/>
                  </a:cubicBezTo>
                  <a:cubicBezTo>
                    <a:pt x="8" y="54"/>
                    <a:pt x="16" y="64"/>
                    <a:pt x="23" y="74"/>
                  </a:cubicBezTo>
                  <a:cubicBezTo>
                    <a:pt x="22" y="76"/>
                    <a:pt x="21" y="78"/>
                    <a:pt x="20" y="80"/>
                  </a:cubicBezTo>
                  <a:cubicBezTo>
                    <a:pt x="14" y="72"/>
                    <a:pt x="7" y="63"/>
                    <a:pt x="0" y="54"/>
                  </a:cubicBezTo>
                  <a:cubicBezTo>
                    <a:pt x="0" y="74"/>
                    <a:pt x="0" y="74"/>
                    <a:pt x="0" y="74"/>
                  </a:cubicBezTo>
                  <a:cubicBezTo>
                    <a:pt x="5" y="80"/>
                    <a:pt x="10" y="87"/>
                    <a:pt x="15" y="93"/>
                  </a:cubicBezTo>
                  <a:cubicBezTo>
                    <a:pt x="10" y="103"/>
                    <a:pt x="7" y="112"/>
                    <a:pt x="3" y="122"/>
                  </a:cubicBezTo>
                  <a:cubicBezTo>
                    <a:pt x="2" y="121"/>
                    <a:pt x="1" y="119"/>
                    <a:pt x="0" y="118"/>
                  </a:cubicBezTo>
                  <a:cubicBezTo>
                    <a:pt x="0" y="170"/>
                    <a:pt x="0" y="170"/>
                    <a:pt x="0" y="170"/>
                  </a:cubicBezTo>
                  <a:cubicBezTo>
                    <a:pt x="2" y="162"/>
                    <a:pt x="5" y="154"/>
                    <a:pt x="7" y="144"/>
                  </a:cubicBezTo>
                  <a:cubicBezTo>
                    <a:pt x="18" y="156"/>
                    <a:pt x="28" y="168"/>
                    <a:pt x="39" y="179"/>
                  </a:cubicBezTo>
                  <a:cubicBezTo>
                    <a:pt x="35" y="188"/>
                    <a:pt x="32" y="197"/>
                    <a:pt x="30" y="205"/>
                  </a:cubicBezTo>
                  <a:cubicBezTo>
                    <a:pt x="19" y="195"/>
                    <a:pt x="9" y="185"/>
                    <a:pt x="0" y="175"/>
                  </a:cubicBezTo>
                  <a:cubicBezTo>
                    <a:pt x="0" y="192"/>
                    <a:pt x="0" y="192"/>
                    <a:pt x="0" y="192"/>
                  </a:cubicBezTo>
                  <a:cubicBezTo>
                    <a:pt x="8" y="201"/>
                    <a:pt x="17" y="209"/>
                    <a:pt x="26" y="217"/>
                  </a:cubicBezTo>
                  <a:cubicBezTo>
                    <a:pt x="23" y="228"/>
                    <a:pt x="21" y="238"/>
                    <a:pt x="19" y="244"/>
                  </a:cubicBezTo>
                  <a:cubicBezTo>
                    <a:pt x="13" y="236"/>
                    <a:pt x="7" y="227"/>
                    <a:pt x="0" y="218"/>
                  </a:cubicBezTo>
                  <a:cubicBezTo>
                    <a:pt x="0" y="245"/>
                    <a:pt x="0" y="245"/>
                    <a:pt x="0" y="245"/>
                  </a:cubicBezTo>
                  <a:cubicBezTo>
                    <a:pt x="8" y="255"/>
                    <a:pt x="15" y="265"/>
                    <a:pt x="23" y="274"/>
                  </a:cubicBezTo>
                  <a:cubicBezTo>
                    <a:pt x="15" y="267"/>
                    <a:pt x="8" y="260"/>
                    <a:pt x="0" y="252"/>
                  </a:cubicBezTo>
                  <a:cubicBezTo>
                    <a:pt x="0" y="271"/>
                    <a:pt x="0" y="271"/>
                    <a:pt x="0" y="271"/>
                  </a:cubicBezTo>
                  <a:cubicBezTo>
                    <a:pt x="13" y="282"/>
                    <a:pt x="26" y="292"/>
                    <a:pt x="39" y="302"/>
                  </a:cubicBezTo>
                  <a:cubicBezTo>
                    <a:pt x="38" y="302"/>
                    <a:pt x="38" y="302"/>
                    <a:pt x="38" y="302"/>
                  </a:cubicBezTo>
                  <a:cubicBezTo>
                    <a:pt x="38" y="302"/>
                    <a:pt x="38" y="303"/>
                    <a:pt x="38" y="304"/>
                  </a:cubicBezTo>
                  <a:cubicBezTo>
                    <a:pt x="25" y="295"/>
                    <a:pt x="13" y="285"/>
                    <a:pt x="0" y="275"/>
                  </a:cubicBezTo>
                  <a:cubicBezTo>
                    <a:pt x="0" y="290"/>
                    <a:pt x="0" y="290"/>
                    <a:pt x="0" y="290"/>
                  </a:cubicBezTo>
                  <a:cubicBezTo>
                    <a:pt x="12" y="300"/>
                    <a:pt x="24" y="309"/>
                    <a:pt x="37" y="317"/>
                  </a:cubicBezTo>
                  <a:cubicBezTo>
                    <a:pt x="37" y="318"/>
                    <a:pt x="36" y="319"/>
                    <a:pt x="36" y="320"/>
                  </a:cubicBezTo>
                  <a:cubicBezTo>
                    <a:pt x="24" y="313"/>
                    <a:pt x="13" y="305"/>
                    <a:pt x="0" y="296"/>
                  </a:cubicBezTo>
                  <a:cubicBezTo>
                    <a:pt x="0" y="313"/>
                    <a:pt x="0" y="313"/>
                    <a:pt x="0" y="313"/>
                  </a:cubicBezTo>
                  <a:cubicBezTo>
                    <a:pt x="12" y="321"/>
                    <a:pt x="23" y="329"/>
                    <a:pt x="35" y="336"/>
                  </a:cubicBezTo>
                  <a:cubicBezTo>
                    <a:pt x="35" y="338"/>
                    <a:pt x="35" y="341"/>
                    <a:pt x="35" y="343"/>
                  </a:cubicBezTo>
                  <a:cubicBezTo>
                    <a:pt x="23" y="336"/>
                    <a:pt x="12" y="328"/>
                    <a:pt x="0" y="320"/>
                  </a:cubicBezTo>
                  <a:cubicBezTo>
                    <a:pt x="0" y="335"/>
                    <a:pt x="0" y="335"/>
                    <a:pt x="0" y="335"/>
                  </a:cubicBezTo>
                  <a:cubicBezTo>
                    <a:pt x="12" y="343"/>
                    <a:pt x="23" y="350"/>
                    <a:pt x="34" y="357"/>
                  </a:cubicBezTo>
                  <a:cubicBezTo>
                    <a:pt x="33" y="371"/>
                    <a:pt x="32" y="387"/>
                    <a:pt x="31" y="405"/>
                  </a:cubicBezTo>
                  <a:cubicBezTo>
                    <a:pt x="21" y="398"/>
                    <a:pt x="10" y="391"/>
                    <a:pt x="0" y="384"/>
                  </a:cubicBezTo>
                  <a:cubicBezTo>
                    <a:pt x="0" y="398"/>
                    <a:pt x="0" y="398"/>
                    <a:pt x="0" y="398"/>
                  </a:cubicBezTo>
                  <a:cubicBezTo>
                    <a:pt x="10" y="405"/>
                    <a:pt x="20" y="412"/>
                    <a:pt x="30" y="418"/>
                  </a:cubicBezTo>
                  <a:cubicBezTo>
                    <a:pt x="29" y="434"/>
                    <a:pt x="28" y="451"/>
                    <a:pt x="27" y="468"/>
                  </a:cubicBezTo>
                  <a:cubicBezTo>
                    <a:pt x="18" y="462"/>
                    <a:pt x="9" y="456"/>
                    <a:pt x="0" y="450"/>
                  </a:cubicBezTo>
                  <a:cubicBezTo>
                    <a:pt x="0" y="464"/>
                    <a:pt x="0" y="464"/>
                    <a:pt x="0" y="464"/>
                  </a:cubicBezTo>
                  <a:cubicBezTo>
                    <a:pt x="9" y="470"/>
                    <a:pt x="17" y="476"/>
                    <a:pt x="26" y="482"/>
                  </a:cubicBezTo>
                  <a:cubicBezTo>
                    <a:pt x="26" y="486"/>
                    <a:pt x="25" y="491"/>
                    <a:pt x="25" y="496"/>
                  </a:cubicBezTo>
                  <a:cubicBezTo>
                    <a:pt x="36" y="496"/>
                    <a:pt x="36" y="496"/>
                    <a:pt x="36" y="496"/>
                  </a:cubicBezTo>
                  <a:cubicBezTo>
                    <a:pt x="36" y="493"/>
                    <a:pt x="36" y="491"/>
                    <a:pt x="37" y="489"/>
                  </a:cubicBezTo>
                  <a:cubicBezTo>
                    <a:pt x="40" y="491"/>
                    <a:pt x="44" y="493"/>
                    <a:pt x="47" y="496"/>
                  </a:cubicBezTo>
                  <a:cubicBezTo>
                    <a:pt x="70" y="496"/>
                    <a:pt x="70" y="496"/>
                    <a:pt x="70" y="496"/>
                  </a:cubicBezTo>
                  <a:cubicBezTo>
                    <a:pt x="59" y="489"/>
                    <a:pt x="48" y="482"/>
                    <a:pt x="37" y="475"/>
                  </a:cubicBezTo>
                  <a:cubicBezTo>
                    <a:pt x="38" y="458"/>
                    <a:pt x="39" y="441"/>
                    <a:pt x="40" y="425"/>
                  </a:cubicBezTo>
                  <a:cubicBezTo>
                    <a:pt x="83" y="452"/>
                    <a:pt x="126" y="473"/>
                    <a:pt x="168" y="489"/>
                  </a:cubicBezTo>
                  <a:cubicBezTo>
                    <a:pt x="168" y="491"/>
                    <a:pt x="167" y="493"/>
                    <a:pt x="167" y="496"/>
                  </a:cubicBezTo>
                  <a:cubicBezTo>
                    <a:pt x="178" y="496"/>
                    <a:pt x="178" y="496"/>
                    <a:pt x="178" y="496"/>
                  </a:cubicBezTo>
                  <a:cubicBezTo>
                    <a:pt x="179" y="495"/>
                    <a:pt x="179" y="494"/>
                    <a:pt x="179" y="493"/>
                  </a:cubicBezTo>
                  <a:cubicBezTo>
                    <a:pt x="182" y="494"/>
                    <a:pt x="185" y="495"/>
                    <a:pt x="188" y="496"/>
                  </a:cubicBezTo>
                  <a:cubicBezTo>
                    <a:pt x="231" y="496"/>
                    <a:pt x="231" y="496"/>
                    <a:pt x="231" y="496"/>
                  </a:cubicBezTo>
                  <a:cubicBezTo>
                    <a:pt x="214" y="491"/>
                    <a:pt x="197" y="486"/>
                    <a:pt x="180" y="480"/>
                  </a:cubicBezTo>
                  <a:cubicBezTo>
                    <a:pt x="182" y="461"/>
                    <a:pt x="185" y="444"/>
                    <a:pt x="187" y="429"/>
                  </a:cubicBezTo>
                  <a:cubicBezTo>
                    <a:pt x="229" y="442"/>
                    <a:pt x="270" y="449"/>
                    <a:pt x="310" y="451"/>
                  </a:cubicBezTo>
                  <a:cubicBezTo>
                    <a:pt x="308" y="465"/>
                    <a:pt x="306" y="480"/>
                    <a:pt x="304" y="496"/>
                  </a:cubicBezTo>
                  <a:cubicBezTo>
                    <a:pt x="316" y="496"/>
                    <a:pt x="316" y="496"/>
                    <a:pt x="316" y="496"/>
                  </a:cubicBezTo>
                  <a:cubicBezTo>
                    <a:pt x="317" y="480"/>
                    <a:pt x="319" y="465"/>
                    <a:pt x="321" y="451"/>
                  </a:cubicBezTo>
                  <a:cubicBezTo>
                    <a:pt x="326" y="451"/>
                    <a:pt x="332" y="452"/>
                    <a:pt x="337" y="452"/>
                  </a:cubicBezTo>
                  <a:cubicBezTo>
                    <a:pt x="375" y="452"/>
                    <a:pt x="412" y="447"/>
                    <a:pt x="448" y="440"/>
                  </a:cubicBezTo>
                  <a:cubicBezTo>
                    <a:pt x="445" y="457"/>
                    <a:pt x="443" y="475"/>
                    <a:pt x="440" y="496"/>
                  </a:cubicBezTo>
                  <a:cubicBezTo>
                    <a:pt x="451" y="496"/>
                    <a:pt x="451" y="496"/>
                    <a:pt x="451" y="496"/>
                  </a:cubicBezTo>
                  <a:cubicBezTo>
                    <a:pt x="454" y="474"/>
                    <a:pt x="457" y="455"/>
                    <a:pt x="459" y="438"/>
                  </a:cubicBezTo>
                  <a:cubicBezTo>
                    <a:pt x="506" y="428"/>
                    <a:pt x="551" y="413"/>
                    <a:pt x="595" y="395"/>
                  </a:cubicBezTo>
                  <a:cubicBezTo>
                    <a:pt x="590" y="417"/>
                    <a:pt x="586" y="440"/>
                    <a:pt x="581" y="464"/>
                  </a:cubicBezTo>
                  <a:cubicBezTo>
                    <a:pt x="544" y="478"/>
                    <a:pt x="510" y="488"/>
                    <a:pt x="477" y="496"/>
                  </a:cubicBezTo>
                  <a:cubicBezTo>
                    <a:pt x="524" y="496"/>
                    <a:pt x="524" y="496"/>
                    <a:pt x="524" y="496"/>
                  </a:cubicBezTo>
                  <a:cubicBezTo>
                    <a:pt x="542" y="490"/>
                    <a:pt x="560" y="485"/>
                    <a:pt x="578" y="478"/>
                  </a:cubicBezTo>
                  <a:cubicBezTo>
                    <a:pt x="577" y="484"/>
                    <a:pt x="576" y="490"/>
                    <a:pt x="575" y="496"/>
                  </a:cubicBezTo>
                  <a:cubicBezTo>
                    <a:pt x="587" y="496"/>
                    <a:pt x="587" y="496"/>
                    <a:pt x="587" y="496"/>
                  </a:cubicBezTo>
                  <a:cubicBezTo>
                    <a:pt x="588" y="488"/>
                    <a:pt x="589" y="481"/>
                    <a:pt x="591" y="473"/>
                  </a:cubicBezTo>
                  <a:cubicBezTo>
                    <a:pt x="602" y="469"/>
                    <a:pt x="613" y="465"/>
                    <a:pt x="624" y="460"/>
                  </a:cubicBezTo>
                  <a:cubicBezTo>
                    <a:pt x="625" y="462"/>
                    <a:pt x="625" y="463"/>
                    <a:pt x="626" y="465"/>
                  </a:cubicBezTo>
                  <a:cubicBezTo>
                    <a:pt x="630" y="476"/>
                    <a:pt x="635" y="486"/>
                    <a:pt x="640" y="496"/>
                  </a:cubicBezTo>
                  <a:cubicBezTo>
                    <a:pt x="653" y="496"/>
                    <a:pt x="653" y="496"/>
                    <a:pt x="653" y="496"/>
                  </a:cubicBezTo>
                  <a:cubicBezTo>
                    <a:pt x="651" y="493"/>
                    <a:pt x="650" y="490"/>
                    <a:pt x="649" y="487"/>
                  </a:cubicBezTo>
                  <a:cubicBezTo>
                    <a:pt x="649" y="486"/>
                    <a:pt x="650" y="485"/>
                    <a:pt x="651" y="483"/>
                  </a:cubicBezTo>
                  <a:cubicBezTo>
                    <a:pt x="652" y="485"/>
                    <a:pt x="653" y="487"/>
                    <a:pt x="654" y="489"/>
                  </a:cubicBezTo>
                  <a:cubicBezTo>
                    <a:pt x="654" y="491"/>
                    <a:pt x="654" y="493"/>
                    <a:pt x="653" y="496"/>
                  </a:cubicBezTo>
                  <a:cubicBezTo>
                    <a:pt x="673" y="496"/>
                    <a:pt x="673" y="496"/>
                    <a:pt x="673" y="496"/>
                  </a:cubicBezTo>
                  <a:cubicBezTo>
                    <a:pt x="670" y="492"/>
                    <a:pt x="668" y="489"/>
                    <a:pt x="666" y="485"/>
                  </a:cubicBezTo>
                  <a:cubicBezTo>
                    <a:pt x="667" y="473"/>
                    <a:pt x="669" y="463"/>
                    <a:pt x="670" y="455"/>
                  </a:cubicBezTo>
                  <a:cubicBezTo>
                    <a:pt x="678" y="469"/>
                    <a:pt x="687" y="482"/>
                    <a:pt x="696" y="496"/>
                  </a:cubicBezTo>
                  <a:cubicBezTo>
                    <a:pt x="697" y="496"/>
                    <a:pt x="697" y="496"/>
                    <a:pt x="697" y="496"/>
                  </a:cubicBezTo>
                  <a:cubicBezTo>
                    <a:pt x="697" y="476"/>
                    <a:pt x="697" y="476"/>
                    <a:pt x="697" y="476"/>
                  </a:cubicBezTo>
                  <a:cubicBezTo>
                    <a:pt x="688" y="463"/>
                    <a:pt x="681" y="450"/>
                    <a:pt x="673" y="437"/>
                  </a:cubicBezTo>
                  <a:cubicBezTo>
                    <a:pt x="676" y="431"/>
                    <a:pt x="678" y="425"/>
                    <a:pt x="679" y="420"/>
                  </a:cubicBezTo>
                  <a:cubicBezTo>
                    <a:pt x="680" y="421"/>
                    <a:pt x="680" y="422"/>
                    <a:pt x="680" y="422"/>
                  </a:cubicBezTo>
                  <a:cubicBezTo>
                    <a:pt x="686" y="433"/>
                    <a:pt x="691" y="442"/>
                    <a:pt x="697" y="452"/>
                  </a:cubicBezTo>
                  <a:cubicBezTo>
                    <a:pt x="697" y="428"/>
                    <a:pt x="697" y="428"/>
                    <a:pt x="697" y="428"/>
                  </a:cubicBezTo>
                  <a:cubicBezTo>
                    <a:pt x="692" y="420"/>
                    <a:pt x="687" y="411"/>
                    <a:pt x="683" y="402"/>
                  </a:cubicBezTo>
                  <a:cubicBezTo>
                    <a:pt x="683" y="401"/>
                    <a:pt x="683" y="401"/>
                    <a:pt x="683" y="401"/>
                  </a:cubicBezTo>
                  <a:cubicBezTo>
                    <a:pt x="683" y="400"/>
                    <a:pt x="683" y="400"/>
                    <a:pt x="683" y="400"/>
                  </a:cubicBezTo>
                  <a:cubicBezTo>
                    <a:pt x="682" y="400"/>
                    <a:pt x="682" y="400"/>
                    <a:pt x="682" y="400"/>
                  </a:cubicBezTo>
                  <a:cubicBezTo>
                    <a:pt x="673" y="382"/>
                    <a:pt x="665" y="364"/>
                    <a:pt x="658" y="347"/>
                  </a:cubicBezTo>
                  <a:cubicBezTo>
                    <a:pt x="658" y="335"/>
                    <a:pt x="656" y="328"/>
                    <a:pt x="656" y="328"/>
                  </a:cubicBezTo>
                  <a:cubicBezTo>
                    <a:pt x="652" y="329"/>
                    <a:pt x="652" y="329"/>
                    <a:pt x="652" y="329"/>
                  </a:cubicBezTo>
                  <a:cubicBezTo>
                    <a:pt x="643" y="307"/>
                    <a:pt x="637" y="287"/>
                    <a:pt x="634" y="274"/>
                  </a:cubicBezTo>
                  <a:cubicBezTo>
                    <a:pt x="636" y="264"/>
                    <a:pt x="638" y="258"/>
                    <a:pt x="638" y="258"/>
                  </a:cubicBezTo>
                  <a:cubicBezTo>
                    <a:pt x="634" y="256"/>
                    <a:pt x="634" y="256"/>
                    <a:pt x="634" y="256"/>
                  </a:cubicBezTo>
                  <a:cubicBezTo>
                    <a:pt x="634" y="256"/>
                    <a:pt x="635" y="255"/>
                    <a:pt x="635" y="255"/>
                  </a:cubicBezTo>
                  <a:cubicBezTo>
                    <a:pt x="636" y="255"/>
                    <a:pt x="636" y="255"/>
                    <a:pt x="636" y="255"/>
                  </a:cubicBezTo>
                  <a:cubicBezTo>
                    <a:pt x="669" y="230"/>
                    <a:pt x="690" y="203"/>
                    <a:pt x="696" y="178"/>
                  </a:cubicBezTo>
                  <a:cubicBezTo>
                    <a:pt x="696" y="178"/>
                    <a:pt x="697" y="177"/>
                    <a:pt x="697" y="177"/>
                  </a:cubicBezTo>
                  <a:cubicBezTo>
                    <a:pt x="697" y="149"/>
                    <a:pt x="697" y="149"/>
                    <a:pt x="697" y="149"/>
                  </a:cubicBezTo>
                  <a:cubicBezTo>
                    <a:pt x="697" y="150"/>
                    <a:pt x="696" y="150"/>
                    <a:pt x="696" y="151"/>
                  </a:cubicBezTo>
                  <a:cubicBezTo>
                    <a:pt x="695" y="145"/>
                    <a:pt x="692" y="140"/>
                    <a:pt x="689" y="135"/>
                  </a:cubicBezTo>
                  <a:cubicBezTo>
                    <a:pt x="692" y="131"/>
                    <a:pt x="694" y="128"/>
                    <a:pt x="697" y="124"/>
                  </a:cubicBezTo>
                  <a:cubicBezTo>
                    <a:pt x="697" y="105"/>
                    <a:pt x="697" y="105"/>
                    <a:pt x="697" y="105"/>
                  </a:cubicBezTo>
                  <a:cubicBezTo>
                    <a:pt x="692" y="112"/>
                    <a:pt x="687" y="119"/>
                    <a:pt x="681" y="125"/>
                  </a:cubicBezTo>
                  <a:cubicBezTo>
                    <a:pt x="679" y="123"/>
                    <a:pt x="677" y="121"/>
                    <a:pt x="674" y="119"/>
                  </a:cubicBezTo>
                  <a:cubicBezTo>
                    <a:pt x="682" y="105"/>
                    <a:pt x="688" y="90"/>
                    <a:pt x="693" y="74"/>
                  </a:cubicBezTo>
                  <a:cubicBezTo>
                    <a:pt x="694" y="71"/>
                    <a:pt x="694" y="69"/>
                    <a:pt x="695" y="67"/>
                  </a:cubicBezTo>
                  <a:cubicBezTo>
                    <a:pt x="695" y="67"/>
                    <a:pt x="696" y="67"/>
                    <a:pt x="697" y="68"/>
                  </a:cubicBezTo>
                  <a:cubicBezTo>
                    <a:pt x="697" y="0"/>
                    <a:pt x="697" y="0"/>
                    <a:pt x="69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78" name="Freeform 684"/>
            <p:cNvSpPr>
              <a:spLocks noEditPoints="1"/>
            </p:cNvSpPr>
            <p:nvPr/>
          </p:nvSpPr>
          <p:spPr bwMode="auto">
            <a:xfrm>
              <a:off x="4236" y="2090"/>
              <a:ext cx="1264" cy="918"/>
            </a:xfrm>
            <a:custGeom>
              <a:avLst/>
              <a:gdLst>
                <a:gd name="T0" fmla="*/ 1070 w 2049"/>
                <a:gd name="T1" fmla="*/ 1445 h 1489"/>
                <a:gd name="T2" fmla="*/ 886 w 2049"/>
                <a:gd name="T3" fmla="*/ 1433 h 1489"/>
                <a:gd name="T4" fmla="*/ 826 w 2049"/>
                <a:gd name="T5" fmla="*/ 1441 h 1489"/>
                <a:gd name="T6" fmla="*/ 1219 w 2049"/>
                <a:gd name="T7" fmla="*/ 1419 h 1489"/>
                <a:gd name="T8" fmla="*/ 859 w 2049"/>
                <a:gd name="T9" fmla="*/ 1425 h 1489"/>
                <a:gd name="T10" fmla="*/ 829 w 2049"/>
                <a:gd name="T11" fmla="*/ 1376 h 1489"/>
                <a:gd name="T12" fmla="*/ 1250 w 2049"/>
                <a:gd name="T13" fmla="*/ 1362 h 1489"/>
                <a:gd name="T14" fmla="*/ 1224 w 2049"/>
                <a:gd name="T15" fmla="*/ 1373 h 1489"/>
                <a:gd name="T16" fmla="*/ 1151 w 2049"/>
                <a:gd name="T17" fmla="*/ 1350 h 1489"/>
                <a:gd name="T18" fmla="*/ 1254 w 2049"/>
                <a:gd name="T19" fmla="*/ 1323 h 1489"/>
                <a:gd name="T20" fmla="*/ 955 w 2049"/>
                <a:gd name="T21" fmla="*/ 1341 h 1489"/>
                <a:gd name="T22" fmla="*/ 740 w 2049"/>
                <a:gd name="T23" fmla="*/ 1275 h 1489"/>
                <a:gd name="T24" fmla="*/ 731 w 2049"/>
                <a:gd name="T25" fmla="*/ 1326 h 1489"/>
                <a:gd name="T26" fmla="*/ 796 w 2049"/>
                <a:gd name="T27" fmla="*/ 1300 h 1489"/>
                <a:gd name="T28" fmla="*/ 1229 w 2049"/>
                <a:gd name="T29" fmla="*/ 1246 h 1489"/>
                <a:gd name="T30" fmla="*/ 1117 w 2049"/>
                <a:gd name="T31" fmla="*/ 1258 h 1489"/>
                <a:gd name="T32" fmla="*/ 1257 w 2049"/>
                <a:gd name="T33" fmla="*/ 1222 h 1489"/>
                <a:gd name="T34" fmla="*/ 1078 w 2049"/>
                <a:gd name="T35" fmla="*/ 1176 h 1489"/>
                <a:gd name="T36" fmla="*/ 1147 w 2049"/>
                <a:gd name="T37" fmla="*/ 1204 h 1489"/>
                <a:gd name="T38" fmla="*/ 1244 w 2049"/>
                <a:gd name="T39" fmla="*/ 1181 h 1489"/>
                <a:gd name="T40" fmla="*/ 1116 w 2049"/>
                <a:gd name="T41" fmla="*/ 1123 h 1489"/>
                <a:gd name="T42" fmla="*/ 702 w 2049"/>
                <a:gd name="T43" fmla="*/ 1123 h 1489"/>
                <a:gd name="T44" fmla="*/ 1239 w 2049"/>
                <a:gd name="T45" fmla="*/ 1102 h 1489"/>
                <a:gd name="T46" fmla="*/ 940 w 2049"/>
                <a:gd name="T47" fmla="*/ 1078 h 1489"/>
                <a:gd name="T48" fmla="*/ 1072 w 2049"/>
                <a:gd name="T49" fmla="*/ 1114 h 1489"/>
                <a:gd name="T50" fmla="*/ 1103 w 2049"/>
                <a:gd name="T51" fmla="*/ 1064 h 1489"/>
                <a:gd name="T52" fmla="*/ 990 w 2049"/>
                <a:gd name="T53" fmla="*/ 1069 h 1489"/>
                <a:gd name="T54" fmla="*/ 1143 w 2049"/>
                <a:gd name="T55" fmla="*/ 998 h 1489"/>
                <a:gd name="T56" fmla="*/ 1233 w 2049"/>
                <a:gd name="T57" fmla="*/ 993 h 1489"/>
                <a:gd name="T58" fmla="*/ 866 w 2049"/>
                <a:gd name="T59" fmla="*/ 993 h 1489"/>
                <a:gd name="T60" fmla="*/ 710 w 2049"/>
                <a:gd name="T61" fmla="*/ 1104 h 1489"/>
                <a:gd name="T62" fmla="*/ 787 w 2049"/>
                <a:gd name="T63" fmla="*/ 1489 h 1489"/>
                <a:gd name="T64" fmla="*/ 1146 w 2049"/>
                <a:gd name="T65" fmla="*/ 1484 h 1489"/>
                <a:gd name="T66" fmla="*/ 1395 w 2049"/>
                <a:gd name="T67" fmla="*/ 1406 h 1489"/>
                <a:gd name="T68" fmla="*/ 1904 w 2049"/>
                <a:gd name="T69" fmla="*/ 947 h 1489"/>
                <a:gd name="T70" fmla="*/ 1599 w 2049"/>
                <a:gd name="T71" fmla="*/ 960 h 1489"/>
                <a:gd name="T72" fmla="*/ 1809 w 2049"/>
                <a:gd name="T73" fmla="*/ 914 h 1489"/>
                <a:gd name="T74" fmla="*/ 1775 w 2049"/>
                <a:gd name="T75" fmla="*/ 766 h 1489"/>
                <a:gd name="T76" fmla="*/ 1948 w 2049"/>
                <a:gd name="T77" fmla="*/ 888 h 1489"/>
                <a:gd name="T78" fmla="*/ 1503 w 2049"/>
                <a:gd name="T79" fmla="*/ 662 h 1489"/>
                <a:gd name="T80" fmla="*/ 1605 w 2049"/>
                <a:gd name="T81" fmla="*/ 593 h 1489"/>
                <a:gd name="T82" fmla="*/ 1399 w 2049"/>
                <a:gd name="T83" fmla="*/ 616 h 1489"/>
                <a:gd name="T84" fmla="*/ 1413 w 2049"/>
                <a:gd name="T85" fmla="*/ 993 h 1489"/>
                <a:gd name="T86" fmla="*/ 1818 w 2049"/>
                <a:gd name="T87" fmla="*/ 929 h 1489"/>
                <a:gd name="T88" fmla="*/ 2038 w 2049"/>
                <a:gd name="T89" fmla="*/ 970 h 1489"/>
                <a:gd name="T90" fmla="*/ 280 w 2049"/>
                <a:gd name="T91" fmla="*/ 928 h 1489"/>
                <a:gd name="T92" fmla="*/ 630 w 2049"/>
                <a:gd name="T93" fmla="*/ 893 h 1489"/>
                <a:gd name="T94" fmla="*/ 164 w 2049"/>
                <a:gd name="T95" fmla="*/ 884 h 1489"/>
                <a:gd name="T96" fmla="*/ 153 w 2049"/>
                <a:gd name="T97" fmla="*/ 880 h 1489"/>
                <a:gd name="T98" fmla="*/ 296 w 2049"/>
                <a:gd name="T99" fmla="*/ 723 h 1489"/>
                <a:gd name="T100" fmla="*/ 165 w 2049"/>
                <a:gd name="T101" fmla="*/ 686 h 1489"/>
                <a:gd name="T102" fmla="*/ 425 w 2049"/>
                <a:gd name="T103" fmla="*/ 721 h 1489"/>
                <a:gd name="T104" fmla="*/ 669 w 2049"/>
                <a:gd name="T105" fmla="*/ 618 h 1489"/>
                <a:gd name="T106" fmla="*/ 673 w 2049"/>
                <a:gd name="T107" fmla="*/ 587 h 1489"/>
                <a:gd name="T108" fmla="*/ 435 w 2049"/>
                <a:gd name="T109" fmla="*/ 529 h 1489"/>
                <a:gd name="T110" fmla="*/ 440 w 2049"/>
                <a:gd name="T111" fmla="*/ 577 h 1489"/>
                <a:gd name="T112" fmla="*/ 47 w 2049"/>
                <a:gd name="T113" fmla="*/ 496 h 1489"/>
                <a:gd name="T114" fmla="*/ 0 w 2049"/>
                <a:gd name="T115" fmla="*/ 810 h 1489"/>
                <a:gd name="T116" fmla="*/ 417 w 2049"/>
                <a:gd name="T117" fmla="*/ 952 h 1489"/>
                <a:gd name="T118" fmla="*/ 697 w 2049"/>
                <a:gd name="T119" fmla="*/ 956 h 1489"/>
                <a:gd name="T120" fmla="*/ 693 w 2049"/>
                <a:gd name="T121" fmla="*/ 596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49" h="1489">
                  <a:moveTo>
                    <a:pt x="3" y="0"/>
                  </a:moveTo>
                  <a:cubicBezTo>
                    <a:pt x="0" y="0"/>
                    <a:pt x="0" y="0"/>
                    <a:pt x="0" y="0"/>
                  </a:cubicBezTo>
                  <a:cubicBezTo>
                    <a:pt x="0" y="7"/>
                    <a:pt x="0" y="7"/>
                    <a:pt x="0" y="7"/>
                  </a:cubicBezTo>
                  <a:cubicBezTo>
                    <a:pt x="1" y="4"/>
                    <a:pt x="2" y="2"/>
                    <a:pt x="3" y="0"/>
                  </a:cubicBezTo>
                  <a:moveTo>
                    <a:pt x="708" y="1488"/>
                  </a:moveTo>
                  <a:cubicBezTo>
                    <a:pt x="709" y="1485"/>
                    <a:pt x="709" y="1483"/>
                    <a:pt x="710" y="1480"/>
                  </a:cubicBezTo>
                  <a:cubicBezTo>
                    <a:pt x="712" y="1481"/>
                    <a:pt x="715" y="1482"/>
                    <a:pt x="720" y="1484"/>
                  </a:cubicBezTo>
                  <a:cubicBezTo>
                    <a:pt x="716" y="1485"/>
                    <a:pt x="712" y="1487"/>
                    <a:pt x="708" y="1488"/>
                  </a:cubicBezTo>
                  <a:moveTo>
                    <a:pt x="773" y="1487"/>
                  </a:moveTo>
                  <a:cubicBezTo>
                    <a:pt x="767" y="1485"/>
                    <a:pt x="761" y="1484"/>
                    <a:pt x="756" y="1482"/>
                  </a:cubicBezTo>
                  <a:cubicBezTo>
                    <a:pt x="760" y="1481"/>
                    <a:pt x="764" y="1479"/>
                    <a:pt x="769" y="1477"/>
                  </a:cubicBezTo>
                  <a:cubicBezTo>
                    <a:pt x="770" y="1480"/>
                    <a:pt x="772" y="1484"/>
                    <a:pt x="773" y="1487"/>
                  </a:cubicBezTo>
                  <a:moveTo>
                    <a:pt x="943" y="1475"/>
                  </a:moveTo>
                  <a:cubicBezTo>
                    <a:pt x="936" y="1471"/>
                    <a:pt x="929" y="1467"/>
                    <a:pt x="923" y="1462"/>
                  </a:cubicBezTo>
                  <a:cubicBezTo>
                    <a:pt x="933" y="1465"/>
                    <a:pt x="943" y="1468"/>
                    <a:pt x="954" y="1471"/>
                  </a:cubicBezTo>
                  <a:cubicBezTo>
                    <a:pt x="950" y="1472"/>
                    <a:pt x="946" y="1474"/>
                    <a:pt x="943" y="1475"/>
                  </a:cubicBezTo>
                  <a:moveTo>
                    <a:pt x="1083" y="1477"/>
                  </a:moveTo>
                  <a:cubicBezTo>
                    <a:pt x="1054" y="1477"/>
                    <a:pt x="1026" y="1474"/>
                    <a:pt x="999" y="1469"/>
                  </a:cubicBezTo>
                  <a:cubicBezTo>
                    <a:pt x="1011" y="1465"/>
                    <a:pt x="1024" y="1461"/>
                    <a:pt x="1036" y="1456"/>
                  </a:cubicBezTo>
                  <a:cubicBezTo>
                    <a:pt x="1061" y="1463"/>
                    <a:pt x="1087" y="1468"/>
                    <a:pt x="1115" y="1471"/>
                  </a:cubicBezTo>
                  <a:cubicBezTo>
                    <a:pt x="1111" y="1473"/>
                    <a:pt x="1108" y="1474"/>
                    <a:pt x="1104" y="1476"/>
                  </a:cubicBezTo>
                  <a:cubicBezTo>
                    <a:pt x="1097" y="1476"/>
                    <a:pt x="1090" y="1477"/>
                    <a:pt x="1083" y="1477"/>
                  </a:cubicBezTo>
                  <a:moveTo>
                    <a:pt x="1137" y="1461"/>
                  </a:moveTo>
                  <a:cubicBezTo>
                    <a:pt x="1109" y="1459"/>
                    <a:pt x="1082" y="1455"/>
                    <a:pt x="1057" y="1449"/>
                  </a:cubicBezTo>
                  <a:cubicBezTo>
                    <a:pt x="1061" y="1448"/>
                    <a:pt x="1066" y="1446"/>
                    <a:pt x="1070" y="1445"/>
                  </a:cubicBezTo>
                  <a:cubicBezTo>
                    <a:pt x="1095" y="1451"/>
                    <a:pt x="1120" y="1455"/>
                    <a:pt x="1144" y="1457"/>
                  </a:cubicBezTo>
                  <a:cubicBezTo>
                    <a:pt x="1142" y="1458"/>
                    <a:pt x="1140" y="1459"/>
                    <a:pt x="1137" y="1461"/>
                  </a:cubicBezTo>
                  <a:moveTo>
                    <a:pt x="1194" y="1433"/>
                  </a:moveTo>
                  <a:cubicBezTo>
                    <a:pt x="1194" y="1433"/>
                    <a:pt x="1194" y="1433"/>
                    <a:pt x="1194" y="1433"/>
                  </a:cubicBezTo>
                  <a:cubicBezTo>
                    <a:pt x="1194" y="1433"/>
                    <a:pt x="1194" y="1433"/>
                    <a:pt x="1194" y="1433"/>
                  </a:cubicBezTo>
                  <a:cubicBezTo>
                    <a:pt x="1194" y="1433"/>
                    <a:pt x="1194" y="1433"/>
                    <a:pt x="1194" y="1433"/>
                  </a:cubicBezTo>
                  <a:moveTo>
                    <a:pt x="1167" y="1446"/>
                  </a:moveTo>
                  <a:cubicBezTo>
                    <a:pt x="1142" y="1446"/>
                    <a:pt x="1116" y="1443"/>
                    <a:pt x="1090" y="1437"/>
                  </a:cubicBezTo>
                  <a:cubicBezTo>
                    <a:pt x="1096" y="1435"/>
                    <a:pt x="1101" y="1433"/>
                    <a:pt x="1106" y="1431"/>
                  </a:cubicBezTo>
                  <a:cubicBezTo>
                    <a:pt x="1125" y="1437"/>
                    <a:pt x="1144" y="1441"/>
                    <a:pt x="1164" y="1445"/>
                  </a:cubicBezTo>
                  <a:cubicBezTo>
                    <a:pt x="1165" y="1439"/>
                    <a:pt x="1165" y="1439"/>
                    <a:pt x="1165" y="1439"/>
                  </a:cubicBezTo>
                  <a:cubicBezTo>
                    <a:pt x="1166" y="1435"/>
                    <a:pt x="1166" y="1435"/>
                    <a:pt x="1166" y="1435"/>
                  </a:cubicBezTo>
                  <a:cubicBezTo>
                    <a:pt x="1171" y="1436"/>
                    <a:pt x="1175" y="1438"/>
                    <a:pt x="1180" y="1440"/>
                  </a:cubicBezTo>
                  <a:cubicBezTo>
                    <a:pt x="1176" y="1442"/>
                    <a:pt x="1172" y="1444"/>
                    <a:pt x="1167" y="1446"/>
                  </a:cubicBezTo>
                  <a:moveTo>
                    <a:pt x="1204" y="1428"/>
                  </a:moveTo>
                  <a:cubicBezTo>
                    <a:pt x="1205" y="1425"/>
                    <a:pt x="1205" y="1425"/>
                    <a:pt x="1205" y="1425"/>
                  </a:cubicBezTo>
                  <a:cubicBezTo>
                    <a:pt x="1205" y="1426"/>
                    <a:pt x="1206" y="1426"/>
                    <a:pt x="1207" y="1426"/>
                  </a:cubicBezTo>
                  <a:cubicBezTo>
                    <a:pt x="1206" y="1427"/>
                    <a:pt x="1205" y="1427"/>
                    <a:pt x="1204" y="1428"/>
                  </a:cubicBezTo>
                  <a:moveTo>
                    <a:pt x="1152" y="1429"/>
                  </a:moveTo>
                  <a:cubicBezTo>
                    <a:pt x="1144" y="1427"/>
                    <a:pt x="1137" y="1425"/>
                    <a:pt x="1129" y="1423"/>
                  </a:cubicBezTo>
                  <a:cubicBezTo>
                    <a:pt x="1130" y="1422"/>
                    <a:pt x="1131" y="1422"/>
                    <a:pt x="1132" y="1422"/>
                  </a:cubicBezTo>
                  <a:cubicBezTo>
                    <a:pt x="1139" y="1424"/>
                    <a:pt x="1145" y="1427"/>
                    <a:pt x="1152" y="1429"/>
                  </a:cubicBezTo>
                  <a:moveTo>
                    <a:pt x="975" y="1464"/>
                  </a:moveTo>
                  <a:cubicBezTo>
                    <a:pt x="946" y="1457"/>
                    <a:pt x="918" y="1449"/>
                    <a:pt x="892" y="1439"/>
                  </a:cubicBezTo>
                  <a:cubicBezTo>
                    <a:pt x="890" y="1437"/>
                    <a:pt x="888" y="1435"/>
                    <a:pt x="886" y="1433"/>
                  </a:cubicBezTo>
                  <a:cubicBezTo>
                    <a:pt x="905" y="1428"/>
                    <a:pt x="925" y="1423"/>
                    <a:pt x="945" y="1418"/>
                  </a:cubicBezTo>
                  <a:cubicBezTo>
                    <a:pt x="968" y="1431"/>
                    <a:pt x="991" y="1442"/>
                    <a:pt x="1017" y="1450"/>
                  </a:cubicBezTo>
                  <a:cubicBezTo>
                    <a:pt x="1004" y="1455"/>
                    <a:pt x="991" y="1459"/>
                    <a:pt x="978" y="1463"/>
                  </a:cubicBezTo>
                  <a:cubicBezTo>
                    <a:pt x="977" y="1463"/>
                    <a:pt x="976" y="1464"/>
                    <a:pt x="975" y="1464"/>
                  </a:cubicBezTo>
                  <a:moveTo>
                    <a:pt x="735" y="1476"/>
                  </a:moveTo>
                  <a:cubicBezTo>
                    <a:pt x="721" y="1472"/>
                    <a:pt x="714" y="1469"/>
                    <a:pt x="712" y="1468"/>
                  </a:cubicBezTo>
                  <a:cubicBezTo>
                    <a:pt x="713" y="1459"/>
                    <a:pt x="715" y="1451"/>
                    <a:pt x="716" y="1442"/>
                  </a:cubicBezTo>
                  <a:cubicBezTo>
                    <a:pt x="717" y="1435"/>
                    <a:pt x="718" y="1428"/>
                    <a:pt x="718" y="1421"/>
                  </a:cubicBezTo>
                  <a:cubicBezTo>
                    <a:pt x="722" y="1419"/>
                    <a:pt x="726" y="1418"/>
                    <a:pt x="730" y="1416"/>
                  </a:cubicBezTo>
                  <a:cubicBezTo>
                    <a:pt x="732" y="1435"/>
                    <a:pt x="734" y="1455"/>
                    <a:pt x="735" y="1476"/>
                  </a:cubicBezTo>
                  <a:moveTo>
                    <a:pt x="1185" y="1429"/>
                  </a:moveTo>
                  <a:cubicBezTo>
                    <a:pt x="1173" y="1424"/>
                    <a:pt x="1161" y="1420"/>
                    <a:pt x="1149" y="1415"/>
                  </a:cubicBezTo>
                  <a:cubicBezTo>
                    <a:pt x="1150" y="1415"/>
                    <a:pt x="1152" y="1414"/>
                    <a:pt x="1153" y="1414"/>
                  </a:cubicBezTo>
                  <a:cubicBezTo>
                    <a:pt x="1163" y="1419"/>
                    <a:pt x="1174" y="1424"/>
                    <a:pt x="1185" y="1429"/>
                  </a:cubicBezTo>
                  <a:moveTo>
                    <a:pt x="1036" y="1444"/>
                  </a:moveTo>
                  <a:cubicBezTo>
                    <a:pt x="1010" y="1436"/>
                    <a:pt x="985" y="1426"/>
                    <a:pt x="963" y="1414"/>
                  </a:cubicBezTo>
                  <a:cubicBezTo>
                    <a:pt x="964" y="1414"/>
                    <a:pt x="966" y="1414"/>
                    <a:pt x="968" y="1413"/>
                  </a:cubicBezTo>
                  <a:cubicBezTo>
                    <a:pt x="970" y="1413"/>
                    <a:pt x="972" y="1412"/>
                    <a:pt x="974" y="1412"/>
                  </a:cubicBezTo>
                  <a:cubicBezTo>
                    <a:pt x="999" y="1422"/>
                    <a:pt x="1024" y="1432"/>
                    <a:pt x="1050" y="1439"/>
                  </a:cubicBezTo>
                  <a:cubicBezTo>
                    <a:pt x="1045" y="1441"/>
                    <a:pt x="1041" y="1442"/>
                    <a:pt x="1036" y="1444"/>
                  </a:cubicBezTo>
                  <a:moveTo>
                    <a:pt x="826" y="1441"/>
                  </a:moveTo>
                  <a:cubicBezTo>
                    <a:pt x="819" y="1431"/>
                    <a:pt x="813" y="1422"/>
                    <a:pt x="806" y="1412"/>
                  </a:cubicBezTo>
                  <a:cubicBezTo>
                    <a:pt x="819" y="1419"/>
                    <a:pt x="833" y="1426"/>
                    <a:pt x="848" y="1433"/>
                  </a:cubicBezTo>
                  <a:cubicBezTo>
                    <a:pt x="842" y="1435"/>
                    <a:pt x="836" y="1437"/>
                    <a:pt x="830" y="1439"/>
                  </a:cubicBezTo>
                  <a:cubicBezTo>
                    <a:pt x="829" y="1440"/>
                    <a:pt x="828" y="1441"/>
                    <a:pt x="826" y="1441"/>
                  </a:cubicBezTo>
                  <a:moveTo>
                    <a:pt x="746" y="1473"/>
                  </a:moveTo>
                  <a:cubicBezTo>
                    <a:pt x="745" y="1452"/>
                    <a:pt x="743" y="1431"/>
                    <a:pt x="741" y="1412"/>
                  </a:cubicBezTo>
                  <a:cubicBezTo>
                    <a:pt x="742" y="1411"/>
                    <a:pt x="742" y="1411"/>
                    <a:pt x="743" y="1411"/>
                  </a:cubicBezTo>
                  <a:cubicBezTo>
                    <a:pt x="749" y="1429"/>
                    <a:pt x="756" y="1448"/>
                    <a:pt x="764" y="1466"/>
                  </a:cubicBezTo>
                  <a:cubicBezTo>
                    <a:pt x="758" y="1469"/>
                    <a:pt x="752" y="1471"/>
                    <a:pt x="746" y="1473"/>
                  </a:cubicBezTo>
                  <a:moveTo>
                    <a:pt x="1194" y="1419"/>
                  </a:moveTo>
                  <a:cubicBezTo>
                    <a:pt x="1185" y="1416"/>
                    <a:pt x="1176" y="1412"/>
                    <a:pt x="1168" y="1408"/>
                  </a:cubicBezTo>
                  <a:cubicBezTo>
                    <a:pt x="1169" y="1407"/>
                    <a:pt x="1170" y="1407"/>
                    <a:pt x="1172" y="1406"/>
                  </a:cubicBezTo>
                  <a:cubicBezTo>
                    <a:pt x="1179" y="1411"/>
                    <a:pt x="1186" y="1415"/>
                    <a:pt x="1194" y="1419"/>
                  </a:cubicBezTo>
                  <a:moveTo>
                    <a:pt x="1069" y="1432"/>
                  </a:moveTo>
                  <a:cubicBezTo>
                    <a:pt x="1044" y="1426"/>
                    <a:pt x="1019" y="1417"/>
                    <a:pt x="994" y="1407"/>
                  </a:cubicBezTo>
                  <a:cubicBezTo>
                    <a:pt x="1002" y="1405"/>
                    <a:pt x="1010" y="1403"/>
                    <a:pt x="1018" y="1401"/>
                  </a:cubicBezTo>
                  <a:cubicBezTo>
                    <a:pt x="1040" y="1411"/>
                    <a:pt x="1063" y="1419"/>
                    <a:pt x="1087" y="1426"/>
                  </a:cubicBezTo>
                  <a:cubicBezTo>
                    <a:pt x="1081" y="1428"/>
                    <a:pt x="1075" y="1430"/>
                    <a:pt x="1069" y="1432"/>
                  </a:cubicBezTo>
                  <a:moveTo>
                    <a:pt x="775" y="1462"/>
                  </a:moveTo>
                  <a:cubicBezTo>
                    <a:pt x="767" y="1444"/>
                    <a:pt x="760" y="1425"/>
                    <a:pt x="753" y="1407"/>
                  </a:cubicBezTo>
                  <a:cubicBezTo>
                    <a:pt x="762" y="1403"/>
                    <a:pt x="770" y="1400"/>
                    <a:pt x="779" y="1396"/>
                  </a:cubicBezTo>
                  <a:cubicBezTo>
                    <a:pt x="781" y="1397"/>
                    <a:pt x="784" y="1399"/>
                    <a:pt x="786" y="1400"/>
                  </a:cubicBezTo>
                  <a:cubicBezTo>
                    <a:pt x="795" y="1415"/>
                    <a:pt x="805" y="1431"/>
                    <a:pt x="816" y="1446"/>
                  </a:cubicBezTo>
                  <a:cubicBezTo>
                    <a:pt x="804" y="1450"/>
                    <a:pt x="789" y="1456"/>
                    <a:pt x="775" y="1462"/>
                  </a:cubicBezTo>
                  <a:moveTo>
                    <a:pt x="1219" y="1419"/>
                  </a:moveTo>
                  <a:cubicBezTo>
                    <a:pt x="1207" y="1413"/>
                    <a:pt x="1196" y="1407"/>
                    <a:pt x="1186" y="1401"/>
                  </a:cubicBezTo>
                  <a:cubicBezTo>
                    <a:pt x="1192" y="1399"/>
                    <a:pt x="1198" y="1396"/>
                    <a:pt x="1204" y="1394"/>
                  </a:cubicBezTo>
                  <a:cubicBezTo>
                    <a:pt x="1213" y="1400"/>
                    <a:pt x="1221" y="1406"/>
                    <a:pt x="1230" y="1412"/>
                  </a:cubicBezTo>
                  <a:cubicBezTo>
                    <a:pt x="1226" y="1414"/>
                    <a:pt x="1223" y="1417"/>
                    <a:pt x="1219" y="1419"/>
                  </a:cubicBezTo>
                  <a:moveTo>
                    <a:pt x="1292" y="1403"/>
                  </a:moveTo>
                  <a:cubicBezTo>
                    <a:pt x="1289" y="1400"/>
                    <a:pt x="1285" y="1397"/>
                    <a:pt x="1282" y="1394"/>
                  </a:cubicBezTo>
                  <a:cubicBezTo>
                    <a:pt x="1283" y="1393"/>
                    <a:pt x="1283" y="1393"/>
                    <a:pt x="1284" y="1392"/>
                  </a:cubicBezTo>
                  <a:cubicBezTo>
                    <a:pt x="1287" y="1396"/>
                    <a:pt x="1289" y="1399"/>
                    <a:pt x="1292" y="1403"/>
                  </a:cubicBezTo>
                  <a:moveTo>
                    <a:pt x="1111" y="1417"/>
                  </a:moveTo>
                  <a:cubicBezTo>
                    <a:pt x="1090" y="1410"/>
                    <a:pt x="1069" y="1402"/>
                    <a:pt x="1050" y="1393"/>
                  </a:cubicBezTo>
                  <a:cubicBezTo>
                    <a:pt x="1055" y="1392"/>
                    <a:pt x="1060" y="1391"/>
                    <a:pt x="1066" y="1389"/>
                  </a:cubicBezTo>
                  <a:cubicBezTo>
                    <a:pt x="1082" y="1398"/>
                    <a:pt x="1099" y="1407"/>
                    <a:pt x="1117" y="1415"/>
                  </a:cubicBezTo>
                  <a:cubicBezTo>
                    <a:pt x="1111" y="1417"/>
                    <a:pt x="1111" y="1417"/>
                    <a:pt x="1111" y="1417"/>
                  </a:cubicBezTo>
                  <a:moveTo>
                    <a:pt x="1241" y="1405"/>
                  </a:moveTo>
                  <a:cubicBezTo>
                    <a:pt x="1241" y="1405"/>
                    <a:pt x="1241" y="1405"/>
                    <a:pt x="1241" y="1405"/>
                  </a:cubicBezTo>
                  <a:cubicBezTo>
                    <a:pt x="1233" y="1399"/>
                    <a:pt x="1225" y="1394"/>
                    <a:pt x="1217" y="1388"/>
                  </a:cubicBezTo>
                  <a:cubicBezTo>
                    <a:pt x="1219" y="1388"/>
                    <a:pt x="1220" y="1387"/>
                    <a:pt x="1221" y="1387"/>
                  </a:cubicBezTo>
                  <a:cubicBezTo>
                    <a:pt x="1228" y="1393"/>
                    <a:pt x="1234" y="1398"/>
                    <a:pt x="1241" y="1404"/>
                  </a:cubicBezTo>
                  <a:cubicBezTo>
                    <a:pt x="1241" y="1405"/>
                    <a:pt x="1241" y="1405"/>
                    <a:pt x="1241" y="1405"/>
                  </a:cubicBezTo>
                  <a:moveTo>
                    <a:pt x="947" y="1406"/>
                  </a:moveTo>
                  <a:cubicBezTo>
                    <a:pt x="934" y="1398"/>
                    <a:pt x="921" y="1390"/>
                    <a:pt x="909" y="1381"/>
                  </a:cubicBezTo>
                  <a:cubicBezTo>
                    <a:pt x="924" y="1389"/>
                    <a:pt x="940" y="1396"/>
                    <a:pt x="956" y="1404"/>
                  </a:cubicBezTo>
                  <a:cubicBezTo>
                    <a:pt x="953" y="1404"/>
                    <a:pt x="950" y="1405"/>
                    <a:pt x="947" y="1406"/>
                  </a:cubicBezTo>
                  <a:moveTo>
                    <a:pt x="1133" y="1409"/>
                  </a:moveTo>
                  <a:cubicBezTo>
                    <a:pt x="1115" y="1401"/>
                    <a:pt x="1098" y="1393"/>
                    <a:pt x="1082" y="1384"/>
                  </a:cubicBezTo>
                  <a:cubicBezTo>
                    <a:pt x="1086" y="1383"/>
                    <a:pt x="1090" y="1382"/>
                    <a:pt x="1095" y="1381"/>
                  </a:cubicBezTo>
                  <a:cubicBezTo>
                    <a:pt x="1109" y="1390"/>
                    <a:pt x="1123" y="1398"/>
                    <a:pt x="1139" y="1406"/>
                  </a:cubicBezTo>
                  <a:cubicBezTo>
                    <a:pt x="1137" y="1407"/>
                    <a:pt x="1135" y="1408"/>
                    <a:pt x="1133" y="1409"/>
                  </a:cubicBezTo>
                  <a:moveTo>
                    <a:pt x="859" y="1425"/>
                  </a:moveTo>
                  <a:cubicBezTo>
                    <a:pt x="834" y="1414"/>
                    <a:pt x="812" y="1402"/>
                    <a:pt x="793" y="1391"/>
                  </a:cubicBezTo>
                  <a:cubicBezTo>
                    <a:pt x="793" y="1391"/>
                    <a:pt x="793" y="1391"/>
                    <a:pt x="793" y="1391"/>
                  </a:cubicBezTo>
                  <a:cubicBezTo>
                    <a:pt x="801" y="1387"/>
                    <a:pt x="809" y="1384"/>
                    <a:pt x="818" y="1381"/>
                  </a:cubicBezTo>
                  <a:cubicBezTo>
                    <a:pt x="830" y="1396"/>
                    <a:pt x="844" y="1410"/>
                    <a:pt x="859" y="1425"/>
                  </a:cubicBezTo>
                  <a:moveTo>
                    <a:pt x="1251" y="1397"/>
                  </a:moveTo>
                  <a:cubicBezTo>
                    <a:pt x="1245" y="1392"/>
                    <a:pt x="1239" y="1387"/>
                    <a:pt x="1233" y="1382"/>
                  </a:cubicBezTo>
                  <a:cubicBezTo>
                    <a:pt x="1238" y="1380"/>
                    <a:pt x="1243" y="1378"/>
                    <a:pt x="1247" y="1376"/>
                  </a:cubicBezTo>
                  <a:cubicBezTo>
                    <a:pt x="1252" y="1381"/>
                    <a:pt x="1257" y="1386"/>
                    <a:pt x="1262" y="1391"/>
                  </a:cubicBezTo>
                  <a:cubicBezTo>
                    <a:pt x="1259" y="1393"/>
                    <a:pt x="1255" y="1395"/>
                    <a:pt x="1251" y="1397"/>
                  </a:cubicBezTo>
                  <a:moveTo>
                    <a:pt x="750" y="1395"/>
                  </a:moveTo>
                  <a:cubicBezTo>
                    <a:pt x="747" y="1388"/>
                    <a:pt x="745" y="1380"/>
                    <a:pt x="743" y="1373"/>
                  </a:cubicBezTo>
                  <a:cubicBezTo>
                    <a:pt x="749" y="1377"/>
                    <a:pt x="757" y="1383"/>
                    <a:pt x="767" y="1388"/>
                  </a:cubicBezTo>
                  <a:cubicBezTo>
                    <a:pt x="761" y="1391"/>
                    <a:pt x="755" y="1393"/>
                    <a:pt x="750" y="1395"/>
                  </a:cubicBezTo>
                  <a:moveTo>
                    <a:pt x="1154" y="1401"/>
                  </a:moveTo>
                  <a:cubicBezTo>
                    <a:pt x="1138" y="1393"/>
                    <a:pt x="1124" y="1385"/>
                    <a:pt x="1110" y="1376"/>
                  </a:cubicBezTo>
                  <a:cubicBezTo>
                    <a:pt x="1113" y="1375"/>
                    <a:pt x="1117" y="1374"/>
                    <a:pt x="1121" y="1372"/>
                  </a:cubicBezTo>
                  <a:cubicBezTo>
                    <a:pt x="1133" y="1381"/>
                    <a:pt x="1146" y="1390"/>
                    <a:pt x="1159" y="1399"/>
                  </a:cubicBezTo>
                  <a:cubicBezTo>
                    <a:pt x="1157" y="1399"/>
                    <a:pt x="1156" y="1400"/>
                    <a:pt x="1154" y="1401"/>
                  </a:cubicBezTo>
                  <a:moveTo>
                    <a:pt x="1271" y="1384"/>
                  </a:moveTo>
                  <a:cubicBezTo>
                    <a:pt x="1267" y="1380"/>
                    <a:pt x="1263" y="1375"/>
                    <a:pt x="1258" y="1371"/>
                  </a:cubicBezTo>
                  <a:cubicBezTo>
                    <a:pt x="1261" y="1370"/>
                    <a:pt x="1263" y="1369"/>
                    <a:pt x="1266" y="1368"/>
                  </a:cubicBezTo>
                  <a:cubicBezTo>
                    <a:pt x="1269" y="1372"/>
                    <a:pt x="1272" y="1377"/>
                    <a:pt x="1276" y="1381"/>
                  </a:cubicBezTo>
                  <a:cubicBezTo>
                    <a:pt x="1274" y="1382"/>
                    <a:pt x="1273" y="1383"/>
                    <a:pt x="1271" y="1384"/>
                  </a:cubicBezTo>
                  <a:moveTo>
                    <a:pt x="875" y="1424"/>
                  </a:moveTo>
                  <a:cubicBezTo>
                    <a:pt x="858" y="1409"/>
                    <a:pt x="843" y="1393"/>
                    <a:pt x="829" y="1376"/>
                  </a:cubicBezTo>
                  <a:cubicBezTo>
                    <a:pt x="842" y="1372"/>
                    <a:pt x="856" y="1368"/>
                    <a:pt x="871" y="1365"/>
                  </a:cubicBezTo>
                  <a:cubicBezTo>
                    <a:pt x="889" y="1381"/>
                    <a:pt x="909" y="1396"/>
                    <a:pt x="930" y="1410"/>
                  </a:cubicBezTo>
                  <a:cubicBezTo>
                    <a:pt x="911" y="1414"/>
                    <a:pt x="893" y="1419"/>
                    <a:pt x="875" y="1424"/>
                  </a:cubicBezTo>
                  <a:moveTo>
                    <a:pt x="1173" y="1393"/>
                  </a:moveTo>
                  <a:cubicBezTo>
                    <a:pt x="1160" y="1385"/>
                    <a:pt x="1147" y="1377"/>
                    <a:pt x="1135" y="1368"/>
                  </a:cubicBezTo>
                  <a:cubicBezTo>
                    <a:pt x="1143" y="1365"/>
                    <a:pt x="1152" y="1362"/>
                    <a:pt x="1161" y="1359"/>
                  </a:cubicBezTo>
                  <a:cubicBezTo>
                    <a:pt x="1171" y="1368"/>
                    <a:pt x="1182" y="1377"/>
                    <a:pt x="1193" y="1385"/>
                  </a:cubicBezTo>
                  <a:cubicBezTo>
                    <a:pt x="1187" y="1388"/>
                    <a:pt x="1180" y="1391"/>
                    <a:pt x="1173" y="1393"/>
                  </a:cubicBezTo>
                  <a:moveTo>
                    <a:pt x="975" y="1399"/>
                  </a:moveTo>
                  <a:cubicBezTo>
                    <a:pt x="948" y="1387"/>
                    <a:pt x="921" y="1374"/>
                    <a:pt x="896" y="1361"/>
                  </a:cubicBezTo>
                  <a:cubicBezTo>
                    <a:pt x="907" y="1359"/>
                    <a:pt x="918" y="1358"/>
                    <a:pt x="930" y="1356"/>
                  </a:cubicBezTo>
                  <a:cubicBezTo>
                    <a:pt x="952" y="1370"/>
                    <a:pt x="975" y="1382"/>
                    <a:pt x="1000" y="1394"/>
                  </a:cubicBezTo>
                  <a:cubicBezTo>
                    <a:pt x="991" y="1396"/>
                    <a:pt x="983" y="1397"/>
                    <a:pt x="975" y="1399"/>
                  </a:cubicBezTo>
                  <a:moveTo>
                    <a:pt x="983" y="1373"/>
                  </a:moveTo>
                  <a:cubicBezTo>
                    <a:pt x="972" y="1367"/>
                    <a:pt x="960" y="1360"/>
                    <a:pt x="949" y="1354"/>
                  </a:cubicBezTo>
                  <a:cubicBezTo>
                    <a:pt x="950" y="1353"/>
                    <a:pt x="951" y="1353"/>
                    <a:pt x="953" y="1353"/>
                  </a:cubicBezTo>
                  <a:cubicBezTo>
                    <a:pt x="963" y="1360"/>
                    <a:pt x="973" y="1367"/>
                    <a:pt x="983" y="1373"/>
                  </a:cubicBezTo>
                  <a:moveTo>
                    <a:pt x="720" y="1407"/>
                  </a:moveTo>
                  <a:cubicBezTo>
                    <a:pt x="721" y="1389"/>
                    <a:pt x="722" y="1370"/>
                    <a:pt x="723" y="1352"/>
                  </a:cubicBezTo>
                  <a:cubicBezTo>
                    <a:pt x="725" y="1367"/>
                    <a:pt x="727" y="1384"/>
                    <a:pt x="729" y="1404"/>
                  </a:cubicBezTo>
                  <a:cubicBezTo>
                    <a:pt x="726" y="1405"/>
                    <a:pt x="723" y="1406"/>
                    <a:pt x="720" y="1407"/>
                  </a:cubicBezTo>
                  <a:moveTo>
                    <a:pt x="1250" y="1362"/>
                  </a:moveTo>
                  <a:cubicBezTo>
                    <a:pt x="1246" y="1358"/>
                    <a:pt x="1243" y="1354"/>
                    <a:pt x="1240" y="1351"/>
                  </a:cubicBezTo>
                  <a:cubicBezTo>
                    <a:pt x="1244" y="1353"/>
                    <a:pt x="1250" y="1356"/>
                    <a:pt x="1255" y="1360"/>
                  </a:cubicBezTo>
                  <a:cubicBezTo>
                    <a:pt x="1253" y="1360"/>
                    <a:pt x="1252" y="1361"/>
                    <a:pt x="1250" y="1362"/>
                  </a:cubicBezTo>
                  <a:moveTo>
                    <a:pt x="1206" y="1380"/>
                  </a:moveTo>
                  <a:cubicBezTo>
                    <a:pt x="1195" y="1372"/>
                    <a:pt x="1184" y="1363"/>
                    <a:pt x="1174" y="1355"/>
                  </a:cubicBezTo>
                  <a:cubicBezTo>
                    <a:pt x="1178" y="1353"/>
                    <a:pt x="1181" y="1352"/>
                    <a:pt x="1185" y="1350"/>
                  </a:cubicBezTo>
                  <a:cubicBezTo>
                    <a:pt x="1194" y="1360"/>
                    <a:pt x="1203" y="1369"/>
                    <a:pt x="1212" y="1378"/>
                  </a:cubicBezTo>
                  <a:cubicBezTo>
                    <a:pt x="1210" y="1379"/>
                    <a:pt x="1208" y="1379"/>
                    <a:pt x="1206" y="1380"/>
                  </a:cubicBezTo>
                  <a:moveTo>
                    <a:pt x="1033" y="1386"/>
                  </a:moveTo>
                  <a:cubicBezTo>
                    <a:pt x="1011" y="1375"/>
                    <a:pt x="990" y="1363"/>
                    <a:pt x="970" y="1351"/>
                  </a:cubicBezTo>
                  <a:cubicBezTo>
                    <a:pt x="980" y="1350"/>
                    <a:pt x="990" y="1348"/>
                    <a:pt x="1000" y="1346"/>
                  </a:cubicBezTo>
                  <a:cubicBezTo>
                    <a:pt x="1016" y="1359"/>
                    <a:pt x="1033" y="1370"/>
                    <a:pt x="1051" y="1381"/>
                  </a:cubicBezTo>
                  <a:cubicBezTo>
                    <a:pt x="1045" y="1382"/>
                    <a:pt x="1039" y="1384"/>
                    <a:pt x="1033" y="1386"/>
                  </a:cubicBezTo>
                  <a:moveTo>
                    <a:pt x="1339" y="1386"/>
                  </a:moveTo>
                  <a:cubicBezTo>
                    <a:pt x="1319" y="1378"/>
                    <a:pt x="1301" y="1370"/>
                    <a:pt x="1285" y="1362"/>
                  </a:cubicBezTo>
                  <a:cubicBezTo>
                    <a:pt x="1284" y="1361"/>
                    <a:pt x="1284" y="1360"/>
                    <a:pt x="1283" y="1359"/>
                  </a:cubicBezTo>
                  <a:cubicBezTo>
                    <a:pt x="1296" y="1352"/>
                    <a:pt x="1306" y="1346"/>
                    <a:pt x="1311" y="1341"/>
                  </a:cubicBezTo>
                  <a:cubicBezTo>
                    <a:pt x="1320" y="1356"/>
                    <a:pt x="1329" y="1371"/>
                    <a:pt x="1339" y="1386"/>
                  </a:cubicBezTo>
                  <a:moveTo>
                    <a:pt x="1067" y="1376"/>
                  </a:moveTo>
                  <a:cubicBezTo>
                    <a:pt x="1050" y="1366"/>
                    <a:pt x="1033" y="1355"/>
                    <a:pt x="1017" y="1344"/>
                  </a:cubicBezTo>
                  <a:cubicBezTo>
                    <a:pt x="1024" y="1343"/>
                    <a:pt x="1031" y="1341"/>
                    <a:pt x="1039" y="1340"/>
                  </a:cubicBezTo>
                  <a:cubicBezTo>
                    <a:pt x="1052" y="1351"/>
                    <a:pt x="1066" y="1362"/>
                    <a:pt x="1082" y="1372"/>
                  </a:cubicBezTo>
                  <a:cubicBezTo>
                    <a:pt x="1077" y="1373"/>
                    <a:pt x="1072" y="1375"/>
                    <a:pt x="1067" y="1376"/>
                  </a:cubicBezTo>
                  <a:moveTo>
                    <a:pt x="1224" y="1373"/>
                  </a:moveTo>
                  <a:cubicBezTo>
                    <a:pt x="1214" y="1364"/>
                    <a:pt x="1205" y="1355"/>
                    <a:pt x="1197" y="1346"/>
                  </a:cubicBezTo>
                  <a:cubicBezTo>
                    <a:pt x="1203" y="1344"/>
                    <a:pt x="1209" y="1341"/>
                    <a:pt x="1215" y="1339"/>
                  </a:cubicBezTo>
                  <a:cubicBezTo>
                    <a:pt x="1223" y="1349"/>
                    <a:pt x="1231" y="1358"/>
                    <a:pt x="1239" y="1367"/>
                  </a:cubicBezTo>
                  <a:cubicBezTo>
                    <a:pt x="1234" y="1369"/>
                    <a:pt x="1229" y="1371"/>
                    <a:pt x="1224" y="1373"/>
                  </a:cubicBezTo>
                  <a:moveTo>
                    <a:pt x="1096" y="1368"/>
                  </a:moveTo>
                  <a:cubicBezTo>
                    <a:pt x="1081" y="1358"/>
                    <a:pt x="1067" y="1348"/>
                    <a:pt x="1053" y="1337"/>
                  </a:cubicBezTo>
                  <a:cubicBezTo>
                    <a:pt x="1060" y="1336"/>
                    <a:pt x="1067" y="1334"/>
                    <a:pt x="1074" y="1332"/>
                  </a:cubicBezTo>
                  <a:cubicBezTo>
                    <a:pt x="1085" y="1343"/>
                    <a:pt x="1097" y="1353"/>
                    <a:pt x="1110" y="1363"/>
                  </a:cubicBezTo>
                  <a:cubicBezTo>
                    <a:pt x="1106" y="1365"/>
                    <a:pt x="1102" y="1366"/>
                    <a:pt x="1099" y="1367"/>
                  </a:cubicBezTo>
                  <a:cubicBezTo>
                    <a:pt x="1098" y="1367"/>
                    <a:pt x="1097" y="1368"/>
                    <a:pt x="1096" y="1368"/>
                  </a:cubicBezTo>
                  <a:moveTo>
                    <a:pt x="774" y="1379"/>
                  </a:moveTo>
                  <a:cubicBezTo>
                    <a:pt x="757" y="1369"/>
                    <a:pt x="745" y="1360"/>
                    <a:pt x="738" y="1355"/>
                  </a:cubicBezTo>
                  <a:cubicBezTo>
                    <a:pt x="737" y="1349"/>
                    <a:pt x="735" y="1343"/>
                    <a:pt x="734" y="1338"/>
                  </a:cubicBezTo>
                  <a:cubicBezTo>
                    <a:pt x="739" y="1336"/>
                    <a:pt x="745" y="1333"/>
                    <a:pt x="750" y="1331"/>
                  </a:cubicBezTo>
                  <a:cubicBezTo>
                    <a:pt x="757" y="1347"/>
                    <a:pt x="765" y="1363"/>
                    <a:pt x="774" y="1379"/>
                  </a:cubicBezTo>
                  <a:moveTo>
                    <a:pt x="1247" y="1341"/>
                  </a:moveTo>
                  <a:cubicBezTo>
                    <a:pt x="1242" y="1338"/>
                    <a:pt x="1237" y="1335"/>
                    <a:pt x="1232" y="1332"/>
                  </a:cubicBezTo>
                  <a:cubicBezTo>
                    <a:pt x="1235" y="1331"/>
                    <a:pt x="1237" y="1330"/>
                    <a:pt x="1239" y="1329"/>
                  </a:cubicBezTo>
                  <a:cubicBezTo>
                    <a:pt x="1242" y="1333"/>
                    <a:pt x="1245" y="1337"/>
                    <a:pt x="1247" y="1341"/>
                  </a:cubicBezTo>
                  <a:moveTo>
                    <a:pt x="787" y="1380"/>
                  </a:moveTo>
                  <a:cubicBezTo>
                    <a:pt x="777" y="1362"/>
                    <a:pt x="768" y="1344"/>
                    <a:pt x="761" y="1327"/>
                  </a:cubicBezTo>
                  <a:cubicBezTo>
                    <a:pt x="765" y="1325"/>
                    <a:pt x="770" y="1323"/>
                    <a:pt x="775" y="1321"/>
                  </a:cubicBezTo>
                  <a:cubicBezTo>
                    <a:pt x="785" y="1338"/>
                    <a:pt x="797" y="1354"/>
                    <a:pt x="810" y="1371"/>
                  </a:cubicBezTo>
                  <a:cubicBezTo>
                    <a:pt x="803" y="1374"/>
                    <a:pt x="795" y="1377"/>
                    <a:pt x="787" y="1380"/>
                  </a:cubicBezTo>
                  <a:moveTo>
                    <a:pt x="1123" y="1359"/>
                  </a:moveTo>
                  <a:cubicBezTo>
                    <a:pt x="1111" y="1350"/>
                    <a:pt x="1099" y="1339"/>
                    <a:pt x="1087" y="1329"/>
                  </a:cubicBezTo>
                  <a:cubicBezTo>
                    <a:pt x="1088" y="1329"/>
                    <a:pt x="1088" y="1329"/>
                    <a:pt x="1089" y="1329"/>
                  </a:cubicBezTo>
                  <a:cubicBezTo>
                    <a:pt x="1100" y="1326"/>
                    <a:pt x="1111" y="1323"/>
                    <a:pt x="1121" y="1320"/>
                  </a:cubicBezTo>
                  <a:cubicBezTo>
                    <a:pt x="1130" y="1330"/>
                    <a:pt x="1140" y="1340"/>
                    <a:pt x="1151" y="1350"/>
                  </a:cubicBezTo>
                  <a:cubicBezTo>
                    <a:pt x="1142" y="1353"/>
                    <a:pt x="1133" y="1356"/>
                    <a:pt x="1123" y="1359"/>
                  </a:cubicBezTo>
                  <a:moveTo>
                    <a:pt x="821" y="1367"/>
                  </a:moveTo>
                  <a:cubicBezTo>
                    <a:pt x="808" y="1350"/>
                    <a:pt x="796" y="1333"/>
                    <a:pt x="786" y="1317"/>
                  </a:cubicBezTo>
                  <a:cubicBezTo>
                    <a:pt x="789" y="1316"/>
                    <a:pt x="791" y="1314"/>
                    <a:pt x="794" y="1313"/>
                  </a:cubicBezTo>
                  <a:cubicBezTo>
                    <a:pt x="812" y="1325"/>
                    <a:pt x="833" y="1338"/>
                    <a:pt x="856" y="1351"/>
                  </a:cubicBezTo>
                  <a:cubicBezTo>
                    <a:pt x="857" y="1353"/>
                    <a:pt x="858" y="1354"/>
                    <a:pt x="860" y="1355"/>
                  </a:cubicBezTo>
                  <a:cubicBezTo>
                    <a:pt x="846" y="1358"/>
                    <a:pt x="833" y="1362"/>
                    <a:pt x="821" y="1367"/>
                  </a:cubicBezTo>
                  <a:moveTo>
                    <a:pt x="1163" y="1346"/>
                  </a:moveTo>
                  <a:cubicBezTo>
                    <a:pt x="1153" y="1336"/>
                    <a:pt x="1143" y="1327"/>
                    <a:pt x="1134" y="1317"/>
                  </a:cubicBezTo>
                  <a:cubicBezTo>
                    <a:pt x="1140" y="1315"/>
                    <a:pt x="1147" y="1313"/>
                    <a:pt x="1153" y="1312"/>
                  </a:cubicBezTo>
                  <a:cubicBezTo>
                    <a:pt x="1160" y="1321"/>
                    <a:pt x="1168" y="1331"/>
                    <a:pt x="1177" y="1341"/>
                  </a:cubicBezTo>
                  <a:cubicBezTo>
                    <a:pt x="1172" y="1342"/>
                    <a:pt x="1168" y="1344"/>
                    <a:pt x="1163" y="1346"/>
                  </a:cubicBezTo>
                  <a:moveTo>
                    <a:pt x="823" y="1317"/>
                  </a:moveTo>
                  <a:cubicBezTo>
                    <a:pt x="818" y="1314"/>
                    <a:pt x="813" y="1311"/>
                    <a:pt x="808" y="1308"/>
                  </a:cubicBezTo>
                  <a:cubicBezTo>
                    <a:pt x="810" y="1307"/>
                    <a:pt x="811" y="1307"/>
                    <a:pt x="813" y="1306"/>
                  </a:cubicBezTo>
                  <a:cubicBezTo>
                    <a:pt x="816" y="1310"/>
                    <a:pt x="819" y="1314"/>
                    <a:pt x="823" y="1317"/>
                  </a:cubicBezTo>
                  <a:moveTo>
                    <a:pt x="1188" y="1337"/>
                  </a:moveTo>
                  <a:cubicBezTo>
                    <a:pt x="1180" y="1327"/>
                    <a:pt x="1172" y="1318"/>
                    <a:pt x="1165" y="1308"/>
                  </a:cubicBezTo>
                  <a:cubicBezTo>
                    <a:pt x="1173" y="1306"/>
                    <a:pt x="1181" y="1304"/>
                    <a:pt x="1188" y="1302"/>
                  </a:cubicBezTo>
                  <a:cubicBezTo>
                    <a:pt x="1192" y="1308"/>
                    <a:pt x="1196" y="1314"/>
                    <a:pt x="1200" y="1319"/>
                  </a:cubicBezTo>
                  <a:cubicBezTo>
                    <a:pt x="1198" y="1323"/>
                    <a:pt x="1198" y="1323"/>
                    <a:pt x="1198" y="1323"/>
                  </a:cubicBezTo>
                  <a:cubicBezTo>
                    <a:pt x="1198" y="1323"/>
                    <a:pt x="1201" y="1325"/>
                    <a:pt x="1207" y="1330"/>
                  </a:cubicBezTo>
                  <a:cubicBezTo>
                    <a:pt x="1201" y="1332"/>
                    <a:pt x="1195" y="1334"/>
                    <a:pt x="1188" y="1337"/>
                  </a:cubicBezTo>
                  <a:moveTo>
                    <a:pt x="1275" y="1350"/>
                  </a:moveTo>
                  <a:cubicBezTo>
                    <a:pt x="1268" y="1341"/>
                    <a:pt x="1261" y="1332"/>
                    <a:pt x="1254" y="1323"/>
                  </a:cubicBezTo>
                  <a:cubicBezTo>
                    <a:pt x="1269" y="1315"/>
                    <a:pt x="1282" y="1308"/>
                    <a:pt x="1290" y="1302"/>
                  </a:cubicBezTo>
                  <a:cubicBezTo>
                    <a:pt x="1295" y="1312"/>
                    <a:pt x="1301" y="1322"/>
                    <a:pt x="1307" y="1333"/>
                  </a:cubicBezTo>
                  <a:cubicBezTo>
                    <a:pt x="1304" y="1331"/>
                    <a:pt x="1304" y="1331"/>
                    <a:pt x="1304" y="1331"/>
                  </a:cubicBezTo>
                  <a:cubicBezTo>
                    <a:pt x="1300" y="1336"/>
                    <a:pt x="1290" y="1343"/>
                    <a:pt x="1275" y="1350"/>
                  </a:cubicBezTo>
                  <a:moveTo>
                    <a:pt x="779" y="1307"/>
                  </a:moveTo>
                  <a:cubicBezTo>
                    <a:pt x="778" y="1305"/>
                    <a:pt x="777" y="1303"/>
                    <a:pt x="776" y="1301"/>
                  </a:cubicBezTo>
                  <a:cubicBezTo>
                    <a:pt x="778" y="1302"/>
                    <a:pt x="780" y="1304"/>
                    <a:pt x="783" y="1305"/>
                  </a:cubicBezTo>
                  <a:cubicBezTo>
                    <a:pt x="781" y="1306"/>
                    <a:pt x="780" y="1306"/>
                    <a:pt x="779" y="1307"/>
                  </a:cubicBezTo>
                  <a:moveTo>
                    <a:pt x="880" y="1351"/>
                  </a:moveTo>
                  <a:cubicBezTo>
                    <a:pt x="873" y="1348"/>
                    <a:pt x="867" y="1344"/>
                    <a:pt x="861" y="1341"/>
                  </a:cubicBezTo>
                  <a:cubicBezTo>
                    <a:pt x="848" y="1329"/>
                    <a:pt x="836" y="1316"/>
                    <a:pt x="825" y="1303"/>
                  </a:cubicBezTo>
                  <a:cubicBezTo>
                    <a:pt x="834" y="1300"/>
                    <a:pt x="844" y="1299"/>
                    <a:pt x="854" y="1298"/>
                  </a:cubicBezTo>
                  <a:cubicBezTo>
                    <a:pt x="873" y="1315"/>
                    <a:pt x="893" y="1331"/>
                    <a:pt x="915" y="1346"/>
                  </a:cubicBezTo>
                  <a:cubicBezTo>
                    <a:pt x="903" y="1348"/>
                    <a:pt x="891" y="1349"/>
                    <a:pt x="880" y="1351"/>
                  </a:cubicBezTo>
                  <a:moveTo>
                    <a:pt x="932" y="1344"/>
                  </a:moveTo>
                  <a:cubicBezTo>
                    <a:pt x="910" y="1329"/>
                    <a:pt x="889" y="1313"/>
                    <a:pt x="870" y="1296"/>
                  </a:cubicBezTo>
                  <a:cubicBezTo>
                    <a:pt x="874" y="1296"/>
                    <a:pt x="878" y="1296"/>
                    <a:pt x="882" y="1296"/>
                  </a:cubicBezTo>
                  <a:cubicBezTo>
                    <a:pt x="899" y="1313"/>
                    <a:pt x="918" y="1328"/>
                    <a:pt x="938" y="1343"/>
                  </a:cubicBezTo>
                  <a:cubicBezTo>
                    <a:pt x="936" y="1343"/>
                    <a:pt x="934" y="1343"/>
                    <a:pt x="932" y="1344"/>
                  </a:cubicBezTo>
                  <a:moveTo>
                    <a:pt x="955" y="1341"/>
                  </a:moveTo>
                  <a:cubicBezTo>
                    <a:pt x="935" y="1327"/>
                    <a:pt x="916" y="1311"/>
                    <a:pt x="898" y="1295"/>
                  </a:cubicBezTo>
                  <a:cubicBezTo>
                    <a:pt x="904" y="1295"/>
                    <a:pt x="911" y="1295"/>
                    <a:pt x="917" y="1294"/>
                  </a:cubicBezTo>
                  <a:cubicBezTo>
                    <a:pt x="925" y="1294"/>
                    <a:pt x="933" y="1294"/>
                    <a:pt x="940" y="1294"/>
                  </a:cubicBezTo>
                  <a:cubicBezTo>
                    <a:pt x="955" y="1309"/>
                    <a:pt x="971" y="1323"/>
                    <a:pt x="987" y="1336"/>
                  </a:cubicBezTo>
                  <a:cubicBezTo>
                    <a:pt x="976" y="1338"/>
                    <a:pt x="966" y="1339"/>
                    <a:pt x="955" y="1341"/>
                  </a:cubicBezTo>
                  <a:moveTo>
                    <a:pt x="1220" y="1324"/>
                  </a:moveTo>
                  <a:cubicBezTo>
                    <a:pt x="1219" y="1323"/>
                    <a:pt x="1217" y="1322"/>
                    <a:pt x="1216" y="1321"/>
                  </a:cubicBezTo>
                  <a:cubicBezTo>
                    <a:pt x="1210" y="1314"/>
                    <a:pt x="1205" y="1306"/>
                    <a:pt x="1199" y="1298"/>
                  </a:cubicBezTo>
                  <a:cubicBezTo>
                    <a:pt x="1206" y="1296"/>
                    <a:pt x="1211" y="1294"/>
                    <a:pt x="1217" y="1293"/>
                  </a:cubicBezTo>
                  <a:cubicBezTo>
                    <a:pt x="1222" y="1302"/>
                    <a:pt x="1227" y="1310"/>
                    <a:pt x="1233" y="1319"/>
                  </a:cubicBezTo>
                  <a:cubicBezTo>
                    <a:pt x="1229" y="1321"/>
                    <a:pt x="1225" y="1323"/>
                    <a:pt x="1220" y="1324"/>
                  </a:cubicBezTo>
                  <a:moveTo>
                    <a:pt x="1003" y="1334"/>
                  </a:moveTo>
                  <a:cubicBezTo>
                    <a:pt x="987" y="1321"/>
                    <a:pt x="971" y="1308"/>
                    <a:pt x="956" y="1293"/>
                  </a:cubicBezTo>
                  <a:cubicBezTo>
                    <a:pt x="966" y="1293"/>
                    <a:pt x="977" y="1292"/>
                    <a:pt x="988" y="1291"/>
                  </a:cubicBezTo>
                  <a:cubicBezTo>
                    <a:pt x="1000" y="1304"/>
                    <a:pt x="1013" y="1317"/>
                    <a:pt x="1027" y="1330"/>
                  </a:cubicBezTo>
                  <a:cubicBezTo>
                    <a:pt x="1019" y="1331"/>
                    <a:pt x="1011" y="1333"/>
                    <a:pt x="1003" y="1334"/>
                  </a:cubicBezTo>
                  <a:moveTo>
                    <a:pt x="1041" y="1327"/>
                  </a:moveTo>
                  <a:cubicBezTo>
                    <a:pt x="1027" y="1315"/>
                    <a:pt x="1014" y="1303"/>
                    <a:pt x="1001" y="1290"/>
                  </a:cubicBezTo>
                  <a:cubicBezTo>
                    <a:pt x="1011" y="1289"/>
                    <a:pt x="1021" y="1288"/>
                    <a:pt x="1032" y="1287"/>
                  </a:cubicBezTo>
                  <a:cubicBezTo>
                    <a:pt x="1042" y="1299"/>
                    <a:pt x="1052" y="1311"/>
                    <a:pt x="1064" y="1322"/>
                  </a:cubicBezTo>
                  <a:cubicBezTo>
                    <a:pt x="1056" y="1324"/>
                    <a:pt x="1048" y="1326"/>
                    <a:pt x="1041" y="1327"/>
                  </a:cubicBezTo>
                  <a:moveTo>
                    <a:pt x="1077" y="1319"/>
                  </a:moveTo>
                  <a:cubicBezTo>
                    <a:pt x="1065" y="1308"/>
                    <a:pt x="1054" y="1297"/>
                    <a:pt x="1044" y="1285"/>
                  </a:cubicBezTo>
                  <a:cubicBezTo>
                    <a:pt x="1054" y="1283"/>
                    <a:pt x="1065" y="1281"/>
                    <a:pt x="1076" y="1279"/>
                  </a:cubicBezTo>
                  <a:cubicBezTo>
                    <a:pt x="1079" y="1278"/>
                    <a:pt x="1081" y="1278"/>
                    <a:pt x="1084" y="1277"/>
                  </a:cubicBezTo>
                  <a:cubicBezTo>
                    <a:pt x="1093" y="1288"/>
                    <a:pt x="1102" y="1300"/>
                    <a:pt x="1112" y="1310"/>
                  </a:cubicBezTo>
                  <a:cubicBezTo>
                    <a:pt x="1103" y="1313"/>
                    <a:pt x="1095" y="1315"/>
                    <a:pt x="1086" y="1317"/>
                  </a:cubicBezTo>
                  <a:cubicBezTo>
                    <a:pt x="1083" y="1318"/>
                    <a:pt x="1080" y="1318"/>
                    <a:pt x="1077" y="1319"/>
                  </a:cubicBezTo>
                  <a:moveTo>
                    <a:pt x="756" y="1316"/>
                  </a:moveTo>
                  <a:cubicBezTo>
                    <a:pt x="750" y="1302"/>
                    <a:pt x="744" y="1288"/>
                    <a:pt x="740" y="1275"/>
                  </a:cubicBezTo>
                  <a:cubicBezTo>
                    <a:pt x="744" y="1278"/>
                    <a:pt x="749" y="1282"/>
                    <a:pt x="754" y="1286"/>
                  </a:cubicBezTo>
                  <a:cubicBezTo>
                    <a:pt x="759" y="1294"/>
                    <a:pt x="763" y="1302"/>
                    <a:pt x="769" y="1311"/>
                  </a:cubicBezTo>
                  <a:cubicBezTo>
                    <a:pt x="764" y="1313"/>
                    <a:pt x="760" y="1314"/>
                    <a:pt x="756" y="1316"/>
                  </a:cubicBezTo>
                  <a:moveTo>
                    <a:pt x="1246" y="1313"/>
                  </a:moveTo>
                  <a:cubicBezTo>
                    <a:pt x="1246" y="1312"/>
                    <a:pt x="1245" y="1312"/>
                    <a:pt x="1245" y="1311"/>
                  </a:cubicBezTo>
                  <a:cubicBezTo>
                    <a:pt x="1240" y="1303"/>
                    <a:pt x="1236" y="1296"/>
                    <a:pt x="1231" y="1288"/>
                  </a:cubicBezTo>
                  <a:cubicBezTo>
                    <a:pt x="1244" y="1283"/>
                    <a:pt x="1254" y="1279"/>
                    <a:pt x="1261" y="1275"/>
                  </a:cubicBezTo>
                  <a:cubicBezTo>
                    <a:pt x="1268" y="1278"/>
                    <a:pt x="1275" y="1281"/>
                    <a:pt x="1282" y="1284"/>
                  </a:cubicBezTo>
                  <a:cubicBezTo>
                    <a:pt x="1283" y="1286"/>
                    <a:pt x="1284" y="1288"/>
                    <a:pt x="1285" y="1291"/>
                  </a:cubicBezTo>
                  <a:cubicBezTo>
                    <a:pt x="1279" y="1297"/>
                    <a:pt x="1265" y="1304"/>
                    <a:pt x="1246" y="1313"/>
                  </a:cubicBezTo>
                  <a:moveTo>
                    <a:pt x="1124" y="1307"/>
                  </a:moveTo>
                  <a:cubicBezTo>
                    <a:pt x="1114" y="1296"/>
                    <a:pt x="1105" y="1286"/>
                    <a:pt x="1097" y="1275"/>
                  </a:cubicBezTo>
                  <a:cubicBezTo>
                    <a:pt x="1106" y="1273"/>
                    <a:pt x="1115" y="1271"/>
                    <a:pt x="1124" y="1269"/>
                  </a:cubicBezTo>
                  <a:cubicBezTo>
                    <a:pt x="1130" y="1280"/>
                    <a:pt x="1138" y="1291"/>
                    <a:pt x="1145" y="1301"/>
                  </a:cubicBezTo>
                  <a:cubicBezTo>
                    <a:pt x="1139" y="1303"/>
                    <a:pt x="1132" y="1305"/>
                    <a:pt x="1124" y="1307"/>
                  </a:cubicBezTo>
                  <a:moveTo>
                    <a:pt x="1275" y="1268"/>
                  </a:moveTo>
                  <a:cubicBezTo>
                    <a:pt x="1274" y="1268"/>
                    <a:pt x="1273" y="1267"/>
                    <a:pt x="1273" y="1267"/>
                  </a:cubicBezTo>
                  <a:cubicBezTo>
                    <a:pt x="1273" y="1267"/>
                    <a:pt x="1274" y="1266"/>
                    <a:pt x="1274" y="1266"/>
                  </a:cubicBezTo>
                  <a:cubicBezTo>
                    <a:pt x="1274" y="1267"/>
                    <a:pt x="1274" y="1267"/>
                    <a:pt x="1275" y="1268"/>
                  </a:cubicBezTo>
                  <a:moveTo>
                    <a:pt x="731" y="1326"/>
                  </a:moveTo>
                  <a:cubicBezTo>
                    <a:pt x="727" y="1307"/>
                    <a:pt x="724" y="1289"/>
                    <a:pt x="721" y="1274"/>
                  </a:cubicBezTo>
                  <a:cubicBezTo>
                    <a:pt x="721" y="1271"/>
                    <a:pt x="721" y="1269"/>
                    <a:pt x="721" y="1266"/>
                  </a:cubicBezTo>
                  <a:cubicBezTo>
                    <a:pt x="722" y="1266"/>
                    <a:pt x="723" y="1265"/>
                    <a:pt x="724" y="1265"/>
                  </a:cubicBezTo>
                  <a:cubicBezTo>
                    <a:pt x="730" y="1282"/>
                    <a:pt x="737" y="1300"/>
                    <a:pt x="745" y="1320"/>
                  </a:cubicBezTo>
                  <a:cubicBezTo>
                    <a:pt x="741" y="1322"/>
                    <a:pt x="736" y="1324"/>
                    <a:pt x="731" y="1326"/>
                  </a:cubicBezTo>
                  <a:moveTo>
                    <a:pt x="1157" y="1298"/>
                  </a:moveTo>
                  <a:cubicBezTo>
                    <a:pt x="1150" y="1288"/>
                    <a:pt x="1142" y="1277"/>
                    <a:pt x="1136" y="1267"/>
                  </a:cubicBezTo>
                  <a:cubicBezTo>
                    <a:pt x="1137" y="1266"/>
                    <a:pt x="1137" y="1266"/>
                    <a:pt x="1138" y="1266"/>
                  </a:cubicBezTo>
                  <a:cubicBezTo>
                    <a:pt x="1147" y="1264"/>
                    <a:pt x="1155" y="1263"/>
                    <a:pt x="1163" y="1261"/>
                  </a:cubicBezTo>
                  <a:cubicBezTo>
                    <a:pt x="1169" y="1271"/>
                    <a:pt x="1175" y="1281"/>
                    <a:pt x="1181" y="1291"/>
                  </a:cubicBezTo>
                  <a:cubicBezTo>
                    <a:pt x="1174" y="1294"/>
                    <a:pt x="1166" y="1296"/>
                    <a:pt x="1157" y="1298"/>
                  </a:cubicBezTo>
                  <a:moveTo>
                    <a:pt x="742" y="1262"/>
                  </a:moveTo>
                  <a:cubicBezTo>
                    <a:pt x="741" y="1261"/>
                    <a:pt x="739" y="1260"/>
                    <a:pt x="738" y="1259"/>
                  </a:cubicBezTo>
                  <a:cubicBezTo>
                    <a:pt x="739" y="1259"/>
                    <a:pt x="740" y="1259"/>
                    <a:pt x="740" y="1258"/>
                  </a:cubicBezTo>
                  <a:cubicBezTo>
                    <a:pt x="741" y="1260"/>
                    <a:pt x="742" y="1261"/>
                    <a:pt x="742" y="1262"/>
                  </a:cubicBezTo>
                  <a:moveTo>
                    <a:pt x="1192" y="1288"/>
                  </a:moveTo>
                  <a:cubicBezTo>
                    <a:pt x="1186" y="1278"/>
                    <a:pt x="1180" y="1269"/>
                    <a:pt x="1174" y="1259"/>
                  </a:cubicBezTo>
                  <a:cubicBezTo>
                    <a:pt x="1181" y="1257"/>
                    <a:pt x="1187" y="1256"/>
                    <a:pt x="1192" y="1255"/>
                  </a:cubicBezTo>
                  <a:cubicBezTo>
                    <a:pt x="1198" y="1264"/>
                    <a:pt x="1204" y="1273"/>
                    <a:pt x="1210" y="1282"/>
                  </a:cubicBezTo>
                  <a:cubicBezTo>
                    <a:pt x="1205" y="1284"/>
                    <a:pt x="1199" y="1286"/>
                    <a:pt x="1192" y="1288"/>
                  </a:cubicBezTo>
                  <a:moveTo>
                    <a:pt x="1225" y="1277"/>
                  </a:moveTo>
                  <a:cubicBezTo>
                    <a:pt x="1220" y="1269"/>
                    <a:pt x="1216" y="1260"/>
                    <a:pt x="1211" y="1251"/>
                  </a:cubicBezTo>
                  <a:cubicBezTo>
                    <a:pt x="1212" y="1250"/>
                    <a:pt x="1212" y="1250"/>
                    <a:pt x="1213" y="1250"/>
                  </a:cubicBezTo>
                  <a:cubicBezTo>
                    <a:pt x="1221" y="1255"/>
                    <a:pt x="1233" y="1261"/>
                    <a:pt x="1247" y="1268"/>
                  </a:cubicBezTo>
                  <a:cubicBezTo>
                    <a:pt x="1241" y="1271"/>
                    <a:pt x="1234" y="1274"/>
                    <a:pt x="1225" y="1277"/>
                  </a:cubicBezTo>
                  <a:moveTo>
                    <a:pt x="720" y="1254"/>
                  </a:moveTo>
                  <a:cubicBezTo>
                    <a:pt x="720" y="1253"/>
                    <a:pt x="720" y="1251"/>
                    <a:pt x="719" y="1250"/>
                  </a:cubicBezTo>
                  <a:cubicBezTo>
                    <a:pt x="720" y="1251"/>
                    <a:pt x="720" y="1252"/>
                    <a:pt x="721" y="1253"/>
                  </a:cubicBezTo>
                  <a:cubicBezTo>
                    <a:pt x="720" y="1254"/>
                    <a:pt x="720" y="1254"/>
                    <a:pt x="720" y="1254"/>
                  </a:cubicBezTo>
                  <a:moveTo>
                    <a:pt x="796" y="1300"/>
                  </a:moveTo>
                  <a:cubicBezTo>
                    <a:pt x="783" y="1291"/>
                    <a:pt x="772" y="1284"/>
                    <a:pt x="762" y="1277"/>
                  </a:cubicBezTo>
                  <a:cubicBezTo>
                    <a:pt x="758" y="1269"/>
                    <a:pt x="754" y="1262"/>
                    <a:pt x="751" y="1254"/>
                  </a:cubicBezTo>
                  <a:cubicBezTo>
                    <a:pt x="757" y="1252"/>
                    <a:pt x="763" y="1249"/>
                    <a:pt x="769" y="1247"/>
                  </a:cubicBezTo>
                  <a:cubicBezTo>
                    <a:pt x="780" y="1263"/>
                    <a:pt x="792" y="1280"/>
                    <a:pt x="805" y="1296"/>
                  </a:cubicBezTo>
                  <a:cubicBezTo>
                    <a:pt x="804" y="1297"/>
                    <a:pt x="802" y="1297"/>
                    <a:pt x="801" y="1298"/>
                  </a:cubicBezTo>
                  <a:cubicBezTo>
                    <a:pt x="799" y="1298"/>
                    <a:pt x="797" y="1299"/>
                    <a:pt x="796" y="1300"/>
                  </a:cubicBezTo>
                  <a:moveTo>
                    <a:pt x="969" y="1237"/>
                  </a:moveTo>
                  <a:cubicBezTo>
                    <a:pt x="977" y="1237"/>
                    <a:pt x="986" y="1237"/>
                    <a:pt x="995" y="1236"/>
                  </a:cubicBezTo>
                  <a:cubicBezTo>
                    <a:pt x="1004" y="1250"/>
                    <a:pt x="1013" y="1263"/>
                    <a:pt x="1023" y="1276"/>
                  </a:cubicBezTo>
                  <a:cubicBezTo>
                    <a:pt x="1012" y="1277"/>
                    <a:pt x="1001" y="1278"/>
                    <a:pt x="991" y="1279"/>
                  </a:cubicBezTo>
                  <a:cubicBezTo>
                    <a:pt x="979" y="1266"/>
                    <a:pt x="968" y="1251"/>
                    <a:pt x="957" y="1237"/>
                  </a:cubicBezTo>
                  <a:cubicBezTo>
                    <a:pt x="961" y="1237"/>
                    <a:pt x="965" y="1237"/>
                    <a:pt x="969" y="1237"/>
                  </a:cubicBezTo>
                  <a:moveTo>
                    <a:pt x="817" y="1292"/>
                  </a:moveTo>
                  <a:cubicBezTo>
                    <a:pt x="803" y="1276"/>
                    <a:pt x="791" y="1259"/>
                    <a:pt x="780" y="1242"/>
                  </a:cubicBezTo>
                  <a:cubicBezTo>
                    <a:pt x="783" y="1241"/>
                    <a:pt x="787" y="1239"/>
                    <a:pt x="790" y="1238"/>
                  </a:cubicBezTo>
                  <a:cubicBezTo>
                    <a:pt x="792" y="1237"/>
                    <a:pt x="795" y="1236"/>
                    <a:pt x="798" y="1236"/>
                  </a:cubicBezTo>
                  <a:cubicBezTo>
                    <a:pt x="812" y="1254"/>
                    <a:pt x="827" y="1271"/>
                    <a:pt x="843" y="1287"/>
                  </a:cubicBezTo>
                  <a:cubicBezTo>
                    <a:pt x="834" y="1288"/>
                    <a:pt x="825" y="1290"/>
                    <a:pt x="817" y="1292"/>
                  </a:cubicBezTo>
                  <a:moveTo>
                    <a:pt x="945" y="1282"/>
                  </a:moveTo>
                  <a:cubicBezTo>
                    <a:pt x="931" y="1267"/>
                    <a:pt x="918" y="1251"/>
                    <a:pt x="905" y="1234"/>
                  </a:cubicBezTo>
                  <a:cubicBezTo>
                    <a:pt x="918" y="1235"/>
                    <a:pt x="930" y="1236"/>
                    <a:pt x="944" y="1236"/>
                  </a:cubicBezTo>
                  <a:cubicBezTo>
                    <a:pt x="954" y="1251"/>
                    <a:pt x="965" y="1266"/>
                    <a:pt x="978" y="1280"/>
                  </a:cubicBezTo>
                  <a:cubicBezTo>
                    <a:pt x="966" y="1281"/>
                    <a:pt x="955" y="1281"/>
                    <a:pt x="945" y="1282"/>
                  </a:cubicBezTo>
                  <a:moveTo>
                    <a:pt x="1261" y="1261"/>
                  </a:moveTo>
                  <a:cubicBezTo>
                    <a:pt x="1248" y="1256"/>
                    <a:pt x="1238" y="1250"/>
                    <a:pt x="1229" y="1246"/>
                  </a:cubicBezTo>
                  <a:cubicBezTo>
                    <a:pt x="1244" y="1242"/>
                    <a:pt x="1254" y="1238"/>
                    <a:pt x="1261" y="1233"/>
                  </a:cubicBezTo>
                  <a:cubicBezTo>
                    <a:pt x="1264" y="1241"/>
                    <a:pt x="1267" y="1248"/>
                    <a:pt x="1270" y="1256"/>
                  </a:cubicBezTo>
                  <a:cubicBezTo>
                    <a:pt x="1269" y="1255"/>
                    <a:pt x="1269" y="1255"/>
                    <a:pt x="1269" y="1255"/>
                  </a:cubicBezTo>
                  <a:cubicBezTo>
                    <a:pt x="1267" y="1257"/>
                    <a:pt x="1264" y="1259"/>
                    <a:pt x="1261" y="1261"/>
                  </a:cubicBezTo>
                  <a:moveTo>
                    <a:pt x="858" y="1285"/>
                  </a:moveTo>
                  <a:cubicBezTo>
                    <a:pt x="841" y="1269"/>
                    <a:pt x="825" y="1251"/>
                    <a:pt x="810" y="1233"/>
                  </a:cubicBezTo>
                  <a:cubicBezTo>
                    <a:pt x="815" y="1232"/>
                    <a:pt x="820" y="1231"/>
                    <a:pt x="826" y="1231"/>
                  </a:cubicBezTo>
                  <a:cubicBezTo>
                    <a:pt x="840" y="1250"/>
                    <a:pt x="854" y="1268"/>
                    <a:pt x="870" y="1284"/>
                  </a:cubicBezTo>
                  <a:cubicBezTo>
                    <a:pt x="866" y="1285"/>
                    <a:pt x="862" y="1285"/>
                    <a:pt x="858" y="1285"/>
                  </a:cubicBezTo>
                  <a:moveTo>
                    <a:pt x="1035" y="1274"/>
                  </a:moveTo>
                  <a:cubicBezTo>
                    <a:pt x="1025" y="1262"/>
                    <a:pt x="1016" y="1249"/>
                    <a:pt x="1007" y="1236"/>
                  </a:cubicBezTo>
                  <a:cubicBezTo>
                    <a:pt x="1022" y="1235"/>
                    <a:pt x="1037" y="1233"/>
                    <a:pt x="1053" y="1231"/>
                  </a:cubicBezTo>
                  <a:cubicBezTo>
                    <a:pt x="1060" y="1243"/>
                    <a:pt x="1068" y="1255"/>
                    <a:pt x="1076" y="1267"/>
                  </a:cubicBezTo>
                  <a:cubicBezTo>
                    <a:pt x="1075" y="1267"/>
                    <a:pt x="1074" y="1267"/>
                    <a:pt x="1073" y="1267"/>
                  </a:cubicBezTo>
                  <a:cubicBezTo>
                    <a:pt x="1060" y="1270"/>
                    <a:pt x="1048" y="1272"/>
                    <a:pt x="1035" y="1274"/>
                  </a:cubicBezTo>
                  <a:moveTo>
                    <a:pt x="886" y="1283"/>
                  </a:moveTo>
                  <a:cubicBezTo>
                    <a:pt x="869" y="1267"/>
                    <a:pt x="854" y="1249"/>
                    <a:pt x="840" y="1230"/>
                  </a:cubicBezTo>
                  <a:cubicBezTo>
                    <a:pt x="855" y="1231"/>
                    <a:pt x="872" y="1232"/>
                    <a:pt x="890" y="1233"/>
                  </a:cubicBezTo>
                  <a:cubicBezTo>
                    <a:pt x="902" y="1250"/>
                    <a:pt x="916" y="1267"/>
                    <a:pt x="930" y="1282"/>
                  </a:cubicBezTo>
                  <a:cubicBezTo>
                    <a:pt x="925" y="1282"/>
                    <a:pt x="921" y="1282"/>
                    <a:pt x="917" y="1282"/>
                  </a:cubicBezTo>
                  <a:cubicBezTo>
                    <a:pt x="906" y="1283"/>
                    <a:pt x="896" y="1283"/>
                    <a:pt x="886" y="1283"/>
                  </a:cubicBezTo>
                  <a:moveTo>
                    <a:pt x="1089" y="1264"/>
                  </a:moveTo>
                  <a:cubicBezTo>
                    <a:pt x="1080" y="1252"/>
                    <a:pt x="1072" y="1241"/>
                    <a:pt x="1065" y="1229"/>
                  </a:cubicBezTo>
                  <a:cubicBezTo>
                    <a:pt x="1077" y="1227"/>
                    <a:pt x="1088" y="1225"/>
                    <a:pt x="1099" y="1223"/>
                  </a:cubicBezTo>
                  <a:cubicBezTo>
                    <a:pt x="1104" y="1235"/>
                    <a:pt x="1110" y="1247"/>
                    <a:pt x="1117" y="1258"/>
                  </a:cubicBezTo>
                  <a:cubicBezTo>
                    <a:pt x="1108" y="1260"/>
                    <a:pt x="1099" y="1262"/>
                    <a:pt x="1089" y="1264"/>
                  </a:cubicBezTo>
                  <a:moveTo>
                    <a:pt x="1129" y="1256"/>
                  </a:moveTo>
                  <a:cubicBezTo>
                    <a:pt x="1122" y="1244"/>
                    <a:pt x="1116" y="1233"/>
                    <a:pt x="1110" y="1222"/>
                  </a:cubicBezTo>
                  <a:cubicBezTo>
                    <a:pt x="1121" y="1220"/>
                    <a:pt x="1131" y="1218"/>
                    <a:pt x="1140" y="1217"/>
                  </a:cubicBezTo>
                  <a:cubicBezTo>
                    <a:pt x="1145" y="1228"/>
                    <a:pt x="1151" y="1239"/>
                    <a:pt x="1157" y="1250"/>
                  </a:cubicBezTo>
                  <a:cubicBezTo>
                    <a:pt x="1150" y="1251"/>
                    <a:pt x="1143" y="1253"/>
                    <a:pt x="1136" y="1254"/>
                  </a:cubicBezTo>
                  <a:cubicBezTo>
                    <a:pt x="1134" y="1255"/>
                    <a:pt x="1131" y="1255"/>
                    <a:pt x="1129" y="1256"/>
                  </a:cubicBezTo>
                  <a:moveTo>
                    <a:pt x="1168" y="1248"/>
                  </a:moveTo>
                  <a:cubicBezTo>
                    <a:pt x="1163" y="1237"/>
                    <a:pt x="1157" y="1226"/>
                    <a:pt x="1152" y="1216"/>
                  </a:cubicBezTo>
                  <a:cubicBezTo>
                    <a:pt x="1157" y="1215"/>
                    <a:pt x="1162" y="1214"/>
                    <a:pt x="1167" y="1214"/>
                  </a:cubicBezTo>
                  <a:cubicBezTo>
                    <a:pt x="1173" y="1224"/>
                    <a:pt x="1179" y="1234"/>
                    <a:pt x="1185" y="1244"/>
                  </a:cubicBezTo>
                  <a:cubicBezTo>
                    <a:pt x="1180" y="1245"/>
                    <a:pt x="1174" y="1246"/>
                    <a:pt x="1168" y="1248"/>
                  </a:cubicBezTo>
                  <a:moveTo>
                    <a:pt x="731" y="1249"/>
                  </a:moveTo>
                  <a:cubicBezTo>
                    <a:pt x="726" y="1234"/>
                    <a:pt x="723" y="1221"/>
                    <a:pt x="720" y="1210"/>
                  </a:cubicBezTo>
                  <a:cubicBezTo>
                    <a:pt x="724" y="1222"/>
                    <a:pt x="729" y="1235"/>
                    <a:pt x="735" y="1248"/>
                  </a:cubicBezTo>
                  <a:cubicBezTo>
                    <a:pt x="734" y="1248"/>
                    <a:pt x="732" y="1249"/>
                    <a:pt x="731" y="1249"/>
                  </a:cubicBezTo>
                  <a:moveTo>
                    <a:pt x="1373" y="1304"/>
                  </a:moveTo>
                  <a:cubicBezTo>
                    <a:pt x="1341" y="1295"/>
                    <a:pt x="1314" y="1284"/>
                    <a:pt x="1290" y="1275"/>
                  </a:cubicBezTo>
                  <a:cubicBezTo>
                    <a:pt x="1278" y="1249"/>
                    <a:pt x="1269" y="1223"/>
                    <a:pt x="1261" y="1199"/>
                  </a:cubicBezTo>
                  <a:cubicBezTo>
                    <a:pt x="1285" y="1206"/>
                    <a:pt x="1312" y="1214"/>
                    <a:pt x="1343" y="1221"/>
                  </a:cubicBezTo>
                  <a:cubicBezTo>
                    <a:pt x="1350" y="1249"/>
                    <a:pt x="1360" y="1277"/>
                    <a:pt x="1373" y="1304"/>
                  </a:cubicBezTo>
                  <a:moveTo>
                    <a:pt x="1202" y="1233"/>
                  </a:moveTo>
                  <a:cubicBezTo>
                    <a:pt x="1199" y="1225"/>
                    <a:pt x="1195" y="1218"/>
                    <a:pt x="1192" y="1210"/>
                  </a:cubicBezTo>
                  <a:cubicBezTo>
                    <a:pt x="1226" y="1206"/>
                    <a:pt x="1241" y="1203"/>
                    <a:pt x="1248" y="1195"/>
                  </a:cubicBezTo>
                  <a:cubicBezTo>
                    <a:pt x="1251" y="1204"/>
                    <a:pt x="1254" y="1212"/>
                    <a:pt x="1257" y="1222"/>
                  </a:cubicBezTo>
                  <a:cubicBezTo>
                    <a:pt x="1251" y="1227"/>
                    <a:pt x="1237" y="1232"/>
                    <a:pt x="1214" y="1238"/>
                  </a:cubicBezTo>
                  <a:cubicBezTo>
                    <a:pt x="1207" y="1234"/>
                    <a:pt x="1204" y="1231"/>
                    <a:pt x="1203" y="1231"/>
                  </a:cubicBezTo>
                  <a:cubicBezTo>
                    <a:pt x="1202" y="1233"/>
                    <a:pt x="1202" y="1233"/>
                    <a:pt x="1202" y="1233"/>
                  </a:cubicBezTo>
                  <a:moveTo>
                    <a:pt x="746" y="1243"/>
                  </a:moveTo>
                  <a:cubicBezTo>
                    <a:pt x="737" y="1223"/>
                    <a:pt x="729" y="1205"/>
                    <a:pt x="724" y="1188"/>
                  </a:cubicBezTo>
                  <a:cubicBezTo>
                    <a:pt x="727" y="1187"/>
                    <a:pt x="730" y="1186"/>
                    <a:pt x="734" y="1184"/>
                  </a:cubicBezTo>
                  <a:cubicBezTo>
                    <a:pt x="742" y="1201"/>
                    <a:pt x="752" y="1219"/>
                    <a:pt x="763" y="1236"/>
                  </a:cubicBezTo>
                  <a:cubicBezTo>
                    <a:pt x="757" y="1239"/>
                    <a:pt x="751" y="1241"/>
                    <a:pt x="746" y="1243"/>
                  </a:cubicBezTo>
                  <a:moveTo>
                    <a:pt x="985" y="1184"/>
                  </a:moveTo>
                  <a:cubicBezTo>
                    <a:pt x="998" y="1184"/>
                    <a:pt x="1012" y="1183"/>
                    <a:pt x="1027" y="1182"/>
                  </a:cubicBezTo>
                  <a:cubicBezTo>
                    <a:pt x="1033" y="1194"/>
                    <a:pt x="1039" y="1207"/>
                    <a:pt x="1046" y="1220"/>
                  </a:cubicBezTo>
                  <a:cubicBezTo>
                    <a:pt x="1030" y="1222"/>
                    <a:pt x="1015" y="1223"/>
                    <a:pt x="1000" y="1224"/>
                  </a:cubicBezTo>
                  <a:cubicBezTo>
                    <a:pt x="992" y="1211"/>
                    <a:pt x="984" y="1198"/>
                    <a:pt x="977" y="1184"/>
                  </a:cubicBezTo>
                  <a:cubicBezTo>
                    <a:pt x="980" y="1184"/>
                    <a:pt x="982" y="1184"/>
                    <a:pt x="985" y="1184"/>
                  </a:cubicBezTo>
                  <a:moveTo>
                    <a:pt x="969" y="1225"/>
                  </a:moveTo>
                  <a:cubicBezTo>
                    <a:pt x="962" y="1225"/>
                    <a:pt x="955" y="1225"/>
                    <a:pt x="949" y="1225"/>
                  </a:cubicBezTo>
                  <a:cubicBezTo>
                    <a:pt x="939" y="1210"/>
                    <a:pt x="930" y="1195"/>
                    <a:pt x="922" y="1180"/>
                  </a:cubicBezTo>
                  <a:cubicBezTo>
                    <a:pt x="936" y="1182"/>
                    <a:pt x="950" y="1183"/>
                    <a:pt x="966" y="1183"/>
                  </a:cubicBezTo>
                  <a:cubicBezTo>
                    <a:pt x="972" y="1197"/>
                    <a:pt x="980" y="1211"/>
                    <a:pt x="988" y="1225"/>
                  </a:cubicBezTo>
                  <a:cubicBezTo>
                    <a:pt x="982" y="1225"/>
                    <a:pt x="975" y="1225"/>
                    <a:pt x="969" y="1225"/>
                  </a:cubicBezTo>
                  <a:cubicBezTo>
                    <a:pt x="969" y="1225"/>
                    <a:pt x="969" y="1225"/>
                    <a:pt x="969" y="1225"/>
                  </a:cubicBezTo>
                  <a:moveTo>
                    <a:pt x="1058" y="1218"/>
                  </a:moveTo>
                  <a:cubicBezTo>
                    <a:pt x="1051" y="1205"/>
                    <a:pt x="1045" y="1193"/>
                    <a:pt x="1039" y="1181"/>
                  </a:cubicBezTo>
                  <a:cubicBezTo>
                    <a:pt x="1043" y="1180"/>
                    <a:pt x="1046" y="1180"/>
                    <a:pt x="1050" y="1179"/>
                  </a:cubicBezTo>
                  <a:cubicBezTo>
                    <a:pt x="1060" y="1178"/>
                    <a:pt x="1069" y="1177"/>
                    <a:pt x="1078" y="1176"/>
                  </a:cubicBezTo>
                  <a:cubicBezTo>
                    <a:pt x="1083" y="1188"/>
                    <a:pt x="1088" y="1200"/>
                    <a:pt x="1093" y="1212"/>
                  </a:cubicBezTo>
                  <a:cubicBezTo>
                    <a:pt x="1083" y="1214"/>
                    <a:pt x="1072" y="1215"/>
                    <a:pt x="1061" y="1217"/>
                  </a:cubicBezTo>
                  <a:cubicBezTo>
                    <a:pt x="1060" y="1217"/>
                    <a:pt x="1059" y="1218"/>
                    <a:pt x="1058" y="1218"/>
                  </a:cubicBezTo>
                  <a:moveTo>
                    <a:pt x="774" y="1232"/>
                  </a:moveTo>
                  <a:cubicBezTo>
                    <a:pt x="763" y="1214"/>
                    <a:pt x="753" y="1197"/>
                    <a:pt x="744" y="1180"/>
                  </a:cubicBezTo>
                  <a:cubicBezTo>
                    <a:pt x="748" y="1178"/>
                    <a:pt x="753" y="1177"/>
                    <a:pt x="757" y="1175"/>
                  </a:cubicBezTo>
                  <a:cubicBezTo>
                    <a:pt x="758" y="1177"/>
                    <a:pt x="759" y="1179"/>
                    <a:pt x="760" y="1180"/>
                  </a:cubicBezTo>
                  <a:cubicBezTo>
                    <a:pt x="769" y="1196"/>
                    <a:pt x="779" y="1211"/>
                    <a:pt x="790" y="1226"/>
                  </a:cubicBezTo>
                  <a:cubicBezTo>
                    <a:pt x="789" y="1226"/>
                    <a:pt x="787" y="1226"/>
                    <a:pt x="786" y="1227"/>
                  </a:cubicBezTo>
                  <a:cubicBezTo>
                    <a:pt x="782" y="1229"/>
                    <a:pt x="778" y="1230"/>
                    <a:pt x="774" y="1232"/>
                  </a:cubicBezTo>
                  <a:moveTo>
                    <a:pt x="1105" y="1210"/>
                  </a:moveTo>
                  <a:cubicBezTo>
                    <a:pt x="1099" y="1198"/>
                    <a:pt x="1094" y="1186"/>
                    <a:pt x="1090" y="1174"/>
                  </a:cubicBezTo>
                  <a:cubicBezTo>
                    <a:pt x="1101" y="1173"/>
                    <a:pt x="1111" y="1172"/>
                    <a:pt x="1121" y="1171"/>
                  </a:cubicBezTo>
                  <a:cubicBezTo>
                    <a:pt x="1125" y="1183"/>
                    <a:pt x="1130" y="1194"/>
                    <a:pt x="1135" y="1206"/>
                  </a:cubicBezTo>
                  <a:cubicBezTo>
                    <a:pt x="1126" y="1207"/>
                    <a:pt x="1116" y="1209"/>
                    <a:pt x="1105" y="1210"/>
                  </a:cubicBezTo>
                  <a:moveTo>
                    <a:pt x="936" y="1224"/>
                  </a:moveTo>
                  <a:cubicBezTo>
                    <a:pt x="922" y="1223"/>
                    <a:pt x="909" y="1223"/>
                    <a:pt x="896" y="1222"/>
                  </a:cubicBezTo>
                  <a:cubicBezTo>
                    <a:pt x="885" y="1205"/>
                    <a:pt x="875" y="1188"/>
                    <a:pt x="866" y="1171"/>
                  </a:cubicBezTo>
                  <a:cubicBezTo>
                    <a:pt x="880" y="1173"/>
                    <a:pt x="894" y="1176"/>
                    <a:pt x="909" y="1178"/>
                  </a:cubicBezTo>
                  <a:cubicBezTo>
                    <a:pt x="917" y="1194"/>
                    <a:pt x="926" y="1209"/>
                    <a:pt x="936" y="1224"/>
                  </a:cubicBezTo>
                  <a:moveTo>
                    <a:pt x="1147" y="1204"/>
                  </a:moveTo>
                  <a:cubicBezTo>
                    <a:pt x="1142" y="1193"/>
                    <a:pt x="1137" y="1182"/>
                    <a:pt x="1132" y="1170"/>
                  </a:cubicBezTo>
                  <a:cubicBezTo>
                    <a:pt x="1136" y="1170"/>
                    <a:pt x="1140" y="1170"/>
                    <a:pt x="1144" y="1169"/>
                  </a:cubicBezTo>
                  <a:cubicBezTo>
                    <a:pt x="1149" y="1180"/>
                    <a:pt x="1155" y="1191"/>
                    <a:pt x="1161" y="1202"/>
                  </a:cubicBezTo>
                  <a:cubicBezTo>
                    <a:pt x="1156" y="1203"/>
                    <a:pt x="1152" y="1204"/>
                    <a:pt x="1147" y="1204"/>
                  </a:cubicBezTo>
                  <a:moveTo>
                    <a:pt x="1168" y="1191"/>
                  </a:moveTo>
                  <a:cubicBezTo>
                    <a:pt x="1164" y="1184"/>
                    <a:pt x="1160" y="1176"/>
                    <a:pt x="1156" y="1168"/>
                  </a:cubicBezTo>
                  <a:cubicBezTo>
                    <a:pt x="1157" y="1168"/>
                    <a:pt x="1158" y="1168"/>
                    <a:pt x="1159" y="1168"/>
                  </a:cubicBezTo>
                  <a:cubicBezTo>
                    <a:pt x="1162" y="1176"/>
                    <a:pt x="1165" y="1184"/>
                    <a:pt x="1168" y="1191"/>
                  </a:cubicBezTo>
                  <a:moveTo>
                    <a:pt x="1187" y="1199"/>
                  </a:moveTo>
                  <a:cubicBezTo>
                    <a:pt x="1183" y="1189"/>
                    <a:pt x="1179" y="1178"/>
                    <a:pt x="1175" y="1167"/>
                  </a:cubicBezTo>
                  <a:cubicBezTo>
                    <a:pt x="1186" y="1172"/>
                    <a:pt x="1207" y="1180"/>
                    <a:pt x="1235" y="1190"/>
                  </a:cubicBezTo>
                  <a:cubicBezTo>
                    <a:pt x="1226" y="1193"/>
                    <a:pt x="1211" y="1196"/>
                    <a:pt x="1187" y="1199"/>
                  </a:cubicBezTo>
                  <a:moveTo>
                    <a:pt x="802" y="1222"/>
                  </a:moveTo>
                  <a:cubicBezTo>
                    <a:pt x="790" y="1207"/>
                    <a:pt x="780" y="1191"/>
                    <a:pt x="770" y="1174"/>
                  </a:cubicBezTo>
                  <a:cubicBezTo>
                    <a:pt x="769" y="1173"/>
                    <a:pt x="768" y="1172"/>
                    <a:pt x="768" y="1170"/>
                  </a:cubicBezTo>
                  <a:cubicBezTo>
                    <a:pt x="770" y="1169"/>
                    <a:pt x="773" y="1168"/>
                    <a:pt x="775" y="1167"/>
                  </a:cubicBezTo>
                  <a:cubicBezTo>
                    <a:pt x="779" y="1166"/>
                    <a:pt x="782" y="1165"/>
                    <a:pt x="786" y="1164"/>
                  </a:cubicBezTo>
                  <a:cubicBezTo>
                    <a:pt x="787" y="1167"/>
                    <a:pt x="788" y="1169"/>
                    <a:pt x="790" y="1172"/>
                  </a:cubicBezTo>
                  <a:cubicBezTo>
                    <a:pt x="798" y="1188"/>
                    <a:pt x="808" y="1204"/>
                    <a:pt x="818" y="1219"/>
                  </a:cubicBezTo>
                  <a:cubicBezTo>
                    <a:pt x="812" y="1220"/>
                    <a:pt x="807" y="1221"/>
                    <a:pt x="802" y="1222"/>
                  </a:cubicBezTo>
                  <a:moveTo>
                    <a:pt x="831" y="1219"/>
                  </a:moveTo>
                  <a:cubicBezTo>
                    <a:pt x="820" y="1202"/>
                    <a:pt x="809" y="1184"/>
                    <a:pt x="799" y="1166"/>
                  </a:cubicBezTo>
                  <a:cubicBezTo>
                    <a:pt x="799" y="1165"/>
                    <a:pt x="798" y="1164"/>
                    <a:pt x="798" y="1163"/>
                  </a:cubicBezTo>
                  <a:cubicBezTo>
                    <a:pt x="800" y="1163"/>
                    <a:pt x="802" y="1163"/>
                    <a:pt x="804" y="1163"/>
                  </a:cubicBezTo>
                  <a:cubicBezTo>
                    <a:pt x="818" y="1163"/>
                    <a:pt x="834" y="1165"/>
                    <a:pt x="852" y="1168"/>
                  </a:cubicBezTo>
                  <a:cubicBezTo>
                    <a:pt x="861" y="1186"/>
                    <a:pt x="871" y="1204"/>
                    <a:pt x="882" y="1221"/>
                  </a:cubicBezTo>
                  <a:cubicBezTo>
                    <a:pt x="867" y="1219"/>
                    <a:pt x="852" y="1218"/>
                    <a:pt x="839" y="1218"/>
                  </a:cubicBezTo>
                  <a:cubicBezTo>
                    <a:pt x="836" y="1218"/>
                    <a:pt x="834" y="1218"/>
                    <a:pt x="831" y="1219"/>
                  </a:cubicBezTo>
                  <a:moveTo>
                    <a:pt x="1244" y="1181"/>
                  </a:moveTo>
                  <a:cubicBezTo>
                    <a:pt x="1228" y="1175"/>
                    <a:pt x="1214" y="1170"/>
                    <a:pt x="1203" y="1166"/>
                  </a:cubicBezTo>
                  <a:cubicBezTo>
                    <a:pt x="1211" y="1165"/>
                    <a:pt x="1218" y="1165"/>
                    <a:pt x="1223" y="1164"/>
                  </a:cubicBezTo>
                  <a:cubicBezTo>
                    <a:pt x="1230" y="1163"/>
                    <a:pt x="1235" y="1161"/>
                    <a:pt x="1239" y="1157"/>
                  </a:cubicBezTo>
                  <a:cubicBezTo>
                    <a:pt x="1240" y="1165"/>
                    <a:pt x="1242" y="1173"/>
                    <a:pt x="1244" y="1181"/>
                  </a:cubicBezTo>
                  <a:moveTo>
                    <a:pt x="985" y="1172"/>
                  </a:moveTo>
                  <a:cubicBezTo>
                    <a:pt x="980" y="1172"/>
                    <a:pt x="976" y="1172"/>
                    <a:pt x="972" y="1172"/>
                  </a:cubicBezTo>
                  <a:cubicBezTo>
                    <a:pt x="965" y="1158"/>
                    <a:pt x="960" y="1145"/>
                    <a:pt x="955" y="1131"/>
                  </a:cubicBezTo>
                  <a:cubicBezTo>
                    <a:pt x="966" y="1131"/>
                    <a:pt x="978" y="1132"/>
                    <a:pt x="990" y="1132"/>
                  </a:cubicBezTo>
                  <a:cubicBezTo>
                    <a:pt x="996" y="1132"/>
                    <a:pt x="1001" y="1132"/>
                    <a:pt x="1007" y="1132"/>
                  </a:cubicBezTo>
                  <a:cubicBezTo>
                    <a:pt x="1011" y="1145"/>
                    <a:pt x="1016" y="1157"/>
                    <a:pt x="1022" y="1170"/>
                  </a:cubicBezTo>
                  <a:cubicBezTo>
                    <a:pt x="1009" y="1171"/>
                    <a:pt x="997" y="1172"/>
                    <a:pt x="985" y="1172"/>
                  </a:cubicBezTo>
                  <a:moveTo>
                    <a:pt x="1034" y="1169"/>
                  </a:moveTo>
                  <a:cubicBezTo>
                    <a:pt x="1028" y="1156"/>
                    <a:pt x="1023" y="1144"/>
                    <a:pt x="1019" y="1131"/>
                  </a:cubicBezTo>
                  <a:cubicBezTo>
                    <a:pt x="1025" y="1131"/>
                    <a:pt x="1031" y="1130"/>
                    <a:pt x="1037" y="1130"/>
                  </a:cubicBezTo>
                  <a:cubicBezTo>
                    <a:pt x="1046" y="1129"/>
                    <a:pt x="1055" y="1128"/>
                    <a:pt x="1063" y="1127"/>
                  </a:cubicBezTo>
                  <a:cubicBezTo>
                    <a:pt x="1066" y="1139"/>
                    <a:pt x="1070" y="1152"/>
                    <a:pt x="1074" y="1164"/>
                  </a:cubicBezTo>
                  <a:cubicBezTo>
                    <a:pt x="1066" y="1165"/>
                    <a:pt x="1057" y="1166"/>
                    <a:pt x="1048" y="1167"/>
                  </a:cubicBezTo>
                  <a:cubicBezTo>
                    <a:pt x="1043" y="1168"/>
                    <a:pt x="1039" y="1169"/>
                    <a:pt x="1034" y="1169"/>
                  </a:cubicBezTo>
                  <a:moveTo>
                    <a:pt x="1086" y="1163"/>
                  </a:moveTo>
                  <a:cubicBezTo>
                    <a:pt x="1082" y="1151"/>
                    <a:pt x="1078" y="1138"/>
                    <a:pt x="1075" y="1126"/>
                  </a:cubicBezTo>
                  <a:cubicBezTo>
                    <a:pt x="1085" y="1125"/>
                    <a:pt x="1095" y="1125"/>
                    <a:pt x="1105" y="1124"/>
                  </a:cubicBezTo>
                  <a:cubicBezTo>
                    <a:pt x="1108" y="1136"/>
                    <a:pt x="1112" y="1148"/>
                    <a:pt x="1116" y="1160"/>
                  </a:cubicBezTo>
                  <a:cubicBezTo>
                    <a:pt x="1107" y="1160"/>
                    <a:pt x="1097" y="1162"/>
                    <a:pt x="1086" y="1163"/>
                  </a:cubicBezTo>
                  <a:moveTo>
                    <a:pt x="1128" y="1159"/>
                  </a:moveTo>
                  <a:cubicBezTo>
                    <a:pt x="1124" y="1147"/>
                    <a:pt x="1120" y="1135"/>
                    <a:pt x="1116" y="1123"/>
                  </a:cubicBezTo>
                  <a:cubicBezTo>
                    <a:pt x="1119" y="1123"/>
                    <a:pt x="1121" y="1123"/>
                    <a:pt x="1123" y="1123"/>
                  </a:cubicBezTo>
                  <a:cubicBezTo>
                    <a:pt x="1128" y="1135"/>
                    <a:pt x="1133" y="1146"/>
                    <a:pt x="1138" y="1158"/>
                  </a:cubicBezTo>
                  <a:cubicBezTo>
                    <a:pt x="1135" y="1158"/>
                    <a:pt x="1131" y="1158"/>
                    <a:pt x="1128" y="1159"/>
                  </a:cubicBezTo>
                  <a:moveTo>
                    <a:pt x="1150" y="1157"/>
                  </a:moveTo>
                  <a:cubicBezTo>
                    <a:pt x="1145" y="1145"/>
                    <a:pt x="1140" y="1134"/>
                    <a:pt x="1135" y="1123"/>
                  </a:cubicBezTo>
                  <a:cubicBezTo>
                    <a:pt x="1139" y="1123"/>
                    <a:pt x="1142" y="1123"/>
                    <a:pt x="1145" y="1123"/>
                  </a:cubicBezTo>
                  <a:cubicBezTo>
                    <a:pt x="1148" y="1134"/>
                    <a:pt x="1152" y="1145"/>
                    <a:pt x="1155" y="1156"/>
                  </a:cubicBezTo>
                  <a:cubicBezTo>
                    <a:pt x="1154" y="1157"/>
                    <a:pt x="1152" y="1157"/>
                    <a:pt x="1150" y="1157"/>
                  </a:cubicBezTo>
                  <a:moveTo>
                    <a:pt x="960" y="1171"/>
                  </a:moveTo>
                  <a:cubicBezTo>
                    <a:pt x="944" y="1170"/>
                    <a:pt x="930" y="1169"/>
                    <a:pt x="916" y="1167"/>
                  </a:cubicBezTo>
                  <a:cubicBezTo>
                    <a:pt x="909" y="1152"/>
                    <a:pt x="902" y="1137"/>
                    <a:pt x="896" y="1122"/>
                  </a:cubicBezTo>
                  <a:cubicBezTo>
                    <a:pt x="911" y="1125"/>
                    <a:pt x="927" y="1128"/>
                    <a:pt x="944" y="1130"/>
                  </a:cubicBezTo>
                  <a:cubicBezTo>
                    <a:pt x="949" y="1143"/>
                    <a:pt x="954" y="1157"/>
                    <a:pt x="960" y="1171"/>
                  </a:cubicBezTo>
                  <a:moveTo>
                    <a:pt x="1216" y="1124"/>
                  </a:moveTo>
                  <a:cubicBezTo>
                    <a:pt x="1220" y="1124"/>
                    <a:pt x="1223" y="1124"/>
                    <a:pt x="1226" y="1123"/>
                  </a:cubicBezTo>
                  <a:cubicBezTo>
                    <a:pt x="1228" y="1123"/>
                    <a:pt x="1230" y="1122"/>
                    <a:pt x="1232" y="1122"/>
                  </a:cubicBezTo>
                  <a:cubicBezTo>
                    <a:pt x="1233" y="1132"/>
                    <a:pt x="1235" y="1143"/>
                    <a:pt x="1238" y="1153"/>
                  </a:cubicBezTo>
                  <a:cubicBezTo>
                    <a:pt x="1232" y="1148"/>
                    <a:pt x="1232" y="1148"/>
                    <a:pt x="1232" y="1148"/>
                  </a:cubicBezTo>
                  <a:cubicBezTo>
                    <a:pt x="1228" y="1153"/>
                    <a:pt x="1216" y="1153"/>
                    <a:pt x="1191" y="1154"/>
                  </a:cubicBezTo>
                  <a:cubicBezTo>
                    <a:pt x="1186" y="1155"/>
                    <a:pt x="1181" y="1155"/>
                    <a:pt x="1176" y="1155"/>
                  </a:cubicBezTo>
                  <a:cubicBezTo>
                    <a:pt x="1173" y="1154"/>
                    <a:pt x="1171" y="1153"/>
                    <a:pt x="1169" y="1152"/>
                  </a:cubicBezTo>
                  <a:cubicBezTo>
                    <a:pt x="1166" y="1142"/>
                    <a:pt x="1163" y="1133"/>
                    <a:pt x="1160" y="1123"/>
                  </a:cubicBezTo>
                  <a:cubicBezTo>
                    <a:pt x="1176" y="1123"/>
                    <a:pt x="1189" y="1123"/>
                    <a:pt x="1199" y="1123"/>
                  </a:cubicBezTo>
                  <a:cubicBezTo>
                    <a:pt x="1205" y="1124"/>
                    <a:pt x="1211" y="1124"/>
                    <a:pt x="1216" y="1124"/>
                  </a:cubicBezTo>
                  <a:moveTo>
                    <a:pt x="702" y="1123"/>
                  </a:moveTo>
                  <a:cubicBezTo>
                    <a:pt x="702" y="1122"/>
                    <a:pt x="702" y="1121"/>
                    <a:pt x="702" y="1120"/>
                  </a:cubicBezTo>
                  <a:cubicBezTo>
                    <a:pt x="703" y="1120"/>
                    <a:pt x="703" y="1120"/>
                    <a:pt x="704" y="1119"/>
                  </a:cubicBezTo>
                  <a:cubicBezTo>
                    <a:pt x="711" y="1136"/>
                    <a:pt x="719" y="1154"/>
                    <a:pt x="728" y="1174"/>
                  </a:cubicBezTo>
                  <a:cubicBezTo>
                    <a:pt x="725" y="1175"/>
                    <a:pt x="723" y="1176"/>
                    <a:pt x="720" y="1177"/>
                  </a:cubicBezTo>
                  <a:cubicBezTo>
                    <a:pt x="709" y="1145"/>
                    <a:pt x="705" y="1123"/>
                    <a:pt x="705" y="1123"/>
                  </a:cubicBezTo>
                  <a:cubicBezTo>
                    <a:pt x="702" y="1123"/>
                    <a:pt x="702" y="1123"/>
                    <a:pt x="702" y="1123"/>
                  </a:cubicBezTo>
                  <a:moveTo>
                    <a:pt x="739" y="1169"/>
                  </a:moveTo>
                  <a:cubicBezTo>
                    <a:pt x="729" y="1150"/>
                    <a:pt x="721" y="1131"/>
                    <a:pt x="715" y="1115"/>
                  </a:cubicBezTo>
                  <a:cubicBezTo>
                    <a:pt x="718" y="1114"/>
                    <a:pt x="722" y="1112"/>
                    <a:pt x="726" y="1111"/>
                  </a:cubicBezTo>
                  <a:cubicBezTo>
                    <a:pt x="733" y="1129"/>
                    <a:pt x="742" y="1147"/>
                    <a:pt x="751" y="1164"/>
                  </a:cubicBezTo>
                  <a:cubicBezTo>
                    <a:pt x="747" y="1166"/>
                    <a:pt x="743" y="1168"/>
                    <a:pt x="739" y="1169"/>
                  </a:cubicBezTo>
                  <a:moveTo>
                    <a:pt x="903" y="1165"/>
                  </a:moveTo>
                  <a:cubicBezTo>
                    <a:pt x="890" y="1163"/>
                    <a:pt x="878" y="1161"/>
                    <a:pt x="866" y="1159"/>
                  </a:cubicBezTo>
                  <a:cubicBezTo>
                    <a:pt x="864" y="1158"/>
                    <a:pt x="861" y="1158"/>
                    <a:pt x="859" y="1157"/>
                  </a:cubicBezTo>
                  <a:cubicBezTo>
                    <a:pt x="859" y="1157"/>
                    <a:pt x="859" y="1157"/>
                    <a:pt x="859" y="1157"/>
                  </a:cubicBezTo>
                  <a:cubicBezTo>
                    <a:pt x="851" y="1140"/>
                    <a:pt x="844" y="1123"/>
                    <a:pt x="838" y="1106"/>
                  </a:cubicBezTo>
                  <a:cubicBezTo>
                    <a:pt x="852" y="1110"/>
                    <a:pt x="867" y="1115"/>
                    <a:pt x="884" y="1119"/>
                  </a:cubicBezTo>
                  <a:cubicBezTo>
                    <a:pt x="890" y="1134"/>
                    <a:pt x="896" y="1150"/>
                    <a:pt x="903" y="1165"/>
                  </a:cubicBezTo>
                  <a:moveTo>
                    <a:pt x="700" y="1108"/>
                  </a:moveTo>
                  <a:cubicBezTo>
                    <a:pt x="699" y="1107"/>
                    <a:pt x="699" y="1106"/>
                    <a:pt x="699" y="1105"/>
                  </a:cubicBezTo>
                  <a:cubicBezTo>
                    <a:pt x="699" y="1106"/>
                    <a:pt x="700" y="1107"/>
                    <a:pt x="700" y="1108"/>
                  </a:cubicBezTo>
                  <a:cubicBezTo>
                    <a:pt x="700" y="1108"/>
                    <a:pt x="700" y="1108"/>
                    <a:pt x="700" y="1108"/>
                  </a:cubicBezTo>
                  <a:moveTo>
                    <a:pt x="1339" y="1208"/>
                  </a:moveTo>
                  <a:cubicBezTo>
                    <a:pt x="1308" y="1200"/>
                    <a:pt x="1281" y="1192"/>
                    <a:pt x="1257" y="1185"/>
                  </a:cubicBezTo>
                  <a:cubicBezTo>
                    <a:pt x="1249" y="1157"/>
                    <a:pt x="1243" y="1129"/>
                    <a:pt x="1239" y="1102"/>
                  </a:cubicBezTo>
                  <a:cubicBezTo>
                    <a:pt x="1263" y="1108"/>
                    <a:pt x="1291" y="1115"/>
                    <a:pt x="1322" y="1121"/>
                  </a:cubicBezTo>
                  <a:cubicBezTo>
                    <a:pt x="1326" y="1150"/>
                    <a:pt x="1331" y="1179"/>
                    <a:pt x="1339" y="1208"/>
                  </a:cubicBezTo>
                  <a:moveTo>
                    <a:pt x="762" y="1160"/>
                  </a:moveTo>
                  <a:cubicBezTo>
                    <a:pt x="752" y="1142"/>
                    <a:pt x="744" y="1125"/>
                    <a:pt x="736" y="1106"/>
                  </a:cubicBezTo>
                  <a:cubicBezTo>
                    <a:pt x="743" y="1104"/>
                    <a:pt x="750" y="1101"/>
                    <a:pt x="757" y="1098"/>
                  </a:cubicBezTo>
                  <a:cubicBezTo>
                    <a:pt x="764" y="1116"/>
                    <a:pt x="771" y="1135"/>
                    <a:pt x="780" y="1153"/>
                  </a:cubicBezTo>
                  <a:cubicBezTo>
                    <a:pt x="777" y="1154"/>
                    <a:pt x="774" y="1155"/>
                    <a:pt x="771" y="1156"/>
                  </a:cubicBezTo>
                  <a:cubicBezTo>
                    <a:pt x="768" y="1157"/>
                    <a:pt x="765" y="1159"/>
                    <a:pt x="762" y="1160"/>
                  </a:cubicBezTo>
                  <a:moveTo>
                    <a:pt x="792" y="1151"/>
                  </a:moveTo>
                  <a:cubicBezTo>
                    <a:pt x="783" y="1132"/>
                    <a:pt x="775" y="1113"/>
                    <a:pt x="768" y="1094"/>
                  </a:cubicBezTo>
                  <a:cubicBezTo>
                    <a:pt x="771" y="1094"/>
                    <a:pt x="775" y="1093"/>
                    <a:pt x="778" y="1093"/>
                  </a:cubicBezTo>
                  <a:cubicBezTo>
                    <a:pt x="791" y="1093"/>
                    <a:pt x="807" y="1097"/>
                    <a:pt x="825" y="1102"/>
                  </a:cubicBezTo>
                  <a:cubicBezTo>
                    <a:pt x="831" y="1120"/>
                    <a:pt x="838" y="1138"/>
                    <a:pt x="846" y="1155"/>
                  </a:cubicBezTo>
                  <a:cubicBezTo>
                    <a:pt x="830" y="1152"/>
                    <a:pt x="816" y="1150"/>
                    <a:pt x="803" y="1150"/>
                  </a:cubicBezTo>
                  <a:cubicBezTo>
                    <a:pt x="799" y="1150"/>
                    <a:pt x="796" y="1151"/>
                    <a:pt x="792" y="1151"/>
                  </a:cubicBezTo>
                  <a:moveTo>
                    <a:pt x="1227" y="1087"/>
                  </a:moveTo>
                  <a:cubicBezTo>
                    <a:pt x="1216" y="1084"/>
                    <a:pt x="1207" y="1081"/>
                    <a:pt x="1199" y="1079"/>
                  </a:cubicBezTo>
                  <a:cubicBezTo>
                    <a:pt x="1199" y="1079"/>
                    <a:pt x="1200" y="1079"/>
                    <a:pt x="1201" y="1079"/>
                  </a:cubicBezTo>
                  <a:cubicBezTo>
                    <a:pt x="1209" y="1080"/>
                    <a:pt x="1215" y="1081"/>
                    <a:pt x="1220" y="1081"/>
                  </a:cubicBezTo>
                  <a:cubicBezTo>
                    <a:pt x="1222" y="1081"/>
                    <a:pt x="1224" y="1080"/>
                    <a:pt x="1226" y="1080"/>
                  </a:cubicBezTo>
                  <a:cubicBezTo>
                    <a:pt x="1226" y="1080"/>
                    <a:pt x="1226" y="1080"/>
                    <a:pt x="1226" y="1080"/>
                  </a:cubicBezTo>
                  <a:cubicBezTo>
                    <a:pt x="1226" y="1082"/>
                    <a:pt x="1226" y="1085"/>
                    <a:pt x="1227" y="1087"/>
                  </a:cubicBezTo>
                  <a:moveTo>
                    <a:pt x="990" y="1120"/>
                  </a:moveTo>
                  <a:cubicBezTo>
                    <a:pt x="977" y="1120"/>
                    <a:pt x="963" y="1119"/>
                    <a:pt x="951" y="1118"/>
                  </a:cubicBezTo>
                  <a:cubicBezTo>
                    <a:pt x="947" y="1105"/>
                    <a:pt x="943" y="1092"/>
                    <a:pt x="940" y="1078"/>
                  </a:cubicBezTo>
                  <a:cubicBezTo>
                    <a:pt x="955" y="1080"/>
                    <a:pt x="972" y="1081"/>
                    <a:pt x="990" y="1081"/>
                  </a:cubicBezTo>
                  <a:cubicBezTo>
                    <a:pt x="991" y="1081"/>
                    <a:pt x="992" y="1081"/>
                    <a:pt x="993" y="1081"/>
                  </a:cubicBezTo>
                  <a:cubicBezTo>
                    <a:pt x="996" y="1094"/>
                    <a:pt x="999" y="1107"/>
                    <a:pt x="1003" y="1120"/>
                  </a:cubicBezTo>
                  <a:cubicBezTo>
                    <a:pt x="999" y="1120"/>
                    <a:pt x="995" y="1120"/>
                    <a:pt x="990" y="1120"/>
                  </a:cubicBezTo>
                  <a:moveTo>
                    <a:pt x="1015" y="1119"/>
                  </a:moveTo>
                  <a:cubicBezTo>
                    <a:pt x="1011" y="1106"/>
                    <a:pt x="1007" y="1094"/>
                    <a:pt x="1004" y="1081"/>
                  </a:cubicBezTo>
                  <a:cubicBezTo>
                    <a:pt x="1011" y="1081"/>
                    <a:pt x="1017" y="1080"/>
                    <a:pt x="1024" y="1080"/>
                  </a:cubicBezTo>
                  <a:cubicBezTo>
                    <a:pt x="1034" y="1079"/>
                    <a:pt x="1043" y="1078"/>
                    <a:pt x="1053" y="1078"/>
                  </a:cubicBezTo>
                  <a:cubicBezTo>
                    <a:pt x="1055" y="1090"/>
                    <a:pt x="1057" y="1103"/>
                    <a:pt x="1060" y="1115"/>
                  </a:cubicBezTo>
                  <a:cubicBezTo>
                    <a:pt x="1052" y="1116"/>
                    <a:pt x="1044" y="1117"/>
                    <a:pt x="1036" y="1118"/>
                  </a:cubicBezTo>
                  <a:cubicBezTo>
                    <a:pt x="1028" y="1118"/>
                    <a:pt x="1022" y="1119"/>
                    <a:pt x="1015" y="1119"/>
                  </a:cubicBezTo>
                  <a:moveTo>
                    <a:pt x="1157" y="1111"/>
                  </a:moveTo>
                  <a:cubicBezTo>
                    <a:pt x="1154" y="1099"/>
                    <a:pt x="1151" y="1088"/>
                    <a:pt x="1149" y="1077"/>
                  </a:cubicBezTo>
                  <a:cubicBezTo>
                    <a:pt x="1159" y="1080"/>
                    <a:pt x="1187" y="1089"/>
                    <a:pt x="1228" y="1099"/>
                  </a:cubicBezTo>
                  <a:cubicBezTo>
                    <a:pt x="1229" y="1103"/>
                    <a:pt x="1229" y="1106"/>
                    <a:pt x="1230" y="1110"/>
                  </a:cubicBezTo>
                  <a:cubicBezTo>
                    <a:pt x="1229" y="1109"/>
                    <a:pt x="1229" y="1109"/>
                    <a:pt x="1229" y="1109"/>
                  </a:cubicBezTo>
                  <a:cubicBezTo>
                    <a:pt x="1228" y="1111"/>
                    <a:pt x="1223" y="1112"/>
                    <a:pt x="1216" y="1112"/>
                  </a:cubicBezTo>
                  <a:cubicBezTo>
                    <a:pt x="1211" y="1112"/>
                    <a:pt x="1206" y="1112"/>
                    <a:pt x="1199" y="1111"/>
                  </a:cubicBezTo>
                  <a:cubicBezTo>
                    <a:pt x="1188" y="1111"/>
                    <a:pt x="1175" y="1111"/>
                    <a:pt x="1158" y="1111"/>
                  </a:cubicBezTo>
                  <a:cubicBezTo>
                    <a:pt x="1157" y="1111"/>
                    <a:pt x="1157" y="1111"/>
                    <a:pt x="1157" y="1111"/>
                  </a:cubicBezTo>
                  <a:moveTo>
                    <a:pt x="1072" y="1114"/>
                  </a:moveTo>
                  <a:cubicBezTo>
                    <a:pt x="1068" y="1102"/>
                    <a:pt x="1066" y="1089"/>
                    <a:pt x="1064" y="1077"/>
                  </a:cubicBezTo>
                  <a:cubicBezTo>
                    <a:pt x="1074" y="1077"/>
                    <a:pt x="1084" y="1076"/>
                    <a:pt x="1092" y="1076"/>
                  </a:cubicBezTo>
                  <a:cubicBezTo>
                    <a:pt x="1095" y="1088"/>
                    <a:pt x="1098" y="1100"/>
                    <a:pt x="1101" y="1112"/>
                  </a:cubicBezTo>
                  <a:cubicBezTo>
                    <a:pt x="1092" y="1113"/>
                    <a:pt x="1082" y="1113"/>
                    <a:pt x="1072" y="1114"/>
                  </a:cubicBezTo>
                  <a:moveTo>
                    <a:pt x="1113" y="1112"/>
                  </a:moveTo>
                  <a:cubicBezTo>
                    <a:pt x="1110" y="1100"/>
                    <a:pt x="1107" y="1088"/>
                    <a:pt x="1104" y="1076"/>
                  </a:cubicBezTo>
                  <a:cubicBezTo>
                    <a:pt x="1105" y="1076"/>
                    <a:pt x="1106" y="1076"/>
                    <a:pt x="1106" y="1076"/>
                  </a:cubicBezTo>
                  <a:cubicBezTo>
                    <a:pt x="1110" y="1088"/>
                    <a:pt x="1114" y="1099"/>
                    <a:pt x="1119" y="1111"/>
                  </a:cubicBezTo>
                  <a:cubicBezTo>
                    <a:pt x="1117" y="1111"/>
                    <a:pt x="1115" y="1112"/>
                    <a:pt x="1113" y="1112"/>
                  </a:cubicBezTo>
                  <a:moveTo>
                    <a:pt x="1131" y="1111"/>
                  </a:moveTo>
                  <a:cubicBezTo>
                    <a:pt x="1126" y="1099"/>
                    <a:pt x="1122" y="1087"/>
                    <a:pt x="1118" y="1076"/>
                  </a:cubicBezTo>
                  <a:cubicBezTo>
                    <a:pt x="1119" y="1076"/>
                    <a:pt x="1120" y="1076"/>
                    <a:pt x="1121" y="1076"/>
                  </a:cubicBezTo>
                  <a:cubicBezTo>
                    <a:pt x="1126" y="1076"/>
                    <a:pt x="1130" y="1076"/>
                    <a:pt x="1135" y="1076"/>
                  </a:cubicBezTo>
                  <a:cubicBezTo>
                    <a:pt x="1137" y="1087"/>
                    <a:pt x="1139" y="1099"/>
                    <a:pt x="1142" y="1111"/>
                  </a:cubicBezTo>
                  <a:cubicBezTo>
                    <a:pt x="1138" y="1111"/>
                    <a:pt x="1135" y="1111"/>
                    <a:pt x="1131" y="1111"/>
                  </a:cubicBezTo>
                  <a:moveTo>
                    <a:pt x="940" y="1117"/>
                  </a:moveTo>
                  <a:cubicBezTo>
                    <a:pt x="923" y="1115"/>
                    <a:pt x="907" y="1112"/>
                    <a:pt x="892" y="1108"/>
                  </a:cubicBezTo>
                  <a:cubicBezTo>
                    <a:pt x="887" y="1094"/>
                    <a:pt x="883" y="1080"/>
                    <a:pt x="880" y="1065"/>
                  </a:cubicBezTo>
                  <a:cubicBezTo>
                    <a:pt x="895" y="1070"/>
                    <a:pt x="911" y="1074"/>
                    <a:pt x="929" y="1076"/>
                  </a:cubicBezTo>
                  <a:cubicBezTo>
                    <a:pt x="932" y="1090"/>
                    <a:pt x="936" y="1103"/>
                    <a:pt x="940" y="1117"/>
                  </a:cubicBezTo>
                  <a:moveTo>
                    <a:pt x="880" y="1105"/>
                  </a:moveTo>
                  <a:cubicBezTo>
                    <a:pt x="865" y="1102"/>
                    <a:pt x="853" y="1098"/>
                    <a:pt x="841" y="1095"/>
                  </a:cubicBezTo>
                  <a:cubicBezTo>
                    <a:pt x="838" y="1094"/>
                    <a:pt x="836" y="1093"/>
                    <a:pt x="833" y="1092"/>
                  </a:cubicBezTo>
                  <a:cubicBezTo>
                    <a:pt x="828" y="1076"/>
                    <a:pt x="824" y="1060"/>
                    <a:pt x="820" y="1044"/>
                  </a:cubicBezTo>
                  <a:cubicBezTo>
                    <a:pt x="834" y="1050"/>
                    <a:pt x="850" y="1056"/>
                    <a:pt x="867" y="1061"/>
                  </a:cubicBezTo>
                  <a:cubicBezTo>
                    <a:pt x="871" y="1076"/>
                    <a:pt x="875" y="1091"/>
                    <a:pt x="880" y="1105"/>
                  </a:cubicBezTo>
                  <a:moveTo>
                    <a:pt x="1101" y="1064"/>
                  </a:moveTo>
                  <a:cubicBezTo>
                    <a:pt x="1100" y="1057"/>
                    <a:pt x="1099" y="1050"/>
                    <a:pt x="1097" y="1043"/>
                  </a:cubicBezTo>
                  <a:cubicBezTo>
                    <a:pt x="1099" y="1050"/>
                    <a:pt x="1101" y="1057"/>
                    <a:pt x="1103" y="1064"/>
                  </a:cubicBezTo>
                  <a:cubicBezTo>
                    <a:pt x="1102" y="1064"/>
                    <a:pt x="1102" y="1064"/>
                    <a:pt x="1101" y="1064"/>
                  </a:cubicBezTo>
                  <a:moveTo>
                    <a:pt x="1114" y="1064"/>
                  </a:moveTo>
                  <a:cubicBezTo>
                    <a:pt x="1111" y="1053"/>
                    <a:pt x="1109" y="1043"/>
                    <a:pt x="1106" y="1032"/>
                  </a:cubicBezTo>
                  <a:cubicBezTo>
                    <a:pt x="1118" y="1034"/>
                    <a:pt x="1125" y="1037"/>
                    <a:pt x="1130" y="1039"/>
                  </a:cubicBezTo>
                  <a:cubicBezTo>
                    <a:pt x="1131" y="1047"/>
                    <a:pt x="1132" y="1056"/>
                    <a:pt x="1133" y="1064"/>
                  </a:cubicBezTo>
                  <a:cubicBezTo>
                    <a:pt x="1129" y="1064"/>
                    <a:pt x="1125" y="1064"/>
                    <a:pt x="1120" y="1064"/>
                  </a:cubicBezTo>
                  <a:cubicBezTo>
                    <a:pt x="1118" y="1064"/>
                    <a:pt x="1116" y="1064"/>
                    <a:pt x="1114" y="1064"/>
                  </a:cubicBezTo>
                  <a:moveTo>
                    <a:pt x="732" y="1095"/>
                  </a:moveTo>
                  <a:cubicBezTo>
                    <a:pt x="725" y="1077"/>
                    <a:pt x="718" y="1058"/>
                    <a:pt x="713" y="1039"/>
                  </a:cubicBezTo>
                  <a:cubicBezTo>
                    <a:pt x="721" y="1036"/>
                    <a:pt x="729" y="1032"/>
                    <a:pt x="738" y="1029"/>
                  </a:cubicBezTo>
                  <a:cubicBezTo>
                    <a:pt x="742" y="1048"/>
                    <a:pt x="747" y="1067"/>
                    <a:pt x="754" y="1086"/>
                  </a:cubicBezTo>
                  <a:cubicBezTo>
                    <a:pt x="746" y="1089"/>
                    <a:pt x="739" y="1092"/>
                    <a:pt x="732" y="1095"/>
                  </a:cubicBezTo>
                  <a:moveTo>
                    <a:pt x="1062" y="1065"/>
                  </a:moveTo>
                  <a:cubicBezTo>
                    <a:pt x="1060" y="1053"/>
                    <a:pt x="1059" y="1041"/>
                    <a:pt x="1058" y="1029"/>
                  </a:cubicBezTo>
                  <a:cubicBezTo>
                    <a:pt x="1068" y="1029"/>
                    <a:pt x="1076" y="1029"/>
                    <a:pt x="1084" y="1030"/>
                  </a:cubicBezTo>
                  <a:cubicBezTo>
                    <a:pt x="1086" y="1041"/>
                    <a:pt x="1088" y="1053"/>
                    <a:pt x="1090" y="1064"/>
                  </a:cubicBezTo>
                  <a:cubicBezTo>
                    <a:pt x="1081" y="1064"/>
                    <a:pt x="1072" y="1065"/>
                    <a:pt x="1062" y="1065"/>
                  </a:cubicBezTo>
                  <a:moveTo>
                    <a:pt x="1001" y="1069"/>
                  </a:moveTo>
                  <a:cubicBezTo>
                    <a:pt x="999" y="1056"/>
                    <a:pt x="997" y="1043"/>
                    <a:pt x="995" y="1030"/>
                  </a:cubicBezTo>
                  <a:cubicBezTo>
                    <a:pt x="1000" y="1030"/>
                    <a:pt x="1005" y="1030"/>
                    <a:pt x="1011" y="1030"/>
                  </a:cubicBezTo>
                  <a:cubicBezTo>
                    <a:pt x="1024" y="1029"/>
                    <a:pt x="1036" y="1029"/>
                    <a:pt x="1047" y="1029"/>
                  </a:cubicBezTo>
                  <a:cubicBezTo>
                    <a:pt x="1048" y="1041"/>
                    <a:pt x="1049" y="1053"/>
                    <a:pt x="1051" y="1066"/>
                  </a:cubicBezTo>
                  <a:cubicBezTo>
                    <a:pt x="1042" y="1066"/>
                    <a:pt x="1033" y="1067"/>
                    <a:pt x="1023" y="1068"/>
                  </a:cubicBezTo>
                  <a:cubicBezTo>
                    <a:pt x="1016" y="1068"/>
                    <a:pt x="1008" y="1069"/>
                    <a:pt x="1001" y="1069"/>
                  </a:cubicBezTo>
                  <a:moveTo>
                    <a:pt x="990" y="1069"/>
                  </a:moveTo>
                  <a:cubicBezTo>
                    <a:pt x="971" y="1069"/>
                    <a:pt x="953" y="1068"/>
                    <a:pt x="937" y="1065"/>
                  </a:cubicBezTo>
                  <a:cubicBezTo>
                    <a:pt x="934" y="1053"/>
                    <a:pt x="932" y="1039"/>
                    <a:pt x="930" y="1026"/>
                  </a:cubicBezTo>
                  <a:cubicBezTo>
                    <a:pt x="946" y="1029"/>
                    <a:pt x="964" y="1030"/>
                    <a:pt x="983" y="1030"/>
                  </a:cubicBezTo>
                  <a:cubicBezTo>
                    <a:pt x="985" y="1043"/>
                    <a:pt x="987" y="1056"/>
                    <a:pt x="990" y="1069"/>
                  </a:cubicBezTo>
                  <a:cubicBezTo>
                    <a:pt x="990" y="1069"/>
                    <a:pt x="990" y="1069"/>
                    <a:pt x="990" y="1069"/>
                  </a:cubicBezTo>
                  <a:moveTo>
                    <a:pt x="764" y="1083"/>
                  </a:moveTo>
                  <a:cubicBezTo>
                    <a:pt x="758" y="1064"/>
                    <a:pt x="753" y="1044"/>
                    <a:pt x="748" y="1025"/>
                  </a:cubicBezTo>
                  <a:cubicBezTo>
                    <a:pt x="751" y="1024"/>
                    <a:pt x="754" y="1024"/>
                    <a:pt x="757" y="1024"/>
                  </a:cubicBezTo>
                  <a:cubicBezTo>
                    <a:pt x="770" y="1024"/>
                    <a:pt x="787" y="1030"/>
                    <a:pt x="807" y="1039"/>
                  </a:cubicBezTo>
                  <a:cubicBezTo>
                    <a:pt x="811" y="1055"/>
                    <a:pt x="815" y="1072"/>
                    <a:pt x="820" y="1089"/>
                  </a:cubicBezTo>
                  <a:cubicBezTo>
                    <a:pt x="804" y="1084"/>
                    <a:pt x="791" y="1081"/>
                    <a:pt x="778" y="1081"/>
                  </a:cubicBezTo>
                  <a:cubicBezTo>
                    <a:pt x="773" y="1081"/>
                    <a:pt x="769" y="1082"/>
                    <a:pt x="764" y="1083"/>
                  </a:cubicBezTo>
                  <a:moveTo>
                    <a:pt x="1321" y="1109"/>
                  </a:moveTo>
                  <a:cubicBezTo>
                    <a:pt x="1289" y="1102"/>
                    <a:pt x="1262" y="1096"/>
                    <a:pt x="1238" y="1090"/>
                  </a:cubicBezTo>
                  <a:cubicBezTo>
                    <a:pt x="1235" y="1064"/>
                    <a:pt x="1233" y="1039"/>
                    <a:pt x="1233" y="1015"/>
                  </a:cubicBezTo>
                  <a:cubicBezTo>
                    <a:pt x="1257" y="1019"/>
                    <a:pt x="1285" y="1024"/>
                    <a:pt x="1316" y="1029"/>
                  </a:cubicBezTo>
                  <a:cubicBezTo>
                    <a:pt x="1316" y="1029"/>
                    <a:pt x="1316" y="1030"/>
                    <a:pt x="1316" y="1030"/>
                  </a:cubicBezTo>
                  <a:cubicBezTo>
                    <a:pt x="1316" y="1056"/>
                    <a:pt x="1318" y="1082"/>
                    <a:pt x="1321" y="1109"/>
                  </a:cubicBezTo>
                  <a:moveTo>
                    <a:pt x="926" y="1064"/>
                  </a:moveTo>
                  <a:cubicBezTo>
                    <a:pt x="908" y="1061"/>
                    <a:pt x="891" y="1056"/>
                    <a:pt x="876" y="1052"/>
                  </a:cubicBezTo>
                  <a:cubicBezTo>
                    <a:pt x="873" y="1038"/>
                    <a:pt x="871" y="1025"/>
                    <a:pt x="869" y="1011"/>
                  </a:cubicBezTo>
                  <a:cubicBezTo>
                    <a:pt x="884" y="1016"/>
                    <a:pt x="901" y="1021"/>
                    <a:pt x="919" y="1024"/>
                  </a:cubicBezTo>
                  <a:cubicBezTo>
                    <a:pt x="921" y="1037"/>
                    <a:pt x="923" y="1051"/>
                    <a:pt x="926" y="1064"/>
                  </a:cubicBezTo>
                  <a:moveTo>
                    <a:pt x="1139" y="1000"/>
                  </a:moveTo>
                  <a:cubicBezTo>
                    <a:pt x="1143" y="998"/>
                    <a:pt x="1143" y="998"/>
                    <a:pt x="1143" y="998"/>
                  </a:cubicBezTo>
                  <a:cubicBezTo>
                    <a:pt x="1143" y="998"/>
                    <a:pt x="1143" y="998"/>
                    <a:pt x="1143" y="998"/>
                  </a:cubicBezTo>
                  <a:cubicBezTo>
                    <a:pt x="1152" y="1000"/>
                    <a:pt x="1180" y="1006"/>
                    <a:pt x="1223" y="1013"/>
                  </a:cubicBezTo>
                  <a:cubicBezTo>
                    <a:pt x="1223" y="1014"/>
                    <a:pt x="1223" y="1015"/>
                    <a:pt x="1223" y="1015"/>
                  </a:cubicBezTo>
                  <a:cubicBezTo>
                    <a:pt x="1223" y="1033"/>
                    <a:pt x="1223" y="1050"/>
                    <a:pt x="1225" y="1068"/>
                  </a:cubicBezTo>
                  <a:cubicBezTo>
                    <a:pt x="1224" y="1068"/>
                    <a:pt x="1222" y="1069"/>
                    <a:pt x="1220" y="1069"/>
                  </a:cubicBezTo>
                  <a:cubicBezTo>
                    <a:pt x="1215" y="1069"/>
                    <a:pt x="1209" y="1068"/>
                    <a:pt x="1201" y="1067"/>
                  </a:cubicBezTo>
                  <a:cubicBezTo>
                    <a:pt x="1189" y="1066"/>
                    <a:pt x="1172" y="1065"/>
                    <a:pt x="1148" y="1064"/>
                  </a:cubicBezTo>
                  <a:cubicBezTo>
                    <a:pt x="1148" y="1064"/>
                    <a:pt x="1148" y="1064"/>
                    <a:pt x="1148" y="1064"/>
                  </a:cubicBezTo>
                  <a:cubicBezTo>
                    <a:pt x="1147" y="1064"/>
                    <a:pt x="1147" y="1064"/>
                    <a:pt x="1147" y="1064"/>
                  </a:cubicBezTo>
                  <a:cubicBezTo>
                    <a:pt x="1147" y="1064"/>
                    <a:pt x="1146" y="1064"/>
                    <a:pt x="1146" y="1064"/>
                  </a:cubicBezTo>
                  <a:cubicBezTo>
                    <a:pt x="1146" y="1062"/>
                    <a:pt x="1145" y="1060"/>
                    <a:pt x="1145" y="1058"/>
                  </a:cubicBezTo>
                  <a:cubicBezTo>
                    <a:pt x="1145" y="1058"/>
                    <a:pt x="1145" y="1058"/>
                    <a:pt x="1145" y="1058"/>
                  </a:cubicBezTo>
                  <a:cubicBezTo>
                    <a:pt x="1146" y="1058"/>
                    <a:pt x="1147" y="1057"/>
                    <a:pt x="1148" y="1055"/>
                  </a:cubicBezTo>
                  <a:cubicBezTo>
                    <a:pt x="1148" y="1055"/>
                    <a:pt x="1148" y="1055"/>
                    <a:pt x="1148" y="1055"/>
                  </a:cubicBezTo>
                  <a:cubicBezTo>
                    <a:pt x="1148" y="1055"/>
                    <a:pt x="1148" y="1055"/>
                    <a:pt x="1148" y="1055"/>
                  </a:cubicBezTo>
                  <a:cubicBezTo>
                    <a:pt x="1149" y="1053"/>
                    <a:pt x="1149" y="1051"/>
                    <a:pt x="1149" y="1048"/>
                  </a:cubicBezTo>
                  <a:cubicBezTo>
                    <a:pt x="1149" y="1047"/>
                    <a:pt x="1149" y="1045"/>
                    <a:pt x="1149" y="1044"/>
                  </a:cubicBezTo>
                  <a:cubicBezTo>
                    <a:pt x="1148" y="1040"/>
                    <a:pt x="1145" y="1036"/>
                    <a:pt x="1141" y="1033"/>
                  </a:cubicBezTo>
                  <a:cubicBezTo>
                    <a:pt x="1140" y="1022"/>
                    <a:pt x="1138" y="1010"/>
                    <a:pt x="1138" y="999"/>
                  </a:cubicBezTo>
                  <a:cubicBezTo>
                    <a:pt x="1139" y="1000"/>
                    <a:pt x="1139" y="1000"/>
                    <a:pt x="1139" y="1000"/>
                  </a:cubicBezTo>
                  <a:moveTo>
                    <a:pt x="1328" y="993"/>
                  </a:moveTo>
                  <a:cubicBezTo>
                    <a:pt x="1317" y="993"/>
                    <a:pt x="1317" y="993"/>
                    <a:pt x="1317" y="993"/>
                  </a:cubicBezTo>
                  <a:cubicBezTo>
                    <a:pt x="1317" y="1001"/>
                    <a:pt x="1317" y="1009"/>
                    <a:pt x="1316" y="1017"/>
                  </a:cubicBezTo>
                  <a:cubicBezTo>
                    <a:pt x="1285" y="1012"/>
                    <a:pt x="1257" y="1007"/>
                    <a:pt x="1233" y="1003"/>
                  </a:cubicBezTo>
                  <a:cubicBezTo>
                    <a:pt x="1233" y="1000"/>
                    <a:pt x="1233" y="996"/>
                    <a:pt x="1233" y="993"/>
                  </a:cubicBezTo>
                  <a:cubicBezTo>
                    <a:pt x="1223" y="993"/>
                    <a:pt x="1223" y="993"/>
                    <a:pt x="1223" y="993"/>
                  </a:cubicBezTo>
                  <a:cubicBezTo>
                    <a:pt x="1223" y="996"/>
                    <a:pt x="1223" y="998"/>
                    <a:pt x="1223" y="1001"/>
                  </a:cubicBezTo>
                  <a:cubicBezTo>
                    <a:pt x="1206" y="998"/>
                    <a:pt x="1191" y="995"/>
                    <a:pt x="1179" y="993"/>
                  </a:cubicBezTo>
                  <a:cubicBezTo>
                    <a:pt x="1127" y="993"/>
                    <a:pt x="1127" y="993"/>
                    <a:pt x="1127" y="993"/>
                  </a:cubicBezTo>
                  <a:cubicBezTo>
                    <a:pt x="1127" y="1004"/>
                    <a:pt x="1128" y="1015"/>
                    <a:pt x="1128" y="1026"/>
                  </a:cubicBezTo>
                  <a:cubicBezTo>
                    <a:pt x="1122" y="1023"/>
                    <a:pt x="1114" y="1021"/>
                    <a:pt x="1104" y="1020"/>
                  </a:cubicBezTo>
                  <a:cubicBezTo>
                    <a:pt x="1102" y="1011"/>
                    <a:pt x="1101" y="1002"/>
                    <a:pt x="1099" y="993"/>
                  </a:cubicBezTo>
                  <a:cubicBezTo>
                    <a:pt x="1080" y="993"/>
                    <a:pt x="1080" y="993"/>
                    <a:pt x="1080" y="993"/>
                  </a:cubicBezTo>
                  <a:cubicBezTo>
                    <a:pt x="1080" y="994"/>
                    <a:pt x="1080" y="994"/>
                    <a:pt x="1080" y="995"/>
                  </a:cubicBezTo>
                  <a:cubicBezTo>
                    <a:pt x="1081" y="1003"/>
                    <a:pt x="1081" y="1010"/>
                    <a:pt x="1082" y="1018"/>
                  </a:cubicBezTo>
                  <a:cubicBezTo>
                    <a:pt x="1075" y="1017"/>
                    <a:pt x="1066" y="1017"/>
                    <a:pt x="1057" y="1017"/>
                  </a:cubicBezTo>
                  <a:cubicBezTo>
                    <a:pt x="1057" y="1009"/>
                    <a:pt x="1056" y="1001"/>
                    <a:pt x="1056" y="993"/>
                  </a:cubicBezTo>
                  <a:cubicBezTo>
                    <a:pt x="1045" y="993"/>
                    <a:pt x="1045" y="993"/>
                    <a:pt x="1045" y="993"/>
                  </a:cubicBezTo>
                  <a:cubicBezTo>
                    <a:pt x="1045" y="1001"/>
                    <a:pt x="1045" y="1009"/>
                    <a:pt x="1046" y="1017"/>
                  </a:cubicBezTo>
                  <a:cubicBezTo>
                    <a:pt x="1035" y="1017"/>
                    <a:pt x="1023" y="1017"/>
                    <a:pt x="1010" y="1018"/>
                  </a:cubicBezTo>
                  <a:cubicBezTo>
                    <a:pt x="1004" y="1018"/>
                    <a:pt x="999" y="1018"/>
                    <a:pt x="993" y="1018"/>
                  </a:cubicBezTo>
                  <a:cubicBezTo>
                    <a:pt x="992" y="1010"/>
                    <a:pt x="991" y="1001"/>
                    <a:pt x="991" y="993"/>
                  </a:cubicBezTo>
                  <a:cubicBezTo>
                    <a:pt x="979" y="993"/>
                    <a:pt x="979" y="993"/>
                    <a:pt x="979" y="993"/>
                  </a:cubicBezTo>
                  <a:cubicBezTo>
                    <a:pt x="980" y="1001"/>
                    <a:pt x="981" y="1010"/>
                    <a:pt x="982" y="1018"/>
                  </a:cubicBezTo>
                  <a:cubicBezTo>
                    <a:pt x="963" y="1018"/>
                    <a:pt x="945" y="1016"/>
                    <a:pt x="928" y="1014"/>
                  </a:cubicBezTo>
                  <a:cubicBezTo>
                    <a:pt x="927" y="1007"/>
                    <a:pt x="927" y="1000"/>
                    <a:pt x="926" y="993"/>
                  </a:cubicBezTo>
                  <a:cubicBezTo>
                    <a:pt x="916" y="993"/>
                    <a:pt x="916" y="993"/>
                    <a:pt x="916" y="993"/>
                  </a:cubicBezTo>
                  <a:cubicBezTo>
                    <a:pt x="916" y="999"/>
                    <a:pt x="917" y="1006"/>
                    <a:pt x="918" y="1012"/>
                  </a:cubicBezTo>
                  <a:cubicBezTo>
                    <a:pt x="899" y="1008"/>
                    <a:pt x="882" y="1003"/>
                    <a:pt x="867" y="998"/>
                  </a:cubicBezTo>
                  <a:cubicBezTo>
                    <a:pt x="867" y="996"/>
                    <a:pt x="867" y="995"/>
                    <a:pt x="866" y="993"/>
                  </a:cubicBezTo>
                  <a:cubicBezTo>
                    <a:pt x="855" y="993"/>
                    <a:pt x="855" y="993"/>
                    <a:pt x="855" y="993"/>
                  </a:cubicBezTo>
                  <a:cubicBezTo>
                    <a:pt x="855" y="993"/>
                    <a:pt x="855" y="993"/>
                    <a:pt x="855" y="993"/>
                  </a:cubicBezTo>
                  <a:cubicBezTo>
                    <a:pt x="855" y="993"/>
                    <a:pt x="854" y="993"/>
                    <a:pt x="854" y="993"/>
                  </a:cubicBezTo>
                  <a:cubicBezTo>
                    <a:pt x="825" y="993"/>
                    <a:pt x="825" y="993"/>
                    <a:pt x="825" y="993"/>
                  </a:cubicBezTo>
                  <a:cubicBezTo>
                    <a:pt x="834" y="998"/>
                    <a:pt x="845" y="1002"/>
                    <a:pt x="857" y="1007"/>
                  </a:cubicBezTo>
                  <a:cubicBezTo>
                    <a:pt x="859" y="1020"/>
                    <a:pt x="861" y="1034"/>
                    <a:pt x="864" y="1048"/>
                  </a:cubicBezTo>
                  <a:cubicBezTo>
                    <a:pt x="846" y="1042"/>
                    <a:pt x="831" y="1035"/>
                    <a:pt x="817" y="1030"/>
                  </a:cubicBezTo>
                  <a:cubicBezTo>
                    <a:pt x="814" y="1017"/>
                    <a:pt x="812" y="1005"/>
                    <a:pt x="810" y="993"/>
                  </a:cubicBezTo>
                  <a:cubicBezTo>
                    <a:pt x="799" y="993"/>
                    <a:pt x="799" y="993"/>
                    <a:pt x="799" y="993"/>
                  </a:cubicBezTo>
                  <a:cubicBezTo>
                    <a:pt x="801" y="1003"/>
                    <a:pt x="802" y="1014"/>
                    <a:pt x="804" y="1025"/>
                  </a:cubicBezTo>
                  <a:cubicBezTo>
                    <a:pt x="786" y="1017"/>
                    <a:pt x="771" y="1012"/>
                    <a:pt x="757" y="1012"/>
                  </a:cubicBezTo>
                  <a:cubicBezTo>
                    <a:pt x="753" y="1012"/>
                    <a:pt x="749" y="1012"/>
                    <a:pt x="746" y="1013"/>
                  </a:cubicBezTo>
                  <a:cubicBezTo>
                    <a:pt x="744" y="1006"/>
                    <a:pt x="743" y="1000"/>
                    <a:pt x="742" y="993"/>
                  </a:cubicBezTo>
                  <a:cubicBezTo>
                    <a:pt x="731" y="993"/>
                    <a:pt x="731" y="993"/>
                    <a:pt x="731" y="993"/>
                  </a:cubicBezTo>
                  <a:cubicBezTo>
                    <a:pt x="732" y="1001"/>
                    <a:pt x="734" y="1009"/>
                    <a:pt x="735" y="1017"/>
                  </a:cubicBezTo>
                  <a:cubicBezTo>
                    <a:pt x="727" y="1021"/>
                    <a:pt x="718" y="1024"/>
                    <a:pt x="710" y="1027"/>
                  </a:cubicBezTo>
                  <a:cubicBezTo>
                    <a:pt x="707" y="1016"/>
                    <a:pt x="704" y="1004"/>
                    <a:pt x="702" y="993"/>
                  </a:cubicBezTo>
                  <a:cubicBezTo>
                    <a:pt x="697" y="993"/>
                    <a:pt x="697" y="993"/>
                    <a:pt x="697" y="993"/>
                  </a:cubicBezTo>
                  <a:cubicBezTo>
                    <a:pt x="697" y="1022"/>
                    <a:pt x="697" y="1022"/>
                    <a:pt x="697" y="1022"/>
                  </a:cubicBezTo>
                  <a:cubicBezTo>
                    <a:pt x="698" y="1025"/>
                    <a:pt x="698" y="1029"/>
                    <a:pt x="699" y="1032"/>
                  </a:cubicBezTo>
                  <a:cubicBezTo>
                    <a:pt x="699" y="1032"/>
                    <a:pt x="698" y="1032"/>
                    <a:pt x="697" y="1033"/>
                  </a:cubicBezTo>
                  <a:cubicBezTo>
                    <a:pt x="697" y="1045"/>
                    <a:pt x="697" y="1045"/>
                    <a:pt x="697" y="1045"/>
                  </a:cubicBezTo>
                  <a:cubicBezTo>
                    <a:pt x="699" y="1045"/>
                    <a:pt x="701" y="1044"/>
                    <a:pt x="703" y="1043"/>
                  </a:cubicBezTo>
                  <a:cubicBezTo>
                    <a:pt x="708" y="1062"/>
                    <a:pt x="714" y="1081"/>
                    <a:pt x="722" y="1100"/>
                  </a:cubicBezTo>
                  <a:cubicBezTo>
                    <a:pt x="718" y="1101"/>
                    <a:pt x="714" y="1103"/>
                    <a:pt x="710" y="1104"/>
                  </a:cubicBezTo>
                  <a:cubicBezTo>
                    <a:pt x="704" y="1088"/>
                    <a:pt x="700" y="1075"/>
                    <a:pt x="697" y="1065"/>
                  </a:cubicBezTo>
                  <a:cubicBezTo>
                    <a:pt x="697" y="1155"/>
                    <a:pt x="697" y="1155"/>
                    <a:pt x="697" y="1155"/>
                  </a:cubicBezTo>
                  <a:cubicBezTo>
                    <a:pt x="698" y="1165"/>
                    <a:pt x="700" y="1174"/>
                    <a:pt x="701" y="1184"/>
                  </a:cubicBezTo>
                  <a:cubicBezTo>
                    <a:pt x="700" y="1185"/>
                    <a:pt x="698" y="1186"/>
                    <a:pt x="697" y="1186"/>
                  </a:cubicBezTo>
                  <a:cubicBezTo>
                    <a:pt x="697" y="1199"/>
                    <a:pt x="697" y="1199"/>
                    <a:pt x="697" y="1199"/>
                  </a:cubicBezTo>
                  <a:cubicBezTo>
                    <a:pt x="699" y="1198"/>
                    <a:pt x="701" y="1197"/>
                    <a:pt x="703" y="1196"/>
                  </a:cubicBezTo>
                  <a:cubicBezTo>
                    <a:pt x="704" y="1201"/>
                    <a:pt x="704" y="1206"/>
                    <a:pt x="705" y="1211"/>
                  </a:cubicBezTo>
                  <a:cubicBezTo>
                    <a:pt x="702" y="1212"/>
                    <a:pt x="702" y="1212"/>
                    <a:pt x="702" y="1212"/>
                  </a:cubicBezTo>
                  <a:cubicBezTo>
                    <a:pt x="702" y="1212"/>
                    <a:pt x="703" y="1230"/>
                    <a:pt x="707" y="1259"/>
                  </a:cubicBezTo>
                  <a:cubicBezTo>
                    <a:pt x="704" y="1260"/>
                    <a:pt x="700" y="1261"/>
                    <a:pt x="697" y="1263"/>
                  </a:cubicBezTo>
                  <a:cubicBezTo>
                    <a:pt x="697" y="1275"/>
                    <a:pt x="697" y="1275"/>
                    <a:pt x="697" y="1275"/>
                  </a:cubicBezTo>
                  <a:cubicBezTo>
                    <a:pt x="701" y="1274"/>
                    <a:pt x="705" y="1272"/>
                    <a:pt x="709" y="1271"/>
                  </a:cubicBezTo>
                  <a:cubicBezTo>
                    <a:pt x="709" y="1272"/>
                    <a:pt x="710" y="1274"/>
                    <a:pt x="710" y="1275"/>
                  </a:cubicBezTo>
                  <a:cubicBezTo>
                    <a:pt x="711" y="1293"/>
                    <a:pt x="711" y="1310"/>
                    <a:pt x="711" y="1327"/>
                  </a:cubicBezTo>
                  <a:cubicBezTo>
                    <a:pt x="711" y="1330"/>
                    <a:pt x="711" y="1332"/>
                    <a:pt x="711" y="1334"/>
                  </a:cubicBezTo>
                  <a:cubicBezTo>
                    <a:pt x="706" y="1336"/>
                    <a:pt x="702" y="1338"/>
                    <a:pt x="697" y="1339"/>
                  </a:cubicBezTo>
                  <a:cubicBezTo>
                    <a:pt x="697" y="1352"/>
                    <a:pt x="697" y="1352"/>
                    <a:pt x="697" y="1352"/>
                  </a:cubicBezTo>
                  <a:cubicBezTo>
                    <a:pt x="701" y="1350"/>
                    <a:pt x="706" y="1348"/>
                    <a:pt x="711" y="1347"/>
                  </a:cubicBezTo>
                  <a:cubicBezTo>
                    <a:pt x="711" y="1368"/>
                    <a:pt x="710" y="1390"/>
                    <a:pt x="707" y="1412"/>
                  </a:cubicBezTo>
                  <a:cubicBezTo>
                    <a:pt x="704" y="1413"/>
                    <a:pt x="700" y="1415"/>
                    <a:pt x="697" y="1416"/>
                  </a:cubicBezTo>
                  <a:cubicBezTo>
                    <a:pt x="697" y="1429"/>
                    <a:pt x="697" y="1429"/>
                    <a:pt x="697" y="1429"/>
                  </a:cubicBezTo>
                  <a:cubicBezTo>
                    <a:pt x="700" y="1427"/>
                    <a:pt x="703" y="1426"/>
                    <a:pt x="706" y="1425"/>
                  </a:cubicBezTo>
                  <a:cubicBezTo>
                    <a:pt x="704" y="1445"/>
                    <a:pt x="701" y="1465"/>
                    <a:pt x="697" y="1485"/>
                  </a:cubicBezTo>
                  <a:cubicBezTo>
                    <a:pt x="697" y="1489"/>
                    <a:pt x="697" y="1489"/>
                    <a:pt x="697" y="1489"/>
                  </a:cubicBezTo>
                  <a:cubicBezTo>
                    <a:pt x="787" y="1489"/>
                    <a:pt x="787" y="1489"/>
                    <a:pt x="787" y="1489"/>
                  </a:cubicBezTo>
                  <a:cubicBezTo>
                    <a:pt x="784" y="1484"/>
                    <a:pt x="782" y="1478"/>
                    <a:pt x="779" y="1473"/>
                  </a:cubicBezTo>
                  <a:cubicBezTo>
                    <a:pt x="792" y="1468"/>
                    <a:pt x="807" y="1462"/>
                    <a:pt x="823" y="1455"/>
                  </a:cubicBezTo>
                  <a:cubicBezTo>
                    <a:pt x="832" y="1467"/>
                    <a:pt x="841" y="1478"/>
                    <a:pt x="851" y="1489"/>
                  </a:cubicBezTo>
                  <a:cubicBezTo>
                    <a:pt x="867" y="1489"/>
                    <a:pt x="867" y="1489"/>
                    <a:pt x="867" y="1489"/>
                  </a:cubicBezTo>
                  <a:cubicBezTo>
                    <a:pt x="855" y="1477"/>
                    <a:pt x="844" y="1464"/>
                    <a:pt x="834" y="1451"/>
                  </a:cubicBezTo>
                  <a:cubicBezTo>
                    <a:pt x="834" y="1451"/>
                    <a:pt x="834" y="1451"/>
                    <a:pt x="834" y="1451"/>
                  </a:cubicBezTo>
                  <a:cubicBezTo>
                    <a:pt x="844" y="1447"/>
                    <a:pt x="854" y="1443"/>
                    <a:pt x="864" y="1440"/>
                  </a:cubicBezTo>
                  <a:cubicBezTo>
                    <a:pt x="871" y="1443"/>
                    <a:pt x="879" y="1446"/>
                    <a:pt x="886" y="1449"/>
                  </a:cubicBezTo>
                  <a:cubicBezTo>
                    <a:pt x="899" y="1460"/>
                    <a:pt x="913" y="1470"/>
                    <a:pt x="928" y="1480"/>
                  </a:cubicBezTo>
                  <a:cubicBezTo>
                    <a:pt x="919" y="1483"/>
                    <a:pt x="911" y="1486"/>
                    <a:pt x="902" y="1489"/>
                  </a:cubicBezTo>
                  <a:cubicBezTo>
                    <a:pt x="939" y="1489"/>
                    <a:pt x="939" y="1489"/>
                    <a:pt x="939" y="1489"/>
                  </a:cubicBezTo>
                  <a:cubicBezTo>
                    <a:pt x="939" y="1489"/>
                    <a:pt x="940" y="1488"/>
                    <a:pt x="941" y="1488"/>
                  </a:cubicBezTo>
                  <a:cubicBezTo>
                    <a:pt x="942" y="1488"/>
                    <a:pt x="942" y="1489"/>
                    <a:pt x="943" y="1489"/>
                  </a:cubicBezTo>
                  <a:cubicBezTo>
                    <a:pt x="966" y="1489"/>
                    <a:pt x="966" y="1489"/>
                    <a:pt x="966" y="1489"/>
                  </a:cubicBezTo>
                  <a:cubicBezTo>
                    <a:pt x="963" y="1487"/>
                    <a:pt x="959" y="1485"/>
                    <a:pt x="956" y="1483"/>
                  </a:cubicBezTo>
                  <a:cubicBezTo>
                    <a:pt x="962" y="1481"/>
                    <a:pt x="969" y="1479"/>
                    <a:pt x="976" y="1477"/>
                  </a:cubicBezTo>
                  <a:cubicBezTo>
                    <a:pt x="1008" y="1484"/>
                    <a:pt x="1042" y="1488"/>
                    <a:pt x="1077" y="1489"/>
                  </a:cubicBezTo>
                  <a:cubicBezTo>
                    <a:pt x="1076" y="1489"/>
                    <a:pt x="1076" y="1489"/>
                    <a:pt x="1076" y="1489"/>
                  </a:cubicBezTo>
                  <a:cubicBezTo>
                    <a:pt x="1104" y="1489"/>
                    <a:pt x="1104" y="1489"/>
                    <a:pt x="1104" y="1489"/>
                  </a:cubicBezTo>
                  <a:cubicBezTo>
                    <a:pt x="1105" y="1489"/>
                    <a:pt x="1106" y="1488"/>
                    <a:pt x="1106" y="1488"/>
                  </a:cubicBezTo>
                  <a:cubicBezTo>
                    <a:pt x="1108" y="1488"/>
                    <a:pt x="1110" y="1488"/>
                    <a:pt x="1111" y="1488"/>
                  </a:cubicBezTo>
                  <a:cubicBezTo>
                    <a:pt x="1111" y="1488"/>
                    <a:pt x="1110" y="1489"/>
                    <a:pt x="1110" y="1489"/>
                  </a:cubicBezTo>
                  <a:cubicBezTo>
                    <a:pt x="1131" y="1489"/>
                    <a:pt x="1131" y="1489"/>
                    <a:pt x="1131" y="1489"/>
                  </a:cubicBezTo>
                  <a:cubicBezTo>
                    <a:pt x="1132" y="1488"/>
                    <a:pt x="1134" y="1487"/>
                    <a:pt x="1136" y="1486"/>
                  </a:cubicBezTo>
                  <a:cubicBezTo>
                    <a:pt x="1140" y="1485"/>
                    <a:pt x="1146" y="1484"/>
                    <a:pt x="1146" y="1484"/>
                  </a:cubicBezTo>
                  <a:cubicBezTo>
                    <a:pt x="1146" y="1478"/>
                    <a:pt x="1146" y="1478"/>
                    <a:pt x="1146" y="1478"/>
                  </a:cubicBezTo>
                  <a:cubicBezTo>
                    <a:pt x="1156" y="1476"/>
                    <a:pt x="1153" y="1475"/>
                    <a:pt x="1155" y="1474"/>
                  </a:cubicBezTo>
                  <a:cubicBezTo>
                    <a:pt x="1156" y="1474"/>
                    <a:pt x="1158" y="1474"/>
                    <a:pt x="1160" y="1474"/>
                  </a:cubicBezTo>
                  <a:cubicBezTo>
                    <a:pt x="1161" y="1474"/>
                    <a:pt x="1162" y="1474"/>
                    <a:pt x="1163" y="1474"/>
                  </a:cubicBezTo>
                  <a:cubicBezTo>
                    <a:pt x="1163" y="1469"/>
                    <a:pt x="1163" y="1469"/>
                    <a:pt x="1163" y="1469"/>
                  </a:cubicBezTo>
                  <a:cubicBezTo>
                    <a:pt x="1169" y="1465"/>
                    <a:pt x="1175" y="1461"/>
                    <a:pt x="1181" y="1458"/>
                  </a:cubicBezTo>
                  <a:cubicBezTo>
                    <a:pt x="1183" y="1458"/>
                    <a:pt x="1186" y="1458"/>
                    <a:pt x="1188" y="1457"/>
                  </a:cubicBezTo>
                  <a:cubicBezTo>
                    <a:pt x="1188" y="1453"/>
                    <a:pt x="1188" y="1453"/>
                    <a:pt x="1188" y="1453"/>
                  </a:cubicBezTo>
                  <a:cubicBezTo>
                    <a:pt x="1200" y="1445"/>
                    <a:pt x="1212" y="1438"/>
                    <a:pt x="1222" y="1431"/>
                  </a:cubicBezTo>
                  <a:cubicBezTo>
                    <a:pt x="1243" y="1420"/>
                    <a:pt x="1260" y="1410"/>
                    <a:pt x="1273" y="1401"/>
                  </a:cubicBezTo>
                  <a:cubicBezTo>
                    <a:pt x="1289" y="1416"/>
                    <a:pt x="1307" y="1430"/>
                    <a:pt x="1325" y="1442"/>
                  </a:cubicBezTo>
                  <a:cubicBezTo>
                    <a:pt x="1330" y="1448"/>
                    <a:pt x="1335" y="1455"/>
                    <a:pt x="1341" y="1461"/>
                  </a:cubicBezTo>
                  <a:cubicBezTo>
                    <a:pt x="1346" y="1456"/>
                    <a:pt x="1346" y="1456"/>
                    <a:pt x="1346" y="1456"/>
                  </a:cubicBezTo>
                  <a:cubicBezTo>
                    <a:pt x="1362" y="1465"/>
                    <a:pt x="1378" y="1474"/>
                    <a:pt x="1395" y="1481"/>
                  </a:cubicBezTo>
                  <a:cubicBezTo>
                    <a:pt x="1395" y="1468"/>
                    <a:pt x="1395" y="1468"/>
                    <a:pt x="1395" y="1468"/>
                  </a:cubicBezTo>
                  <a:cubicBezTo>
                    <a:pt x="1374" y="1458"/>
                    <a:pt x="1353" y="1447"/>
                    <a:pt x="1332" y="1433"/>
                  </a:cubicBezTo>
                  <a:cubicBezTo>
                    <a:pt x="1321" y="1420"/>
                    <a:pt x="1308" y="1404"/>
                    <a:pt x="1293" y="1384"/>
                  </a:cubicBezTo>
                  <a:cubicBezTo>
                    <a:pt x="1294" y="1383"/>
                    <a:pt x="1294" y="1383"/>
                    <a:pt x="1294" y="1382"/>
                  </a:cubicBezTo>
                  <a:cubicBezTo>
                    <a:pt x="1296" y="1381"/>
                    <a:pt x="1296" y="1381"/>
                    <a:pt x="1296" y="1381"/>
                  </a:cubicBezTo>
                  <a:cubicBezTo>
                    <a:pt x="1313" y="1389"/>
                    <a:pt x="1332" y="1397"/>
                    <a:pt x="1352" y="1405"/>
                  </a:cubicBezTo>
                  <a:cubicBezTo>
                    <a:pt x="1365" y="1423"/>
                    <a:pt x="1380" y="1442"/>
                    <a:pt x="1395" y="1460"/>
                  </a:cubicBezTo>
                  <a:cubicBezTo>
                    <a:pt x="1395" y="1442"/>
                    <a:pt x="1395" y="1442"/>
                    <a:pt x="1395" y="1442"/>
                  </a:cubicBezTo>
                  <a:cubicBezTo>
                    <a:pt x="1387" y="1432"/>
                    <a:pt x="1379" y="1422"/>
                    <a:pt x="1372" y="1412"/>
                  </a:cubicBezTo>
                  <a:cubicBezTo>
                    <a:pt x="1379" y="1415"/>
                    <a:pt x="1387" y="1417"/>
                    <a:pt x="1395" y="1420"/>
                  </a:cubicBezTo>
                  <a:cubicBezTo>
                    <a:pt x="1395" y="1406"/>
                    <a:pt x="1395" y="1406"/>
                    <a:pt x="1395" y="1406"/>
                  </a:cubicBezTo>
                  <a:cubicBezTo>
                    <a:pt x="1383" y="1402"/>
                    <a:pt x="1370" y="1398"/>
                    <a:pt x="1358" y="1394"/>
                  </a:cubicBezTo>
                  <a:cubicBezTo>
                    <a:pt x="1334" y="1359"/>
                    <a:pt x="1314" y="1324"/>
                    <a:pt x="1297" y="1290"/>
                  </a:cubicBezTo>
                  <a:cubicBezTo>
                    <a:pt x="1321" y="1300"/>
                    <a:pt x="1349" y="1310"/>
                    <a:pt x="1379" y="1319"/>
                  </a:cubicBezTo>
                  <a:cubicBezTo>
                    <a:pt x="1384" y="1329"/>
                    <a:pt x="1390" y="1340"/>
                    <a:pt x="1395" y="1351"/>
                  </a:cubicBezTo>
                  <a:cubicBezTo>
                    <a:pt x="1395" y="1326"/>
                    <a:pt x="1395" y="1326"/>
                    <a:pt x="1395" y="1326"/>
                  </a:cubicBezTo>
                  <a:cubicBezTo>
                    <a:pt x="1395" y="1325"/>
                    <a:pt x="1394" y="1324"/>
                    <a:pt x="1394" y="1323"/>
                  </a:cubicBezTo>
                  <a:cubicBezTo>
                    <a:pt x="1394" y="1323"/>
                    <a:pt x="1395" y="1323"/>
                    <a:pt x="1395" y="1323"/>
                  </a:cubicBezTo>
                  <a:cubicBezTo>
                    <a:pt x="1395" y="1311"/>
                    <a:pt x="1395" y="1311"/>
                    <a:pt x="1395" y="1311"/>
                  </a:cubicBezTo>
                  <a:cubicBezTo>
                    <a:pt x="1393" y="1310"/>
                    <a:pt x="1390" y="1309"/>
                    <a:pt x="1387" y="1309"/>
                  </a:cubicBezTo>
                  <a:cubicBezTo>
                    <a:pt x="1374" y="1280"/>
                    <a:pt x="1364" y="1252"/>
                    <a:pt x="1355" y="1224"/>
                  </a:cubicBezTo>
                  <a:cubicBezTo>
                    <a:pt x="1368" y="1227"/>
                    <a:pt x="1382" y="1230"/>
                    <a:pt x="1395" y="1233"/>
                  </a:cubicBezTo>
                  <a:cubicBezTo>
                    <a:pt x="1395" y="1221"/>
                    <a:pt x="1395" y="1221"/>
                    <a:pt x="1395" y="1221"/>
                  </a:cubicBezTo>
                  <a:cubicBezTo>
                    <a:pt x="1380" y="1218"/>
                    <a:pt x="1366" y="1215"/>
                    <a:pt x="1352" y="1211"/>
                  </a:cubicBezTo>
                  <a:cubicBezTo>
                    <a:pt x="1343" y="1182"/>
                    <a:pt x="1338" y="1153"/>
                    <a:pt x="1334" y="1124"/>
                  </a:cubicBezTo>
                  <a:cubicBezTo>
                    <a:pt x="1353" y="1128"/>
                    <a:pt x="1374" y="1132"/>
                    <a:pt x="1395" y="1135"/>
                  </a:cubicBezTo>
                  <a:cubicBezTo>
                    <a:pt x="1395" y="1123"/>
                    <a:pt x="1395" y="1123"/>
                    <a:pt x="1395" y="1123"/>
                  </a:cubicBezTo>
                  <a:cubicBezTo>
                    <a:pt x="1373" y="1120"/>
                    <a:pt x="1352" y="1115"/>
                    <a:pt x="1332" y="1111"/>
                  </a:cubicBezTo>
                  <a:cubicBezTo>
                    <a:pt x="1329" y="1084"/>
                    <a:pt x="1328" y="1057"/>
                    <a:pt x="1328" y="1031"/>
                  </a:cubicBezTo>
                  <a:cubicBezTo>
                    <a:pt x="1349" y="1034"/>
                    <a:pt x="1372" y="1038"/>
                    <a:pt x="1395" y="1041"/>
                  </a:cubicBezTo>
                  <a:cubicBezTo>
                    <a:pt x="1395" y="1029"/>
                    <a:pt x="1395" y="1029"/>
                    <a:pt x="1395" y="1029"/>
                  </a:cubicBezTo>
                  <a:cubicBezTo>
                    <a:pt x="1372" y="1026"/>
                    <a:pt x="1349" y="1022"/>
                    <a:pt x="1328" y="1019"/>
                  </a:cubicBezTo>
                  <a:cubicBezTo>
                    <a:pt x="1328" y="1010"/>
                    <a:pt x="1328" y="1002"/>
                    <a:pt x="1328" y="993"/>
                  </a:cubicBezTo>
                  <a:moveTo>
                    <a:pt x="1961" y="969"/>
                  </a:moveTo>
                  <a:cubicBezTo>
                    <a:pt x="1939" y="957"/>
                    <a:pt x="1925" y="955"/>
                    <a:pt x="1922" y="954"/>
                  </a:cubicBezTo>
                  <a:cubicBezTo>
                    <a:pt x="1916" y="952"/>
                    <a:pt x="1910" y="950"/>
                    <a:pt x="1904" y="947"/>
                  </a:cubicBezTo>
                  <a:cubicBezTo>
                    <a:pt x="1908" y="935"/>
                    <a:pt x="1912" y="925"/>
                    <a:pt x="1918" y="917"/>
                  </a:cubicBezTo>
                  <a:cubicBezTo>
                    <a:pt x="1930" y="923"/>
                    <a:pt x="1946" y="934"/>
                    <a:pt x="1965" y="950"/>
                  </a:cubicBezTo>
                  <a:cubicBezTo>
                    <a:pt x="1963" y="955"/>
                    <a:pt x="1962" y="962"/>
                    <a:pt x="1961" y="969"/>
                  </a:cubicBezTo>
                  <a:moveTo>
                    <a:pt x="1802" y="988"/>
                  </a:moveTo>
                  <a:cubicBezTo>
                    <a:pt x="1783" y="985"/>
                    <a:pt x="1763" y="982"/>
                    <a:pt x="1744" y="980"/>
                  </a:cubicBezTo>
                  <a:cubicBezTo>
                    <a:pt x="1744" y="954"/>
                    <a:pt x="1746" y="930"/>
                    <a:pt x="1748" y="908"/>
                  </a:cubicBezTo>
                  <a:cubicBezTo>
                    <a:pt x="1768" y="913"/>
                    <a:pt x="1788" y="919"/>
                    <a:pt x="1808" y="925"/>
                  </a:cubicBezTo>
                  <a:cubicBezTo>
                    <a:pt x="1805" y="945"/>
                    <a:pt x="1803" y="966"/>
                    <a:pt x="1802" y="988"/>
                  </a:cubicBezTo>
                  <a:moveTo>
                    <a:pt x="1970" y="939"/>
                  </a:moveTo>
                  <a:cubicBezTo>
                    <a:pt x="1953" y="924"/>
                    <a:pt x="1938" y="914"/>
                    <a:pt x="1927" y="908"/>
                  </a:cubicBezTo>
                  <a:cubicBezTo>
                    <a:pt x="1930" y="905"/>
                    <a:pt x="1933" y="903"/>
                    <a:pt x="1937" y="902"/>
                  </a:cubicBezTo>
                  <a:cubicBezTo>
                    <a:pt x="1948" y="913"/>
                    <a:pt x="1959" y="925"/>
                    <a:pt x="1971" y="939"/>
                  </a:cubicBezTo>
                  <a:cubicBezTo>
                    <a:pt x="1970" y="939"/>
                    <a:pt x="1970" y="939"/>
                    <a:pt x="1970" y="939"/>
                  </a:cubicBezTo>
                  <a:moveTo>
                    <a:pt x="1978" y="930"/>
                  </a:moveTo>
                  <a:cubicBezTo>
                    <a:pt x="1969" y="919"/>
                    <a:pt x="1960" y="909"/>
                    <a:pt x="1951" y="900"/>
                  </a:cubicBezTo>
                  <a:cubicBezTo>
                    <a:pt x="1955" y="900"/>
                    <a:pt x="1958" y="901"/>
                    <a:pt x="1962" y="903"/>
                  </a:cubicBezTo>
                  <a:cubicBezTo>
                    <a:pt x="1969" y="911"/>
                    <a:pt x="1976" y="919"/>
                    <a:pt x="1983" y="927"/>
                  </a:cubicBezTo>
                  <a:cubicBezTo>
                    <a:pt x="1982" y="928"/>
                    <a:pt x="1980" y="929"/>
                    <a:pt x="1978" y="930"/>
                  </a:cubicBezTo>
                  <a:moveTo>
                    <a:pt x="1733" y="978"/>
                  </a:moveTo>
                  <a:cubicBezTo>
                    <a:pt x="1714" y="975"/>
                    <a:pt x="1694" y="973"/>
                    <a:pt x="1675" y="970"/>
                  </a:cubicBezTo>
                  <a:cubicBezTo>
                    <a:pt x="1676" y="942"/>
                    <a:pt x="1678" y="915"/>
                    <a:pt x="1680" y="890"/>
                  </a:cubicBezTo>
                  <a:cubicBezTo>
                    <a:pt x="1699" y="894"/>
                    <a:pt x="1718" y="899"/>
                    <a:pt x="1737" y="905"/>
                  </a:cubicBezTo>
                  <a:cubicBezTo>
                    <a:pt x="1735" y="927"/>
                    <a:pt x="1733" y="952"/>
                    <a:pt x="1733" y="978"/>
                  </a:cubicBezTo>
                  <a:moveTo>
                    <a:pt x="1664" y="968"/>
                  </a:moveTo>
                  <a:cubicBezTo>
                    <a:pt x="1642" y="965"/>
                    <a:pt x="1620" y="962"/>
                    <a:pt x="1599" y="960"/>
                  </a:cubicBezTo>
                  <a:cubicBezTo>
                    <a:pt x="1600" y="929"/>
                    <a:pt x="1603" y="900"/>
                    <a:pt x="1607" y="873"/>
                  </a:cubicBezTo>
                  <a:cubicBezTo>
                    <a:pt x="1628" y="878"/>
                    <a:pt x="1648" y="882"/>
                    <a:pt x="1669" y="887"/>
                  </a:cubicBezTo>
                  <a:cubicBezTo>
                    <a:pt x="1667" y="912"/>
                    <a:pt x="1665" y="940"/>
                    <a:pt x="1664" y="968"/>
                  </a:cubicBezTo>
                  <a:moveTo>
                    <a:pt x="1894" y="943"/>
                  </a:moveTo>
                  <a:cubicBezTo>
                    <a:pt x="1869" y="934"/>
                    <a:pt x="1845" y="925"/>
                    <a:pt x="1820" y="917"/>
                  </a:cubicBezTo>
                  <a:cubicBezTo>
                    <a:pt x="1823" y="898"/>
                    <a:pt x="1826" y="881"/>
                    <a:pt x="1829" y="866"/>
                  </a:cubicBezTo>
                  <a:cubicBezTo>
                    <a:pt x="1853" y="879"/>
                    <a:pt x="1877" y="893"/>
                    <a:pt x="1900" y="909"/>
                  </a:cubicBezTo>
                  <a:cubicBezTo>
                    <a:pt x="1901" y="909"/>
                    <a:pt x="1901" y="909"/>
                    <a:pt x="1901" y="909"/>
                  </a:cubicBezTo>
                  <a:cubicBezTo>
                    <a:pt x="1901" y="909"/>
                    <a:pt x="1904" y="910"/>
                    <a:pt x="1908" y="912"/>
                  </a:cubicBezTo>
                  <a:cubicBezTo>
                    <a:pt x="1902" y="920"/>
                    <a:pt x="1897" y="931"/>
                    <a:pt x="1894" y="943"/>
                  </a:cubicBezTo>
                  <a:moveTo>
                    <a:pt x="1588" y="958"/>
                  </a:moveTo>
                  <a:cubicBezTo>
                    <a:pt x="1563" y="955"/>
                    <a:pt x="1540" y="952"/>
                    <a:pt x="1517" y="949"/>
                  </a:cubicBezTo>
                  <a:cubicBezTo>
                    <a:pt x="1519" y="917"/>
                    <a:pt x="1522" y="886"/>
                    <a:pt x="1526" y="858"/>
                  </a:cubicBezTo>
                  <a:cubicBezTo>
                    <a:pt x="1549" y="862"/>
                    <a:pt x="1573" y="866"/>
                    <a:pt x="1596" y="871"/>
                  </a:cubicBezTo>
                  <a:cubicBezTo>
                    <a:pt x="1592" y="898"/>
                    <a:pt x="1589" y="927"/>
                    <a:pt x="1588" y="958"/>
                  </a:cubicBezTo>
                  <a:moveTo>
                    <a:pt x="1506" y="948"/>
                  </a:moveTo>
                  <a:cubicBezTo>
                    <a:pt x="1479" y="945"/>
                    <a:pt x="1454" y="942"/>
                    <a:pt x="1429" y="939"/>
                  </a:cubicBezTo>
                  <a:cubicBezTo>
                    <a:pt x="1433" y="906"/>
                    <a:pt x="1438" y="874"/>
                    <a:pt x="1445" y="845"/>
                  </a:cubicBezTo>
                  <a:cubicBezTo>
                    <a:pt x="1468" y="848"/>
                    <a:pt x="1491" y="852"/>
                    <a:pt x="1515" y="856"/>
                  </a:cubicBezTo>
                  <a:cubicBezTo>
                    <a:pt x="1511" y="885"/>
                    <a:pt x="1508" y="916"/>
                    <a:pt x="1506" y="948"/>
                  </a:cubicBezTo>
                  <a:moveTo>
                    <a:pt x="1809" y="914"/>
                  </a:moveTo>
                  <a:cubicBezTo>
                    <a:pt x="1790" y="907"/>
                    <a:pt x="1770" y="901"/>
                    <a:pt x="1750" y="896"/>
                  </a:cubicBezTo>
                  <a:cubicBezTo>
                    <a:pt x="1752" y="872"/>
                    <a:pt x="1756" y="851"/>
                    <a:pt x="1760" y="832"/>
                  </a:cubicBezTo>
                  <a:cubicBezTo>
                    <a:pt x="1780" y="841"/>
                    <a:pt x="1799" y="850"/>
                    <a:pt x="1819" y="861"/>
                  </a:cubicBezTo>
                  <a:cubicBezTo>
                    <a:pt x="1816" y="876"/>
                    <a:pt x="1812" y="894"/>
                    <a:pt x="1809" y="914"/>
                  </a:cubicBezTo>
                  <a:moveTo>
                    <a:pt x="1916" y="902"/>
                  </a:moveTo>
                  <a:cubicBezTo>
                    <a:pt x="1911" y="900"/>
                    <a:pt x="1907" y="899"/>
                    <a:pt x="1905" y="898"/>
                  </a:cubicBezTo>
                  <a:cubicBezTo>
                    <a:pt x="1881" y="882"/>
                    <a:pt x="1857" y="867"/>
                    <a:pt x="1832" y="854"/>
                  </a:cubicBezTo>
                  <a:cubicBezTo>
                    <a:pt x="1836" y="837"/>
                    <a:pt x="1840" y="824"/>
                    <a:pt x="1843" y="816"/>
                  </a:cubicBezTo>
                  <a:cubicBezTo>
                    <a:pt x="1856" y="827"/>
                    <a:pt x="1869" y="839"/>
                    <a:pt x="1882" y="852"/>
                  </a:cubicBezTo>
                  <a:cubicBezTo>
                    <a:pt x="1883" y="852"/>
                    <a:pt x="1902" y="867"/>
                    <a:pt x="1928" y="893"/>
                  </a:cubicBezTo>
                  <a:cubicBezTo>
                    <a:pt x="1924" y="895"/>
                    <a:pt x="1919" y="899"/>
                    <a:pt x="1916" y="902"/>
                  </a:cubicBezTo>
                  <a:moveTo>
                    <a:pt x="1739" y="893"/>
                  </a:moveTo>
                  <a:cubicBezTo>
                    <a:pt x="1720" y="887"/>
                    <a:pt x="1701" y="882"/>
                    <a:pt x="1681" y="878"/>
                  </a:cubicBezTo>
                  <a:cubicBezTo>
                    <a:pt x="1684" y="851"/>
                    <a:pt x="1688" y="827"/>
                    <a:pt x="1692" y="806"/>
                  </a:cubicBezTo>
                  <a:cubicBezTo>
                    <a:pt x="1711" y="813"/>
                    <a:pt x="1730" y="820"/>
                    <a:pt x="1749" y="828"/>
                  </a:cubicBezTo>
                  <a:cubicBezTo>
                    <a:pt x="1745" y="847"/>
                    <a:pt x="1742" y="868"/>
                    <a:pt x="1739" y="893"/>
                  </a:cubicBezTo>
                  <a:moveTo>
                    <a:pt x="1670" y="875"/>
                  </a:moveTo>
                  <a:cubicBezTo>
                    <a:pt x="1650" y="870"/>
                    <a:pt x="1629" y="866"/>
                    <a:pt x="1609" y="861"/>
                  </a:cubicBezTo>
                  <a:cubicBezTo>
                    <a:pt x="1613" y="833"/>
                    <a:pt x="1618" y="808"/>
                    <a:pt x="1623" y="786"/>
                  </a:cubicBezTo>
                  <a:cubicBezTo>
                    <a:pt x="1643" y="791"/>
                    <a:pt x="1662" y="796"/>
                    <a:pt x="1682" y="803"/>
                  </a:cubicBezTo>
                  <a:cubicBezTo>
                    <a:pt x="1678" y="824"/>
                    <a:pt x="1674" y="848"/>
                    <a:pt x="1670" y="875"/>
                  </a:cubicBezTo>
                  <a:moveTo>
                    <a:pt x="1598" y="859"/>
                  </a:moveTo>
                  <a:cubicBezTo>
                    <a:pt x="1574" y="854"/>
                    <a:pt x="1551" y="850"/>
                    <a:pt x="1528" y="846"/>
                  </a:cubicBezTo>
                  <a:cubicBezTo>
                    <a:pt x="1533" y="817"/>
                    <a:pt x="1538" y="791"/>
                    <a:pt x="1544" y="768"/>
                  </a:cubicBezTo>
                  <a:cubicBezTo>
                    <a:pt x="1566" y="772"/>
                    <a:pt x="1589" y="777"/>
                    <a:pt x="1612" y="783"/>
                  </a:cubicBezTo>
                  <a:cubicBezTo>
                    <a:pt x="1607" y="805"/>
                    <a:pt x="1602" y="831"/>
                    <a:pt x="1598" y="859"/>
                  </a:cubicBezTo>
                  <a:moveTo>
                    <a:pt x="1822" y="849"/>
                  </a:moveTo>
                  <a:cubicBezTo>
                    <a:pt x="1802" y="838"/>
                    <a:pt x="1782" y="829"/>
                    <a:pt x="1762" y="820"/>
                  </a:cubicBezTo>
                  <a:cubicBezTo>
                    <a:pt x="1767" y="795"/>
                    <a:pt x="1773" y="776"/>
                    <a:pt x="1775" y="766"/>
                  </a:cubicBezTo>
                  <a:cubicBezTo>
                    <a:pt x="1795" y="779"/>
                    <a:pt x="1814" y="793"/>
                    <a:pt x="1833" y="808"/>
                  </a:cubicBezTo>
                  <a:cubicBezTo>
                    <a:pt x="1831" y="816"/>
                    <a:pt x="1827" y="830"/>
                    <a:pt x="1822" y="849"/>
                  </a:cubicBezTo>
                  <a:moveTo>
                    <a:pt x="1517" y="844"/>
                  </a:moveTo>
                  <a:cubicBezTo>
                    <a:pt x="1493" y="840"/>
                    <a:pt x="1470" y="837"/>
                    <a:pt x="1447" y="833"/>
                  </a:cubicBezTo>
                  <a:cubicBezTo>
                    <a:pt x="1454" y="805"/>
                    <a:pt x="1461" y="779"/>
                    <a:pt x="1468" y="756"/>
                  </a:cubicBezTo>
                  <a:cubicBezTo>
                    <a:pt x="1489" y="759"/>
                    <a:pt x="1511" y="762"/>
                    <a:pt x="1533" y="766"/>
                  </a:cubicBezTo>
                  <a:cubicBezTo>
                    <a:pt x="1527" y="789"/>
                    <a:pt x="1522" y="815"/>
                    <a:pt x="1517" y="844"/>
                  </a:cubicBezTo>
                  <a:moveTo>
                    <a:pt x="1751" y="816"/>
                  </a:moveTo>
                  <a:cubicBezTo>
                    <a:pt x="1733" y="808"/>
                    <a:pt x="1713" y="801"/>
                    <a:pt x="1695" y="795"/>
                  </a:cubicBezTo>
                  <a:cubicBezTo>
                    <a:pt x="1702" y="759"/>
                    <a:pt x="1709" y="735"/>
                    <a:pt x="1711" y="729"/>
                  </a:cubicBezTo>
                  <a:cubicBezTo>
                    <a:pt x="1722" y="734"/>
                    <a:pt x="1733" y="741"/>
                    <a:pt x="1745" y="747"/>
                  </a:cubicBezTo>
                  <a:cubicBezTo>
                    <a:pt x="1745" y="748"/>
                    <a:pt x="1746" y="750"/>
                    <a:pt x="1747" y="751"/>
                  </a:cubicBezTo>
                  <a:cubicBezTo>
                    <a:pt x="1749" y="750"/>
                    <a:pt x="1749" y="750"/>
                    <a:pt x="1749" y="750"/>
                  </a:cubicBezTo>
                  <a:cubicBezTo>
                    <a:pt x="1754" y="753"/>
                    <a:pt x="1760" y="756"/>
                    <a:pt x="1766" y="760"/>
                  </a:cubicBezTo>
                  <a:cubicBezTo>
                    <a:pt x="1763" y="768"/>
                    <a:pt x="1757" y="788"/>
                    <a:pt x="1751" y="816"/>
                  </a:cubicBezTo>
                  <a:moveTo>
                    <a:pt x="1941" y="889"/>
                  </a:moveTo>
                  <a:cubicBezTo>
                    <a:pt x="1911" y="859"/>
                    <a:pt x="1890" y="843"/>
                    <a:pt x="1889" y="842"/>
                  </a:cubicBezTo>
                  <a:cubicBezTo>
                    <a:pt x="1845" y="799"/>
                    <a:pt x="1799" y="765"/>
                    <a:pt x="1752" y="738"/>
                  </a:cubicBezTo>
                  <a:cubicBezTo>
                    <a:pt x="1748" y="731"/>
                    <a:pt x="1743" y="724"/>
                    <a:pt x="1739" y="718"/>
                  </a:cubicBezTo>
                  <a:cubicBezTo>
                    <a:pt x="1753" y="725"/>
                    <a:pt x="1767" y="733"/>
                    <a:pt x="1781" y="742"/>
                  </a:cubicBezTo>
                  <a:cubicBezTo>
                    <a:pt x="1784" y="736"/>
                    <a:pt x="1784" y="736"/>
                    <a:pt x="1784" y="736"/>
                  </a:cubicBezTo>
                  <a:cubicBezTo>
                    <a:pt x="1793" y="748"/>
                    <a:pt x="1802" y="760"/>
                    <a:pt x="1810" y="774"/>
                  </a:cubicBezTo>
                  <a:cubicBezTo>
                    <a:pt x="1812" y="775"/>
                    <a:pt x="1812" y="775"/>
                    <a:pt x="1812" y="775"/>
                  </a:cubicBezTo>
                  <a:cubicBezTo>
                    <a:pt x="1813" y="776"/>
                    <a:pt x="1881" y="819"/>
                    <a:pt x="1948" y="888"/>
                  </a:cubicBezTo>
                  <a:cubicBezTo>
                    <a:pt x="1948" y="888"/>
                    <a:pt x="1948" y="888"/>
                    <a:pt x="1948" y="888"/>
                  </a:cubicBezTo>
                  <a:cubicBezTo>
                    <a:pt x="1945" y="888"/>
                    <a:pt x="1943" y="888"/>
                    <a:pt x="1941" y="889"/>
                  </a:cubicBezTo>
                  <a:moveTo>
                    <a:pt x="1684" y="791"/>
                  </a:moveTo>
                  <a:cubicBezTo>
                    <a:pt x="1664" y="785"/>
                    <a:pt x="1645" y="779"/>
                    <a:pt x="1626" y="774"/>
                  </a:cubicBezTo>
                  <a:cubicBezTo>
                    <a:pt x="1635" y="735"/>
                    <a:pt x="1644" y="709"/>
                    <a:pt x="1647" y="701"/>
                  </a:cubicBezTo>
                  <a:cubicBezTo>
                    <a:pt x="1665" y="707"/>
                    <a:pt x="1682" y="715"/>
                    <a:pt x="1700" y="724"/>
                  </a:cubicBezTo>
                  <a:cubicBezTo>
                    <a:pt x="1699" y="729"/>
                    <a:pt x="1692" y="753"/>
                    <a:pt x="1684" y="791"/>
                  </a:cubicBezTo>
                  <a:moveTo>
                    <a:pt x="1774" y="724"/>
                  </a:moveTo>
                  <a:cubicBezTo>
                    <a:pt x="1757" y="714"/>
                    <a:pt x="1740" y="704"/>
                    <a:pt x="1722" y="696"/>
                  </a:cubicBezTo>
                  <a:cubicBezTo>
                    <a:pt x="1717" y="690"/>
                    <a:pt x="1712" y="684"/>
                    <a:pt x="1707" y="679"/>
                  </a:cubicBezTo>
                  <a:cubicBezTo>
                    <a:pt x="1727" y="689"/>
                    <a:pt x="1746" y="700"/>
                    <a:pt x="1765" y="713"/>
                  </a:cubicBezTo>
                  <a:cubicBezTo>
                    <a:pt x="1765" y="713"/>
                    <a:pt x="1765" y="713"/>
                    <a:pt x="1765" y="713"/>
                  </a:cubicBezTo>
                  <a:cubicBezTo>
                    <a:pt x="1768" y="717"/>
                    <a:pt x="1771" y="721"/>
                    <a:pt x="1774" y="724"/>
                  </a:cubicBezTo>
                  <a:moveTo>
                    <a:pt x="1615" y="771"/>
                  </a:moveTo>
                  <a:cubicBezTo>
                    <a:pt x="1592" y="765"/>
                    <a:pt x="1569" y="760"/>
                    <a:pt x="1547" y="756"/>
                  </a:cubicBezTo>
                  <a:cubicBezTo>
                    <a:pt x="1557" y="714"/>
                    <a:pt x="1567" y="685"/>
                    <a:pt x="1570" y="676"/>
                  </a:cubicBezTo>
                  <a:cubicBezTo>
                    <a:pt x="1592" y="682"/>
                    <a:pt x="1614" y="689"/>
                    <a:pt x="1636" y="697"/>
                  </a:cubicBezTo>
                  <a:cubicBezTo>
                    <a:pt x="1633" y="706"/>
                    <a:pt x="1624" y="732"/>
                    <a:pt x="1615" y="771"/>
                  </a:cubicBezTo>
                  <a:moveTo>
                    <a:pt x="1730" y="726"/>
                  </a:moveTo>
                  <a:cubicBezTo>
                    <a:pt x="1696" y="707"/>
                    <a:pt x="1662" y="692"/>
                    <a:pt x="1628" y="681"/>
                  </a:cubicBezTo>
                  <a:cubicBezTo>
                    <a:pt x="1627" y="677"/>
                    <a:pt x="1626" y="673"/>
                    <a:pt x="1625" y="669"/>
                  </a:cubicBezTo>
                  <a:cubicBezTo>
                    <a:pt x="1655" y="679"/>
                    <a:pt x="1685" y="691"/>
                    <a:pt x="1715" y="706"/>
                  </a:cubicBezTo>
                  <a:cubicBezTo>
                    <a:pt x="1720" y="712"/>
                    <a:pt x="1725" y="719"/>
                    <a:pt x="1730" y="726"/>
                  </a:cubicBezTo>
                  <a:moveTo>
                    <a:pt x="1536" y="754"/>
                  </a:moveTo>
                  <a:cubicBezTo>
                    <a:pt x="1514" y="750"/>
                    <a:pt x="1492" y="747"/>
                    <a:pt x="1472" y="745"/>
                  </a:cubicBezTo>
                  <a:cubicBezTo>
                    <a:pt x="1486" y="699"/>
                    <a:pt x="1500" y="670"/>
                    <a:pt x="1503" y="662"/>
                  </a:cubicBezTo>
                  <a:cubicBezTo>
                    <a:pt x="1522" y="665"/>
                    <a:pt x="1540" y="669"/>
                    <a:pt x="1559" y="673"/>
                  </a:cubicBezTo>
                  <a:cubicBezTo>
                    <a:pt x="1555" y="684"/>
                    <a:pt x="1546" y="713"/>
                    <a:pt x="1536" y="754"/>
                  </a:cubicBezTo>
                  <a:moveTo>
                    <a:pt x="1615" y="677"/>
                  </a:moveTo>
                  <a:cubicBezTo>
                    <a:pt x="1578" y="665"/>
                    <a:pt x="1541" y="656"/>
                    <a:pt x="1506" y="650"/>
                  </a:cubicBezTo>
                  <a:cubicBezTo>
                    <a:pt x="1506" y="647"/>
                    <a:pt x="1506" y="643"/>
                    <a:pt x="1507" y="640"/>
                  </a:cubicBezTo>
                  <a:cubicBezTo>
                    <a:pt x="1541" y="646"/>
                    <a:pt x="1576" y="654"/>
                    <a:pt x="1612" y="665"/>
                  </a:cubicBezTo>
                  <a:cubicBezTo>
                    <a:pt x="1613" y="669"/>
                    <a:pt x="1614" y="673"/>
                    <a:pt x="1615" y="677"/>
                  </a:cubicBezTo>
                  <a:moveTo>
                    <a:pt x="1696" y="684"/>
                  </a:moveTo>
                  <a:cubicBezTo>
                    <a:pt x="1671" y="673"/>
                    <a:pt x="1645" y="663"/>
                    <a:pt x="1620" y="655"/>
                  </a:cubicBezTo>
                  <a:cubicBezTo>
                    <a:pt x="1618" y="650"/>
                    <a:pt x="1615" y="644"/>
                    <a:pt x="1612" y="639"/>
                  </a:cubicBezTo>
                  <a:cubicBezTo>
                    <a:pt x="1634" y="646"/>
                    <a:pt x="1656" y="655"/>
                    <a:pt x="1677" y="664"/>
                  </a:cubicBezTo>
                  <a:cubicBezTo>
                    <a:pt x="1684" y="670"/>
                    <a:pt x="1690" y="677"/>
                    <a:pt x="1696" y="684"/>
                  </a:cubicBezTo>
                  <a:moveTo>
                    <a:pt x="1606" y="651"/>
                  </a:moveTo>
                  <a:cubicBezTo>
                    <a:pt x="1573" y="641"/>
                    <a:pt x="1541" y="634"/>
                    <a:pt x="1509" y="629"/>
                  </a:cubicBezTo>
                  <a:cubicBezTo>
                    <a:pt x="1511" y="624"/>
                    <a:pt x="1513" y="619"/>
                    <a:pt x="1514" y="615"/>
                  </a:cubicBezTo>
                  <a:cubicBezTo>
                    <a:pt x="1541" y="620"/>
                    <a:pt x="1568" y="626"/>
                    <a:pt x="1596" y="634"/>
                  </a:cubicBezTo>
                  <a:cubicBezTo>
                    <a:pt x="1600" y="640"/>
                    <a:pt x="1603" y="645"/>
                    <a:pt x="1606" y="651"/>
                  </a:cubicBezTo>
                  <a:moveTo>
                    <a:pt x="1498" y="627"/>
                  </a:moveTo>
                  <a:cubicBezTo>
                    <a:pt x="1469" y="622"/>
                    <a:pt x="1441" y="619"/>
                    <a:pt x="1415" y="617"/>
                  </a:cubicBezTo>
                  <a:cubicBezTo>
                    <a:pt x="1421" y="612"/>
                    <a:pt x="1427" y="608"/>
                    <a:pt x="1433" y="604"/>
                  </a:cubicBezTo>
                  <a:cubicBezTo>
                    <a:pt x="1455" y="606"/>
                    <a:pt x="1478" y="609"/>
                    <a:pt x="1502" y="613"/>
                  </a:cubicBezTo>
                  <a:cubicBezTo>
                    <a:pt x="1501" y="617"/>
                    <a:pt x="1499" y="622"/>
                    <a:pt x="1498" y="627"/>
                  </a:cubicBezTo>
                  <a:moveTo>
                    <a:pt x="1734" y="680"/>
                  </a:moveTo>
                  <a:cubicBezTo>
                    <a:pt x="1717" y="670"/>
                    <a:pt x="1700" y="662"/>
                    <a:pt x="1683" y="654"/>
                  </a:cubicBezTo>
                  <a:cubicBezTo>
                    <a:pt x="1656" y="628"/>
                    <a:pt x="1628" y="607"/>
                    <a:pt x="1605" y="593"/>
                  </a:cubicBezTo>
                  <a:cubicBezTo>
                    <a:pt x="1648" y="611"/>
                    <a:pt x="1692" y="639"/>
                    <a:pt x="1734" y="680"/>
                  </a:cubicBezTo>
                  <a:moveTo>
                    <a:pt x="1650" y="640"/>
                  </a:moveTo>
                  <a:cubicBezTo>
                    <a:pt x="1635" y="634"/>
                    <a:pt x="1619" y="629"/>
                    <a:pt x="1603" y="624"/>
                  </a:cubicBezTo>
                  <a:cubicBezTo>
                    <a:pt x="1593" y="610"/>
                    <a:pt x="1583" y="598"/>
                    <a:pt x="1573" y="589"/>
                  </a:cubicBezTo>
                  <a:cubicBezTo>
                    <a:pt x="1594" y="599"/>
                    <a:pt x="1621" y="616"/>
                    <a:pt x="1650" y="640"/>
                  </a:cubicBezTo>
                  <a:moveTo>
                    <a:pt x="1585" y="619"/>
                  </a:moveTo>
                  <a:cubicBezTo>
                    <a:pt x="1563" y="613"/>
                    <a:pt x="1541" y="608"/>
                    <a:pt x="1520" y="604"/>
                  </a:cubicBezTo>
                  <a:cubicBezTo>
                    <a:pt x="1529" y="590"/>
                    <a:pt x="1538" y="581"/>
                    <a:pt x="1543" y="578"/>
                  </a:cubicBezTo>
                  <a:cubicBezTo>
                    <a:pt x="1550" y="583"/>
                    <a:pt x="1568" y="597"/>
                    <a:pt x="1585" y="619"/>
                  </a:cubicBezTo>
                  <a:moveTo>
                    <a:pt x="1508" y="601"/>
                  </a:moveTo>
                  <a:cubicBezTo>
                    <a:pt x="1488" y="598"/>
                    <a:pt x="1470" y="596"/>
                    <a:pt x="1452" y="594"/>
                  </a:cubicBezTo>
                  <a:cubicBezTo>
                    <a:pt x="1480" y="581"/>
                    <a:pt x="1509" y="576"/>
                    <a:pt x="1527" y="575"/>
                  </a:cubicBezTo>
                  <a:cubicBezTo>
                    <a:pt x="1521" y="581"/>
                    <a:pt x="1514" y="590"/>
                    <a:pt x="1508" y="601"/>
                  </a:cubicBezTo>
                  <a:moveTo>
                    <a:pt x="1459" y="552"/>
                  </a:moveTo>
                  <a:cubicBezTo>
                    <a:pt x="1437" y="552"/>
                    <a:pt x="1415" y="554"/>
                    <a:pt x="1395" y="556"/>
                  </a:cubicBezTo>
                  <a:cubicBezTo>
                    <a:pt x="1395" y="568"/>
                    <a:pt x="1395" y="568"/>
                    <a:pt x="1395" y="568"/>
                  </a:cubicBezTo>
                  <a:cubicBezTo>
                    <a:pt x="1407" y="567"/>
                    <a:pt x="1420" y="565"/>
                    <a:pt x="1432" y="565"/>
                  </a:cubicBezTo>
                  <a:cubicBezTo>
                    <a:pt x="1421" y="567"/>
                    <a:pt x="1408" y="569"/>
                    <a:pt x="1395" y="573"/>
                  </a:cubicBezTo>
                  <a:cubicBezTo>
                    <a:pt x="1395" y="585"/>
                    <a:pt x="1395" y="585"/>
                    <a:pt x="1395" y="585"/>
                  </a:cubicBezTo>
                  <a:cubicBezTo>
                    <a:pt x="1432" y="576"/>
                    <a:pt x="1465" y="572"/>
                    <a:pt x="1486" y="569"/>
                  </a:cubicBezTo>
                  <a:cubicBezTo>
                    <a:pt x="1469" y="574"/>
                    <a:pt x="1449" y="581"/>
                    <a:pt x="1430" y="592"/>
                  </a:cubicBezTo>
                  <a:cubicBezTo>
                    <a:pt x="1418" y="591"/>
                    <a:pt x="1406" y="590"/>
                    <a:pt x="1395" y="589"/>
                  </a:cubicBezTo>
                  <a:cubicBezTo>
                    <a:pt x="1395" y="601"/>
                    <a:pt x="1395" y="601"/>
                    <a:pt x="1395" y="601"/>
                  </a:cubicBezTo>
                  <a:cubicBezTo>
                    <a:pt x="1402" y="602"/>
                    <a:pt x="1408" y="602"/>
                    <a:pt x="1414" y="602"/>
                  </a:cubicBezTo>
                  <a:cubicBezTo>
                    <a:pt x="1409" y="607"/>
                    <a:pt x="1404" y="611"/>
                    <a:pt x="1399" y="616"/>
                  </a:cubicBezTo>
                  <a:cubicBezTo>
                    <a:pt x="1398" y="616"/>
                    <a:pt x="1397" y="616"/>
                    <a:pt x="1395" y="616"/>
                  </a:cubicBezTo>
                  <a:cubicBezTo>
                    <a:pt x="1395" y="638"/>
                    <a:pt x="1395" y="638"/>
                    <a:pt x="1395" y="638"/>
                  </a:cubicBezTo>
                  <a:cubicBezTo>
                    <a:pt x="1398" y="635"/>
                    <a:pt x="1401" y="631"/>
                    <a:pt x="1404" y="628"/>
                  </a:cubicBezTo>
                  <a:cubicBezTo>
                    <a:pt x="1432" y="630"/>
                    <a:pt x="1463" y="633"/>
                    <a:pt x="1495" y="638"/>
                  </a:cubicBezTo>
                  <a:cubicBezTo>
                    <a:pt x="1495" y="642"/>
                    <a:pt x="1494" y="645"/>
                    <a:pt x="1494" y="648"/>
                  </a:cubicBezTo>
                  <a:cubicBezTo>
                    <a:pt x="1459" y="643"/>
                    <a:pt x="1426" y="640"/>
                    <a:pt x="1395" y="639"/>
                  </a:cubicBezTo>
                  <a:cubicBezTo>
                    <a:pt x="1395" y="651"/>
                    <a:pt x="1395" y="651"/>
                    <a:pt x="1395" y="651"/>
                  </a:cubicBezTo>
                  <a:cubicBezTo>
                    <a:pt x="1399" y="651"/>
                    <a:pt x="1402" y="651"/>
                    <a:pt x="1406" y="652"/>
                  </a:cubicBezTo>
                  <a:cubicBezTo>
                    <a:pt x="1403" y="656"/>
                    <a:pt x="1400" y="663"/>
                    <a:pt x="1395" y="673"/>
                  </a:cubicBezTo>
                  <a:cubicBezTo>
                    <a:pt x="1395" y="701"/>
                    <a:pt x="1395" y="701"/>
                    <a:pt x="1395" y="701"/>
                  </a:cubicBezTo>
                  <a:cubicBezTo>
                    <a:pt x="1408" y="671"/>
                    <a:pt x="1418" y="653"/>
                    <a:pt x="1418" y="652"/>
                  </a:cubicBezTo>
                  <a:cubicBezTo>
                    <a:pt x="1442" y="654"/>
                    <a:pt x="1466" y="656"/>
                    <a:pt x="1492" y="660"/>
                  </a:cubicBezTo>
                  <a:cubicBezTo>
                    <a:pt x="1486" y="672"/>
                    <a:pt x="1474" y="701"/>
                    <a:pt x="1460" y="743"/>
                  </a:cubicBezTo>
                  <a:cubicBezTo>
                    <a:pt x="1438" y="741"/>
                    <a:pt x="1416" y="739"/>
                    <a:pt x="1395" y="738"/>
                  </a:cubicBezTo>
                  <a:cubicBezTo>
                    <a:pt x="1395" y="750"/>
                    <a:pt x="1395" y="750"/>
                    <a:pt x="1395" y="750"/>
                  </a:cubicBezTo>
                  <a:cubicBezTo>
                    <a:pt x="1415" y="751"/>
                    <a:pt x="1435" y="753"/>
                    <a:pt x="1457" y="755"/>
                  </a:cubicBezTo>
                  <a:cubicBezTo>
                    <a:pt x="1450" y="778"/>
                    <a:pt x="1443" y="803"/>
                    <a:pt x="1436" y="832"/>
                  </a:cubicBezTo>
                  <a:cubicBezTo>
                    <a:pt x="1422" y="830"/>
                    <a:pt x="1409" y="828"/>
                    <a:pt x="1395" y="826"/>
                  </a:cubicBezTo>
                  <a:cubicBezTo>
                    <a:pt x="1395" y="839"/>
                    <a:pt x="1395" y="839"/>
                    <a:pt x="1395" y="839"/>
                  </a:cubicBezTo>
                  <a:cubicBezTo>
                    <a:pt x="1408" y="840"/>
                    <a:pt x="1421" y="842"/>
                    <a:pt x="1434" y="844"/>
                  </a:cubicBezTo>
                  <a:cubicBezTo>
                    <a:pt x="1427" y="873"/>
                    <a:pt x="1422" y="904"/>
                    <a:pt x="1418" y="938"/>
                  </a:cubicBezTo>
                  <a:cubicBezTo>
                    <a:pt x="1410" y="937"/>
                    <a:pt x="1403" y="936"/>
                    <a:pt x="1395" y="935"/>
                  </a:cubicBezTo>
                  <a:cubicBezTo>
                    <a:pt x="1395" y="948"/>
                    <a:pt x="1395" y="948"/>
                    <a:pt x="1395" y="948"/>
                  </a:cubicBezTo>
                  <a:cubicBezTo>
                    <a:pt x="1402" y="948"/>
                    <a:pt x="1409" y="949"/>
                    <a:pt x="1417" y="950"/>
                  </a:cubicBezTo>
                  <a:cubicBezTo>
                    <a:pt x="1415" y="964"/>
                    <a:pt x="1414" y="978"/>
                    <a:pt x="1413" y="993"/>
                  </a:cubicBezTo>
                  <a:cubicBezTo>
                    <a:pt x="1425" y="993"/>
                    <a:pt x="1425" y="993"/>
                    <a:pt x="1425" y="993"/>
                  </a:cubicBezTo>
                  <a:cubicBezTo>
                    <a:pt x="1425" y="979"/>
                    <a:pt x="1426" y="965"/>
                    <a:pt x="1428" y="951"/>
                  </a:cubicBezTo>
                  <a:cubicBezTo>
                    <a:pt x="1453" y="954"/>
                    <a:pt x="1478" y="957"/>
                    <a:pt x="1505" y="960"/>
                  </a:cubicBezTo>
                  <a:cubicBezTo>
                    <a:pt x="1504" y="971"/>
                    <a:pt x="1504" y="982"/>
                    <a:pt x="1504" y="993"/>
                  </a:cubicBezTo>
                  <a:cubicBezTo>
                    <a:pt x="1515" y="993"/>
                    <a:pt x="1515" y="993"/>
                    <a:pt x="1515" y="993"/>
                  </a:cubicBezTo>
                  <a:cubicBezTo>
                    <a:pt x="1515" y="982"/>
                    <a:pt x="1516" y="972"/>
                    <a:pt x="1516" y="961"/>
                  </a:cubicBezTo>
                  <a:cubicBezTo>
                    <a:pt x="1539" y="964"/>
                    <a:pt x="1563" y="967"/>
                    <a:pt x="1587" y="970"/>
                  </a:cubicBezTo>
                  <a:cubicBezTo>
                    <a:pt x="1587" y="978"/>
                    <a:pt x="1586" y="985"/>
                    <a:pt x="1586" y="993"/>
                  </a:cubicBezTo>
                  <a:cubicBezTo>
                    <a:pt x="1597" y="993"/>
                    <a:pt x="1597" y="993"/>
                    <a:pt x="1597" y="993"/>
                  </a:cubicBezTo>
                  <a:cubicBezTo>
                    <a:pt x="1597" y="986"/>
                    <a:pt x="1598" y="979"/>
                    <a:pt x="1598" y="972"/>
                  </a:cubicBezTo>
                  <a:cubicBezTo>
                    <a:pt x="1620" y="974"/>
                    <a:pt x="1642" y="977"/>
                    <a:pt x="1664" y="980"/>
                  </a:cubicBezTo>
                  <a:cubicBezTo>
                    <a:pt x="1664" y="982"/>
                    <a:pt x="1664" y="984"/>
                    <a:pt x="1664" y="985"/>
                  </a:cubicBezTo>
                  <a:cubicBezTo>
                    <a:pt x="1664" y="988"/>
                    <a:pt x="1664" y="990"/>
                    <a:pt x="1664" y="993"/>
                  </a:cubicBezTo>
                  <a:cubicBezTo>
                    <a:pt x="1675" y="993"/>
                    <a:pt x="1675" y="993"/>
                    <a:pt x="1675" y="993"/>
                  </a:cubicBezTo>
                  <a:cubicBezTo>
                    <a:pt x="1675" y="990"/>
                    <a:pt x="1675" y="987"/>
                    <a:pt x="1675" y="984"/>
                  </a:cubicBezTo>
                  <a:cubicBezTo>
                    <a:pt x="1675" y="984"/>
                    <a:pt x="1675" y="983"/>
                    <a:pt x="1675" y="982"/>
                  </a:cubicBezTo>
                  <a:cubicBezTo>
                    <a:pt x="1694" y="985"/>
                    <a:pt x="1713" y="987"/>
                    <a:pt x="1733" y="990"/>
                  </a:cubicBezTo>
                  <a:cubicBezTo>
                    <a:pt x="1733" y="990"/>
                    <a:pt x="1733" y="991"/>
                    <a:pt x="1733" y="991"/>
                  </a:cubicBezTo>
                  <a:cubicBezTo>
                    <a:pt x="1733" y="992"/>
                    <a:pt x="1733" y="992"/>
                    <a:pt x="1733" y="993"/>
                  </a:cubicBezTo>
                  <a:cubicBezTo>
                    <a:pt x="1744" y="993"/>
                    <a:pt x="1744" y="993"/>
                    <a:pt x="1744" y="993"/>
                  </a:cubicBezTo>
                  <a:cubicBezTo>
                    <a:pt x="1744" y="993"/>
                    <a:pt x="1744" y="992"/>
                    <a:pt x="1744" y="992"/>
                  </a:cubicBezTo>
                  <a:cubicBezTo>
                    <a:pt x="1747" y="992"/>
                    <a:pt x="1750" y="993"/>
                    <a:pt x="1753" y="993"/>
                  </a:cubicBezTo>
                  <a:cubicBezTo>
                    <a:pt x="1832" y="993"/>
                    <a:pt x="1832" y="993"/>
                    <a:pt x="1832" y="993"/>
                  </a:cubicBezTo>
                  <a:cubicBezTo>
                    <a:pt x="1826" y="992"/>
                    <a:pt x="1819" y="991"/>
                    <a:pt x="1813" y="990"/>
                  </a:cubicBezTo>
                  <a:cubicBezTo>
                    <a:pt x="1814" y="969"/>
                    <a:pt x="1816" y="948"/>
                    <a:pt x="1818" y="929"/>
                  </a:cubicBezTo>
                  <a:cubicBezTo>
                    <a:pt x="1843" y="937"/>
                    <a:pt x="1867" y="945"/>
                    <a:pt x="1890" y="955"/>
                  </a:cubicBezTo>
                  <a:cubicBezTo>
                    <a:pt x="1888" y="966"/>
                    <a:pt x="1886" y="979"/>
                    <a:pt x="1885" y="993"/>
                  </a:cubicBezTo>
                  <a:cubicBezTo>
                    <a:pt x="1896" y="993"/>
                    <a:pt x="1896" y="993"/>
                    <a:pt x="1896" y="993"/>
                  </a:cubicBezTo>
                  <a:cubicBezTo>
                    <a:pt x="1897" y="981"/>
                    <a:pt x="1899" y="969"/>
                    <a:pt x="1901" y="959"/>
                  </a:cubicBezTo>
                  <a:cubicBezTo>
                    <a:pt x="1907" y="961"/>
                    <a:pt x="1913" y="963"/>
                    <a:pt x="1918" y="966"/>
                  </a:cubicBezTo>
                  <a:cubicBezTo>
                    <a:pt x="1920" y="966"/>
                    <a:pt x="1920" y="966"/>
                    <a:pt x="1920" y="966"/>
                  </a:cubicBezTo>
                  <a:cubicBezTo>
                    <a:pt x="1920" y="966"/>
                    <a:pt x="1935" y="968"/>
                    <a:pt x="1959" y="982"/>
                  </a:cubicBezTo>
                  <a:cubicBezTo>
                    <a:pt x="1959" y="985"/>
                    <a:pt x="1959" y="989"/>
                    <a:pt x="1959" y="993"/>
                  </a:cubicBezTo>
                  <a:cubicBezTo>
                    <a:pt x="1970" y="993"/>
                    <a:pt x="1970" y="993"/>
                    <a:pt x="1970" y="993"/>
                  </a:cubicBezTo>
                  <a:cubicBezTo>
                    <a:pt x="1970" y="991"/>
                    <a:pt x="1970" y="990"/>
                    <a:pt x="1970" y="988"/>
                  </a:cubicBezTo>
                  <a:cubicBezTo>
                    <a:pt x="1973" y="990"/>
                    <a:pt x="1975" y="991"/>
                    <a:pt x="1977" y="993"/>
                  </a:cubicBezTo>
                  <a:cubicBezTo>
                    <a:pt x="1997" y="993"/>
                    <a:pt x="1997" y="993"/>
                    <a:pt x="1997" y="993"/>
                  </a:cubicBezTo>
                  <a:cubicBezTo>
                    <a:pt x="1988" y="986"/>
                    <a:pt x="1979" y="980"/>
                    <a:pt x="1971" y="975"/>
                  </a:cubicBezTo>
                  <a:cubicBezTo>
                    <a:pt x="1972" y="969"/>
                    <a:pt x="1973" y="963"/>
                    <a:pt x="1975" y="958"/>
                  </a:cubicBezTo>
                  <a:cubicBezTo>
                    <a:pt x="1985" y="968"/>
                    <a:pt x="1996" y="980"/>
                    <a:pt x="2007" y="993"/>
                  </a:cubicBezTo>
                  <a:cubicBezTo>
                    <a:pt x="2026" y="993"/>
                    <a:pt x="2026" y="993"/>
                    <a:pt x="2026" y="993"/>
                  </a:cubicBezTo>
                  <a:cubicBezTo>
                    <a:pt x="2013" y="973"/>
                    <a:pt x="2000" y="955"/>
                    <a:pt x="1986" y="939"/>
                  </a:cubicBezTo>
                  <a:cubicBezTo>
                    <a:pt x="1987" y="939"/>
                    <a:pt x="1988" y="938"/>
                    <a:pt x="1989" y="938"/>
                  </a:cubicBezTo>
                  <a:cubicBezTo>
                    <a:pt x="1989" y="938"/>
                    <a:pt x="1990" y="938"/>
                    <a:pt x="1990" y="938"/>
                  </a:cubicBezTo>
                  <a:cubicBezTo>
                    <a:pt x="1991" y="938"/>
                    <a:pt x="1991" y="938"/>
                    <a:pt x="1992" y="938"/>
                  </a:cubicBezTo>
                  <a:cubicBezTo>
                    <a:pt x="2006" y="955"/>
                    <a:pt x="2019" y="974"/>
                    <a:pt x="2030" y="993"/>
                  </a:cubicBezTo>
                  <a:cubicBezTo>
                    <a:pt x="2049" y="993"/>
                    <a:pt x="2049" y="993"/>
                    <a:pt x="2049" y="993"/>
                  </a:cubicBezTo>
                  <a:cubicBezTo>
                    <a:pt x="2047" y="989"/>
                    <a:pt x="2045" y="984"/>
                    <a:pt x="2043" y="980"/>
                  </a:cubicBezTo>
                  <a:cubicBezTo>
                    <a:pt x="2043" y="979"/>
                    <a:pt x="2042" y="979"/>
                    <a:pt x="2042" y="978"/>
                  </a:cubicBezTo>
                  <a:cubicBezTo>
                    <a:pt x="2040" y="975"/>
                    <a:pt x="2039" y="973"/>
                    <a:pt x="2038" y="970"/>
                  </a:cubicBezTo>
                  <a:cubicBezTo>
                    <a:pt x="2017" y="931"/>
                    <a:pt x="1993" y="904"/>
                    <a:pt x="1969" y="893"/>
                  </a:cubicBezTo>
                  <a:cubicBezTo>
                    <a:pt x="1959" y="882"/>
                    <a:pt x="1948" y="871"/>
                    <a:pt x="1938" y="861"/>
                  </a:cubicBezTo>
                  <a:cubicBezTo>
                    <a:pt x="1881" y="806"/>
                    <a:pt x="1827" y="771"/>
                    <a:pt x="1819" y="766"/>
                  </a:cubicBezTo>
                  <a:cubicBezTo>
                    <a:pt x="1734" y="638"/>
                    <a:pt x="1635" y="581"/>
                    <a:pt x="1543" y="561"/>
                  </a:cubicBezTo>
                  <a:cubicBezTo>
                    <a:pt x="1543" y="561"/>
                    <a:pt x="1543" y="561"/>
                    <a:pt x="1543" y="561"/>
                  </a:cubicBezTo>
                  <a:cubicBezTo>
                    <a:pt x="1546" y="561"/>
                    <a:pt x="1546" y="561"/>
                    <a:pt x="1546" y="561"/>
                  </a:cubicBezTo>
                  <a:cubicBezTo>
                    <a:pt x="1535" y="559"/>
                    <a:pt x="1528" y="557"/>
                    <a:pt x="1518" y="556"/>
                  </a:cubicBezTo>
                  <a:cubicBezTo>
                    <a:pt x="1518" y="555"/>
                    <a:pt x="1518" y="555"/>
                    <a:pt x="1518" y="555"/>
                  </a:cubicBezTo>
                  <a:cubicBezTo>
                    <a:pt x="1518" y="555"/>
                    <a:pt x="1517" y="555"/>
                    <a:pt x="1516" y="555"/>
                  </a:cubicBezTo>
                  <a:cubicBezTo>
                    <a:pt x="1515" y="555"/>
                    <a:pt x="1513" y="555"/>
                    <a:pt x="1513" y="555"/>
                  </a:cubicBezTo>
                  <a:cubicBezTo>
                    <a:pt x="1494" y="553"/>
                    <a:pt x="1476" y="552"/>
                    <a:pt x="1459" y="552"/>
                  </a:cubicBezTo>
                  <a:moveTo>
                    <a:pt x="652" y="973"/>
                  </a:moveTo>
                  <a:cubicBezTo>
                    <a:pt x="650" y="953"/>
                    <a:pt x="647" y="933"/>
                    <a:pt x="645" y="912"/>
                  </a:cubicBezTo>
                  <a:cubicBezTo>
                    <a:pt x="649" y="911"/>
                    <a:pt x="653" y="909"/>
                    <a:pt x="658" y="907"/>
                  </a:cubicBezTo>
                  <a:cubicBezTo>
                    <a:pt x="659" y="928"/>
                    <a:pt x="660" y="949"/>
                    <a:pt x="662" y="970"/>
                  </a:cubicBezTo>
                  <a:cubicBezTo>
                    <a:pt x="659" y="971"/>
                    <a:pt x="656" y="972"/>
                    <a:pt x="652" y="973"/>
                  </a:cubicBezTo>
                  <a:moveTo>
                    <a:pt x="673" y="965"/>
                  </a:moveTo>
                  <a:cubicBezTo>
                    <a:pt x="671" y="945"/>
                    <a:pt x="670" y="924"/>
                    <a:pt x="669" y="903"/>
                  </a:cubicBezTo>
                  <a:cubicBezTo>
                    <a:pt x="671" y="902"/>
                    <a:pt x="674" y="901"/>
                    <a:pt x="676" y="900"/>
                  </a:cubicBezTo>
                  <a:cubicBezTo>
                    <a:pt x="678" y="920"/>
                    <a:pt x="681" y="940"/>
                    <a:pt x="684" y="961"/>
                  </a:cubicBezTo>
                  <a:cubicBezTo>
                    <a:pt x="680" y="962"/>
                    <a:pt x="677" y="964"/>
                    <a:pt x="673" y="965"/>
                  </a:cubicBezTo>
                  <a:moveTo>
                    <a:pt x="282" y="988"/>
                  </a:moveTo>
                  <a:cubicBezTo>
                    <a:pt x="245" y="982"/>
                    <a:pt x="207" y="973"/>
                    <a:pt x="167" y="960"/>
                  </a:cubicBezTo>
                  <a:cubicBezTo>
                    <a:pt x="166" y="939"/>
                    <a:pt x="165" y="918"/>
                    <a:pt x="165" y="897"/>
                  </a:cubicBezTo>
                  <a:cubicBezTo>
                    <a:pt x="205" y="911"/>
                    <a:pt x="243" y="921"/>
                    <a:pt x="280" y="928"/>
                  </a:cubicBezTo>
                  <a:cubicBezTo>
                    <a:pt x="280" y="944"/>
                    <a:pt x="281" y="959"/>
                    <a:pt x="281" y="973"/>
                  </a:cubicBezTo>
                  <a:cubicBezTo>
                    <a:pt x="281" y="978"/>
                    <a:pt x="282" y="983"/>
                    <a:pt x="282" y="988"/>
                  </a:cubicBezTo>
                  <a:moveTo>
                    <a:pt x="444" y="875"/>
                  </a:moveTo>
                  <a:cubicBezTo>
                    <a:pt x="466" y="875"/>
                    <a:pt x="487" y="874"/>
                    <a:pt x="508" y="873"/>
                  </a:cubicBezTo>
                  <a:cubicBezTo>
                    <a:pt x="514" y="873"/>
                    <a:pt x="521" y="872"/>
                    <a:pt x="528" y="871"/>
                  </a:cubicBezTo>
                  <a:cubicBezTo>
                    <a:pt x="527" y="891"/>
                    <a:pt x="527" y="911"/>
                    <a:pt x="527" y="930"/>
                  </a:cubicBezTo>
                  <a:cubicBezTo>
                    <a:pt x="527" y="930"/>
                    <a:pt x="527" y="931"/>
                    <a:pt x="527" y="932"/>
                  </a:cubicBezTo>
                  <a:cubicBezTo>
                    <a:pt x="526" y="932"/>
                    <a:pt x="526" y="932"/>
                    <a:pt x="526" y="932"/>
                  </a:cubicBezTo>
                  <a:cubicBezTo>
                    <a:pt x="505" y="933"/>
                    <a:pt x="483" y="933"/>
                    <a:pt x="462" y="933"/>
                  </a:cubicBezTo>
                  <a:cubicBezTo>
                    <a:pt x="446" y="933"/>
                    <a:pt x="431" y="933"/>
                    <a:pt x="415" y="932"/>
                  </a:cubicBezTo>
                  <a:cubicBezTo>
                    <a:pt x="415" y="931"/>
                    <a:pt x="415" y="929"/>
                    <a:pt x="415" y="928"/>
                  </a:cubicBezTo>
                  <a:cubicBezTo>
                    <a:pt x="415" y="911"/>
                    <a:pt x="416" y="893"/>
                    <a:pt x="416" y="874"/>
                  </a:cubicBezTo>
                  <a:cubicBezTo>
                    <a:pt x="426" y="875"/>
                    <a:pt x="435" y="875"/>
                    <a:pt x="444" y="875"/>
                  </a:cubicBezTo>
                  <a:moveTo>
                    <a:pt x="404" y="932"/>
                  </a:moveTo>
                  <a:cubicBezTo>
                    <a:pt x="368" y="930"/>
                    <a:pt x="331" y="926"/>
                    <a:pt x="291" y="918"/>
                  </a:cubicBezTo>
                  <a:cubicBezTo>
                    <a:pt x="291" y="910"/>
                    <a:pt x="291" y="901"/>
                    <a:pt x="291" y="892"/>
                  </a:cubicBezTo>
                  <a:cubicBezTo>
                    <a:pt x="291" y="882"/>
                    <a:pt x="291" y="871"/>
                    <a:pt x="291" y="861"/>
                  </a:cubicBezTo>
                  <a:cubicBezTo>
                    <a:pt x="331" y="869"/>
                    <a:pt x="369" y="872"/>
                    <a:pt x="405" y="874"/>
                  </a:cubicBezTo>
                  <a:cubicBezTo>
                    <a:pt x="404" y="892"/>
                    <a:pt x="404" y="910"/>
                    <a:pt x="404" y="927"/>
                  </a:cubicBezTo>
                  <a:cubicBezTo>
                    <a:pt x="404" y="929"/>
                    <a:pt x="404" y="930"/>
                    <a:pt x="404" y="932"/>
                  </a:cubicBezTo>
                  <a:moveTo>
                    <a:pt x="538" y="931"/>
                  </a:moveTo>
                  <a:cubicBezTo>
                    <a:pt x="538" y="910"/>
                    <a:pt x="538" y="890"/>
                    <a:pt x="539" y="869"/>
                  </a:cubicBezTo>
                  <a:cubicBezTo>
                    <a:pt x="565" y="864"/>
                    <a:pt x="593" y="855"/>
                    <a:pt x="626" y="843"/>
                  </a:cubicBezTo>
                  <a:cubicBezTo>
                    <a:pt x="627" y="858"/>
                    <a:pt x="627" y="872"/>
                    <a:pt x="629" y="884"/>
                  </a:cubicBezTo>
                  <a:cubicBezTo>
                    <a:pt x="630" y="893"/>
                    <a:pt x="630" y="893"/>
                    <a:pt x="630" y="893"/>
                  </a:cubicBezTo>
                  <a:cubicBezTo>
                    <a:pt x="631" y="897"/>
                    <a:pt x="632" y="900"/>
                    <a:pt x="632" y="904"/>
                  </a:cubicBezTo>
                  <a:cubicBezTo>
                    <a:pt x="597" y="917"/>
                    <a:pt x="564" y="927"/>
                    <a:pt x="538" y="931"/>
                  </a:cubicBezTo>
                  <a:moveTo>
                    <a:pt x="156" y="957"/>
                  </a:moveTo>
                  <a:cubicBezTo>
                    <a:pt x="117" y="944"/>
                    <a:pt x="78" y="929"/>
                    <a:pt x="36" y="910"/>
                  </a:cubicBezTo>
                  <a:cubicBezTo>
                    <a:pt x="35" y="886"/>
                    <a:pt x="34" y="863"/>
                    <a:pt x="33" y="841"/>
                  </a:cubicBezTo>
                  <a:cubicBezTo>
                    <a:pt x="75" y="862"/>
                    <a:pt x="115" y="879"/>
                    <a:pt x="153" y="893"/>
                  </a:cubicBezTo>
                  <a:cubicBezTo>
                    <a:pt x="154" y="914"/>
                    <a:pt x="155" y="936"/>
                    <a:pt x="156" y="957"/>
                  </a:cubicBezTo>
                  <a:moveTo>
                    <a:pt x="648" y="900"/>
                  </a:moveTo>
                  <a:cubicBezTo>
                    <a:pt x="648" y="899"/>
                    <a:pt x="648" y="899"/>
                    <a:pt x="648" y="899"/>
                  </a:cubicBezTo>
                  <a:cubicBezTo>
                    <a:pt x="648" y="896"/>
                    <a:pt x="651" y="893"/>
                    <a:pt x="651" y="890"/>
                  </a:cubicBezTo>
                  <a:cubicBezTo>
                    <a:pt x="651" y="890"/>
                    <a:pt x="651" y="890"/>
                    <a:pt x="651" y="889"/>
                  </a:cubicBezTo>
                  <a:cubicBezTo>
                    <a:pt x="650" y="881"/>
                    <a:pt x="650" y="881"/>
                    <a:pt x="650" y="881"/>
                  </a:cubicBezTo>
                  <a:cubicBezTo>
                    <a:pt x="648" y="868"/>
                    <a:pt x="642" y="854"/>
                    <a:pt x="642" y="838"/>
                  </a:cubicBezTo>
                  <a:cubicBezTo>
                    <a:pt x="648" y="836"/>
                    <a:pt x="652" y="834"/>
                    <a:pt x="658" y="831"/>
                  </a:cubicBezTo>
                  <a:cubicBezTo>
                    <a:pt x="658" y="848"/>
                    <a:pt x="657" y="866"/>
                    <a:pt x="657" y="883"/>
                  </a:cubicBezTo>
                  <a:cubicBezTo>
                    <a:pt x="657" y="887"/>
                    <a:pt x="657" y="891"/>
                    <a:pt x="657" y="895"/>
                  </a:cubicBezTo>
                  <a:cubicBezTo>
                    <a:pt x="652" y="897"/>
                    <a:pt x="652" y="898"/>
                    <a:pt x="648" y="900"/>
                  </a:cubicBezTo>
                  <a:moveTo>
                    <a:pt x="668" y="891"/>
                  </a:moveTo>
                  <a:cubicBezTo>
                    <a:pt x="667" y="873"/>
                    <a:pt x="667" y="855"/>
                    <a:pt x="667" y="838"/>
                  </a:cubicBezTo>
                  <a:cubicBezTo>
                    <a:pt x="667" y="834"/>
                    <a:pt x="667" y="831"/>
                    <a:pt x="667" y="827"/>
                  </a:cubicBezTo>
                  <a:cubicBezTo>
                    <a:pt x="669" y="826"/>
                    <a:pt x="671" y="826"/>
                    <a:pt x="672" y="825"/>
                  </a:cubicBezTo>
                  <a:cubicBezTo>
                    <a:pt x="673" y="845"/>
                    <a:pt x="674" y="866"/>
                    <a:pt x="675" y="888"/>
                  </a:cubicBezTo>
                  <a:cubicBezTo>
                    <a:pt x="673" y="889"/>
                    <a:pt x="670" y="890"/>
                    <a:pt x="668" y="891"/>
                  </a:cubicBezTo>
                  <a:moveTo>
                    <a:pt x="280" y="916"/>
                  </a:moveTo>
                  <a:cubicBezTo>
                    <a:pt x="243" y="909"/>
                    <a:pt x="205" y="898"/>
                    <a:pt x="164" y="884"/>
                  </a:cubicBezTo>
                  <a:cubicBezTo>
                    <a:pt x="164" y="864"/>
                    <a:pt x="164" y="844"/>
                    <a:pt x="163" y="824"/>
                  </a:cubicBezTo>
                  <a:cubicBezTo>
                    <a:pt x="204" y="840"/>
                    <a:pt x="243" y="851"/>
                    <a:pt x="280" y="859"/>
                  </a:cubicBezTo>
                  <a:cubicBezTo>
                    <a:pt x="280" y="870"/>
                    <a:pt x="280" y="881"/>
                    <a:pt x="280" y="891"/>
                  </a:cubicBezTo>
                  <a:cubicBezTo>
                    <a:pt x="280" y="900"/>
                    <a:pt x="280" y="908"/>
                    <a:pt x="280" y="916"/>
                  </a:cubicBezTo>
                  <a:moveTo>
                    <a:pt x="436" y="804"/>
                  </a:moveTo>
                  <a:cubicBezTo>
                    <a:pt x="453" y="804"/>
                    <a:pt x="471" y="803"/>
                    <a:pt x="489" y="802"/>
                  </a:cubicBezTo>
                  <a:cubicBezTo>
                    <a:pt x="503" y="801"/>
                    <a:pt x="517" y="799"/>
                    <a:pt x="533" y="795"/>
                  </a:cubicBezTo>
                  <a:cubicBezTo>
                    <a:pt x="531" y="817"/>
                    <a:pt x="530" y="838"/>
                    <a:pt x="529" y="858"/>
                  </a:cubicBezTo>
                  <a:cubicBezTo>
                    <a:pt x="521" y="860"/>
                    <a:pt x="514" y="861"/>
                    <a:pt x="507" y="861"/>
                  </a:cubicBezTo>
                  <a:cubicBezTo>
                    <a:pt x="487" y="862"/>
                    <a:pt x="466" y="863"/>
                    <a:pt x="444" y="863"/>
                  </a:cubicBezTo>
                  <a:cubicBezTo>
                    <a:pt x="435" y="863"/>
                    <a:pt x="426" y="863"/>
                    <a:pt x="417" y="862"/>
                  </a:cubicBezTo>
                  <a:cubicBezTo>
                    <a:pt x="417" y="843"/>
                    <a:pt x="418" y="824"/>
                    <a:pt x="419" y="804"/>
                  </a:cubicBezTo>
                  <a:cubicBezTo>
                    <a:pt x="425" y="804"/>
                    <a:pt x="430" y="804"/>
                    <a:pt x="436" y="804"/>
                  </a:cubicBezTo>
                  <a:moveTo>
                    <a:pt x="405" y="862"/>
                  </a:moveTo>
                  <a:cubicBezTo>
                    <a:pt x="369" y="860"/>
                    <a:pt x="331" y="856"/>
                    <a:pt x="292" y="849"/>
                  </a:cubicBezTo>
                  <a:cubicBezTo>
                    <a:pt x="292" y="830"/>
                    <a:pt x="292" y="810"/>
                    <a:pt x="293" y="791"/>
                  </a:cubicBezTo>
                  <a:cubicBezTo>
                    <a:pt x="331" y="798"/>
                    <a:pt x="369" y="802"/>
                    <a:pt x="408" y="804"/>
                  </a:cubicBezTo>
                  <a:cubicBezTo>
                    <a:pt x="407" y="824"/>
                    <a:pt x="406" y="843"/>
                    <a:pt x="405" y="862"/>
                  </a:cubicBezTo>
                  <a:moveTo>
                    <a:pt x="540" y="856"/>
                  </a:moveTo>
                  <a:cubicBezTo>
                    <a:pt x="541" y="835"/>
                    <a:pt x="543" y="814"/>
                    <a:pt x="545" y="792"/>
                  </a:cubicBezTo>
                  <a:cubicBezTo>
                    <a:pt x="570" y="786"/>
                    <a:pt x="598" y="777"/>
                    <a:pt x="626" y="766"/>
                  </a:cubicBezTo>
                  <a:cubicBezTo>
                    <a:pt x="626" y="781"/>
                    <a:pt x="626" y="795"/>
                    <a:pt x="626" y="808"/>
                  </a:cubicBezTo>
                  <a:cubicBezTo>
                    <a:pt x="626" y="816"/>
                    <a:pt x="626" y="823"/>
                    <a:pt x="626" y="830"/>
                  </a:cubicBezTo>
                  <a:cubicBezTo>
                    <a:pt x="593" y="842"/>
                    <a:pt x="565" y="851"/>
                    <a:pt x="540" y="856"/>
                  </a:cubicBezTo>
                  <a:moveTo>
                    <a:pt x="153" y="880"/>
                  </a:moveTo>
                  <a:cubicBezTo>
                    <a:pt x="114" y="866"/>
                    <a:pt x="74" y="849"/>
                    <a:pt x="32" y="827"/>
                  </a:cubicBezTo>
                  <a:cubicBezTo>
                    <a:pt x="31" y="805"/>
                    <a:pt x="31" y="783"/>
                    <a:pt x="30" y="762"/>
                  </a:cubicBezTo>
                  <a:cubicBezTo>
                    <a:pt x="73" y="786"/>
                    <a:pt x="113" y="805"/>
                    <a:pt x="152" y="820"/>
                  </a:cubicBezTo>
                  <a:cubicBezTo>
                    <a:pt x="152" y="840"/>
                    <a:pt x="153" y="860"/>
                    <a:pt x="153" y="880"/>
                  </a:cubicBezTo>
                  <a:moveTo>
                    <a:pt x="637" y="826"/>
                  </a:moveTo>
                  <a:cubicBezTo>
                    <a:pt x="637" y="820"/>
                    <a:pt x="637" y="814"/>
                    <a:pt x="637" y="808"/>
                  </a:cubicBezTo>
                  <a:cubicBezTo>
                    <a:pt x="637" y="793"/>
                    <a:pt x="637" y="778"/>
                    <a:pt x="638" y="762"/>
                  </a:cubicBezTo>
                  <a:cubicBezTo>
                    <a:pt x="645" y="759"/>
                    <a:pt x="651" y="757"/>
                    <a:pt x="658" y="754"/>
                  </a:cubicBezTo>
                  <a:cubicBezTo>
                    <a:pt x="657" y="775"/>
                    <a:pt x="656" y="796"/>
                    <a:pt x="656" y="819"/>
                  </a:cubicBezTo>
                  <a:cubicBezTo>
                    <a:pt x="650" y="821"/>
                    <a:pt x="643" y="824"/>
                    <a:pt x="637" y="826"/>
                  </a:cubicBezTo>
                  <a:moveTo>
                    <a:pt x="280" y="846"/>
                  </a:moveTo>
                  <a:cubicBezTo>
                    <a:pt x="243" y="838"/>
                    <a:pt x="204" y="827"/>
                    <a:pt x="163" y="812"/>
                  </a:cubicBezTo>
                  <a:cubicBezTo>
                    <a:pt x="163" y="806"/>
                    <a:pt x="163" y="800"/>
                    <a:pt x="163" y="794"/>
                  </a:cubicBezTo>
                  <a:cubicBezTo>
                    <a:pt x="163" y="781"/>
                    <a:pt x="163" y="767"/>
                    <a:pt x="163" y="753"/>
                  </a:cubicBezTo>
                  <a:cubicBezTo>
                    <a:pt x="203" y="769"/>
                    <a:pt x="242" y="780"/>
                    <a:pt x="282" y="789"/>
                  </a:cubicBezTo>
                  <a:cubicBezTo>
                    <a:pt x="281" y="808"/>
                    <a:pt x="281" y="827"/>
                    <a:pt x="280" y="846"/>
                  </a:cubicBezTo>
                  <a:moveTo>
                    <a:pt x="667" y="814"/>
                  </a:moveTo>
                  <a:cubicBezTo>
                    <a:pt x="668" y="792"/>
                    <a:pt x="668" y="770"/>
                    <a:pt x="669" y="749"/>
                  </a:cubicBezTo>
                  <a:cubicBezTo>
                    <a:pt x="671" y="749"/>
                    <a:pt x="673" y="748"/>
                    <a:pt x="674" y="747"/>
                  </a:cubicBezTo>
                  <a:cubicBezTo>
                    <a:pt x="673" y="767"/>
                    <a:pt x="672" y="788"/>
                    <a:pt x="672" y="810"/>
                  </a:cubicBezTo>
                  <a:cubicBezTo>
                    <a:pt x="672" y="811"/>
                    <a:pt x="672" y="812"/>
                    <a:pt x="672" y="812"/>
                  </a:cubicBezTo>
                  <a:cubicBezTo>
                    <a:pt x="671" y="813"/>
                    <a:pt x="669" y="814"/>
                    <a:pt x="667" y="814"/>
                  </a:cubicBezTo>
                  <a:moveTo>
                    <a:pt x="409" y="792"/>
                  </a:moveTo>
                  <a:cubicBezTo>
                    <a:pt x="372" y="791"/>
                    <a:pt x="334" y="787"/>
                    <a:pt x="293" y="779"/>
                  </a:cubicBezTo>
                  <a:cubicBezTo>
                    <a:pt x="294" y="761"/>
                    <a:pt x="295" y="742"/>
                    <a:pt x="296" y="723"/>
                  </a:cubicBezTo>
                  <a:cubicBezTo>
                    <a:pt x="334" y="730"/>
                    <a:pt x="373" y="733"/>
                    <a:pt x="413" y="733"/>
                  </a:cubicBezTo>
                  <a:cubicBezTo>
                    <a:pt x="411" y="753"/>
                    <a:pt x="410" y="773"/>
                    <a:pt x="409" y="792"/>
                  </a:cubicBezTo>
                  <a:moveTo>
                    <a:pt x="429" y="792"/>
                  </a:moveTo>
                  <a:cubicBezTo>
                    <a:pt x="426" y="792"/>
                    <a:pt x="423" y="792"/>
                    <a:pt x="420" y="792"/>
                  </a:cubicBezTo>
                  <a:cubicBezTo>
                    <a:pt x="421" y="773"/>
                    <a:pt x="422" y="753"/>
                    <a:pt x="424" y="733"/>
                  </a:cubicBezTo>
                  <a:cubicBezTo>
                    <a:pt x="439" y="733"/>
                    <a:pt x="455" y="733"/>
                    <a:pt x="471" y="731"/>
                  </a:cubicBezTo>
                  <a:cubicBezTo>
                    <a:pt x="492" y="730"/>
                    <a:pt x="516" y="725"/>
                    <a:pt x="541" y="718"/>
                  </a:cubicBezTo>
                  <a:cubicBezTo>
                    <a:pt x="538" y="740"/>
                    <a:pt x="536" y="762"/>
                    <a:pt x="534" y="783"/>
                  </a:cubicBezTo>
                  <a:cubicBezTo>
                    <a:pt x="518" y="787"/>
                    <a:pt x="503" y="789"/>
                    <a:pt x="489" y="790"/>
                  </a:cubicBezTo>
                  <a:cubicBezTo>
                    <a:pt x="469" y="791"/>
                    <a:pt x="449" y="792"/>
                    <a:pt x="429" y="792"/>
                  </a:cubicBezTo>
                  <a:moveTo>
                    <a:pt x="152" y="807"/>
                  </a:moveTo>
                  <a:cubicBezTo>
                    <a:pt x="113" y="792"/>
                    <a:pt x="73" y="773"/>
                    <a:pt x="30" y="749"/>
                  </a:cubicBezTo>
                  <a:cubicBezTo>
                    <a:pt x="29" y="730"/>
                    <a:pt x="29" y="712"/>
                    <a:pt x="29" y="695"/>
                  </a:cubicBezTo>
                  <a:cubicBezTo>
                    <a:pt x="29" y="693"/>
                    <a:pt x="29" y="690"/>
                    <a:pt x="29" y="688"/>
                  </a:cubicBezTo>
                  <a:cubicBezTo>
                    <a:pt x="71" y="713"/>
                    <a:pt x="112" y="733"/>
                    <a:pt x="152" y="749"/>
                  </a:cubicBezTo>
                  <a:cubicBezTo>
                    <a:pt x="152" y="764"/>
                    <a:pt x="152" y="779"/>
                    <a:pt x="152" y="794"/>
                  </a:cubicBezTo>
                  <a:cubicBezTo>
                    <a:pt x="152" y="799"/>
                    <a:pt x="152" y="803"/>
                    <a:pt x="152" y="807"/>
                  </a:cubicBezTo>
                  <a:moveTo>
                    <a:pt x="546" y="780"/>
                  </a:moveTo>
                  <a:cubicBezTo>
                    <a:pt x="548" y="758"/>
                    <a:pt x="550" y="737"/>
                    <a:pt x="553" y="715"/>
                  </a:cubicBezTo>
                  <a:cubicBezTo>
                    <a:pt x="579" y="707"/>
                    <a:pt x="605" y="698"/>
                    <a:pt x="631" y="688"/>
                  </a:cubicBezTo>
                  <a:cubicBezTo>
                    <a:pt x="629" y="710"/>
                    <a:pt x="628" y="732"/>
                    <a:pt x="627" y="753"/>
                  </a:cubicBezTo>
                  <a:cubicBezTo>
                    <a:pt x="599" y="764"/>
                    <a:pt x="571" y="773"/>
                    <a:pt x="546" y="780"/>
                  </a:cubicBezTo>
                  <a:moveTo>
                    <a:pt x="282" y="777"/>
                  </a:moveTo>
                  <a:cubicBezTo>
                    <a:pt x="245" y="769"/>
                    <a:pt x="205" y="757"/>
                    <a:pt x="164" y="741"/>
                  </a:cubicBezTo>
                  <a:cubicBezTo>
                    <a:pt x="164" y="722"/>
                    <a:pt x="164" y="704"/>
                    <a:pt x="165" y="686"/>
                  </a:cubicBezTo>
                  <a:cubicBezTo>
                    <a:pt x="205" y="702"/>
                    <a:pt x="244" y="713"/>
                    <a:pt x="285" y="721"/>
                  </a:cubicBezTo>
                  <a:cubicBezTo>
                    <a:pt x="284" y="740"/>
                    <a:pt x="283" y="759"/>
                    <a:pt x="282" y="777"/>
                  </a:cubicBezTo>
                  <a:moveTo>
                    <a:pt x="638" y="749"/>
                  </a:moveTo>
                  <a:cubicBezTo>
                    <a:pt x="639" y="727"/>
                    <a:pt x="641" y="705"/>
                    <a:pt x="643" y="683"/>
                  </a:cubicBezTo>
                  <a:cubicBezTo>
                    <a:pt x="650" y="680"/>
                    <a:pt x="657" y="678"/>
                    <a:pt x="663" y="675"/>
                  </a:cubicBezTo>
                  <a:cubicBezTo>
                    <a:pt x="662" y="695"/>
                    <a:pt x="660" y="717"/>
                    <a:pt x="659" y="741"/>
                  </a:cubicBezTo>
                  <a:cubicBezTo>
                    <a:pt x="652" y="744"/>
                    <a:pt x="645" y="746"/>
                    <a:pt x="638" y="749"/>
                  </a:cubicBezTo>
                  <a:moveTo>
                    <a:pt x="670" y="736"/>
                  </a:moveTo>
                  <a:cubicBezTo>
                    <a:pt x="671" y="713"/>
                    <a:pt x="673" y="692"/>
                    <a:pt x="675" y="673"/>
                  </a:cubicBezTo>
                  <a:cubicBezTo>
                    <a:pt x="676" y="675"/>
                    <a:pt x="678" y="677"/>
                    <a:pt x="680" y="679"/>
                  </a:cubicBezTo>
                  <a:cubicBezTo>
                    <a:pt x="678" y="696"/>
                    <a:pt x="676" y="714"/>
                    <a:pt x="675" y="734"/>
                  </a:cubicBezTo>
                  <a:cubicBezTo>
                    <a:pt x="673" y="735"/>
                    <a:pt x="672" y="736"/>
                    <a:pt x="670" y="736"/>
                  </a:cubicBezTo>
                  <a:moveTo>
                    <a:pt x="414" y="721"/>
                  </a:moveTo>
                  <a:cubicBezTo>
                    <a:pt x="374" y="721"/>
                    <a:pt x="335" y="718"/>
                    <a:pt x="296" y="711"/>
                  </a:cubicBezTo>
                  <a:cubicBezTo>
                    <a:pt x="297" y="693"/>
                    <a:pt x="299" y="674"/>
                    <a:pt x="300" y="656"/>
                  </a:cubicBezTo>
                  <a:cubicBezTo>
                    <a:pt x="331" y="661"/>
                    <a:pt x="362" y="663"/>
                    <a:pt x="394" y="663"/>
                  </a:cubicBezTo>
                  <a:cubicBezTo>
                    <a:pt x="402" y="663"/>
                    <a:pt x="411" y="663"/>
                    <a:pt x="419" y="662"/>
                  </a:cubicBezTo>
                  <a:cubicBezTo>
                    <a:pt x="417" y="682"/>
                    <a:pt x="415" y="702"/>
                    <a:pt x="414" y="721"/>
                  </a:cubicBezTo>
                  <a:moveTo>
                    <a:pt x="425" y="721"/>
                  </a:moveTo>
                  <a:cubicBezTo>
                    <a:pt x="426" y="702"/>
                    <a:pt x="428" y="682"/>
                    <a:pt x="430" y="662"/>
                  </a:cubicBezTo>
                  <a:cubicBezTo>
                    <a:pt x="437" y="662"/>
                    <a:pt x="445" y="661"/>
                    <a:pt x="452" y="660"/>
                  </a:cubicBezTo>
                  <a:cubicBezTo>
                    <a:pt x="484" y="658"/>
                    <a:pt x="518" y="650"/>
                    <a:pt x="551" y="640"/>
                  </a:cubicBezTo>
                  <a:cubicBezTo>
                    <a:pt x="548" y="662"/>
                    <a:pt x="545" y="684"/>
                    <a:pt x="542" y="706"/>
                  </a:cubicBezTo>
                  <a:cubicBezTo>
                    <a:pt x="517" y="713"/>
                    <a:pt x="492" y="718"/>
                    <a:pt x="470" y="719"/>
                  </a:cubicBezTo>
                  <a:cubicBezTo>
                    <a:pt x="455" y="721"/>
                    <a:pt x="440" y="721"/>
                    <a:pt x="425" y="721"/>
                  </a:cubicBezTo>
                  <a:moveTo>
                    <a:pt x="682" y="664"/>
                  </a:moveTo>
                  <a:cubicBezTo>
                    <a:pt x="680" y="662"/>
                    <a:pt x="678" y="661"/>
                    <a:pt x="676" y="660"/>
                  </a:cubicBezTo>
                  <a:cubicBezTo>
                    <a:pt x="677" y="650"/>
                    <a:pt x="678" y="641"/>
                    <a:pt x="679" y="633"/>
                  </a:cubicBezTo>
                  <a:cubicBezTo>
                    <a:pt x="681" y="636"/>
                    <a:pt x="683" y="639"/>
                    <a:pt x="685" y="642"/>
                  </a:cubicBezTo>
                  <a:cubicBezTo>
                    <a:pt x="684" y="649"/>
                    <a:pt x="683" y="656"/>
                    <a:pt x="682" y="664"/>
                  </a:cubicBezTo>
                  <a:moveTo>
                    <a:pt x="285" y="709"/>
                  </a:moveTo>
                  <a:cubicBezTo>
                    <a:pt x="245" y="701"/>
                    <a:pt x="205" y="689"/>
                    <a:pt x="165" y="673"/>
                  </a:cubicBezTo>
                  <a:cubicBezTo>
                    <a:pt x="166" y="655"/>
                    <a:pt x="167" y="637"/>
                    <a:pt x="168" y="620"/>
                  </a:cubicBezTo>
                  <a:cubicBezTo>
                    <a:pt x="208" y="636"/>
                    <a:pt x="248" y="647"/>
                    <a:pt x="289" y="654"/>
                  </a:cubicBezTo>
                  <a:cubicBezTo>
                    <a:pt x="288" y="672"/>
                    <a:pt x="286" y="691"/>
                    <a:pt x="285" y="709"/>
                  </a:cubicBezTo>
                  <a:moveTo>
                    <a:pt x="153" y="736"/>
                  </a:moveTo>
                  <a:cubicBezTo>
                    <a:pt x="114" y="720"/>
                    <a:pt x="73" y="700"/>
                    <a:pt x="29" y="674"/>
                  </a:cubicBezTo>
                  <a:cubicBezTo>
                    <a:pt x="29" y="665"/>
                    <a:pt x="30" y="657"/>
                    <a:pt x="30" y="648"/>
                  </a:cubicBezTo>
                  <a:cubicBezTo>
                    <a:pt x="30" y="639"/>
                    <a:pt x="30" y="628"/>
                    <a:pt x="31" y="618"/>
                  </a:cubicBezTo>
                  <a:cubicBezTo>
                    <a:pt x="72" y="644"/>
                    <a:pt x="113" y="665"/>
                    <a:pt x="154" y="682"/>
                  </a:cubicBezTo>
                  <a:cubicBezTo>
                    <a:pt x="153" y="699"/>
                    <a:pt x="153" y="718"/>
                    <a:pt x="153" y="736"/>
                  </a:cubicBezTo>
                  <a:moveTo>
                    <a:pt x="554" y="702"/>
                  </a:moveTo>
                  <a:cubicBezTo>
                    <a:pt x="557" y="680"/>
                    <a:pt x="560" y="658"/>
                    <a:pt x="563" y="636"/>
                  </a:cubicBezTo>
                  <a:cubicBezTo>
                    <a:pt x="590" y="627"/>
                    <a:pt x="615" y="618"/>
                    <a:pt x="639" y="608"/>
                  </a:cubicBezTo>
                  <a:cubicBezTo>
                    <a:pt x="637" y="630"/>
                    <a:pt x="634" y="652"/>
                    <a:pt x="632" y="675"/>
                  </a:cubicBezTo>
                  <a:cubicBezTo>
                    <a:pt x="607" y="685"/>
                    <a:pt x="580" y="694"/>
                    <a:pt x="554" y="702"/>
                  </a:cubicBezTo>
                  <a:moveTo>
                    <a:pt x="644" y="670"/>
                  </a:moveTo>
                  <a:cubicBezTo>
                    <a:pt x="646" y="647"/>
                    <a:pt x="648" y="625"/>
                    <a:pt x="650" y="603"/>
                  </a:cubicBezTo>
                  <a:cubicBezTo>
                    <a:pt x="652" y="603"/>
                    <a:pt x="654" y="602"/>
                    <a:pt x="656" y="601"/>
                  </a:cubicBezTo>
                  <a:cubicBezTo>
                    <a:pt x="659" y="603"/>
                    <a:pt x="664" y="611"/>
                    <a:pt x="669" y="618"/>
                  </a:cubicBezTo>
                  <a:cubicBezTo>
                    <a:pt x="669" y="619"/>
                    <a:pt x="669" y="619"/>
                    <a:pt x="669" y="619"/>
                  </a:cubicBezTo>
                  <a:cubicBezTo>
                    <a:pt x="668" y="631"/>
                    <a:pt x="666" y="645"/>
                    <a:pt x="665" y="662"/>
                  </a:cubicBezTo>
                  <a:cubicBezTo>
                    <a:pt x="658" y="664"/>
                    <a:pt x="651" y="667"/>
                    <a:pt x="644" y="670"/>
                  </a:cubicBezTo>
                  <a:moveTo>
                    <a:pt x="688" y="626"/>
                  </a:moveTo>
                  <a:cubicBezTo>
                    <a:pt x="685" y="622"/>
                    <a:pt x="683" y="619"/>
                    <a:pt x="681" y="616"/>
                  </a:cubicBezTo>
                  <a:cubicBezTo>
                    <a:pt x="681" y="610"/>
                    <a:pt x="682" y="604"/>
                    <a:pt x="682" y="600"/>
                  </a:cubicBezTo>
                  <a:cubicBezTo>
                    <a:pt x="685" y="603"/>
                    <a:pt x="688" y="607"/>
                    <a:pt x="690" y="610"/>
                  </a:cubicBezTo>
                  <a:cubicBezTo>
                    <a:pt x="690" y="615"/>
                    <a:pt x="689" y="620"/>
                    <a:pt x="688" y="626"/>
                  </a:cubicBezTo>
                  <a:moveTo>
                    <a:pt x="364" y="594"/>
                  </a:moveTo>
                  <a:cubicBezTo>
                    <a:pt x="385" y="594"/>
                    <a:pt x="406" y="593"/>
                    <a:pt x="427" y="590"/>
                  </a:cubicBezTo>
                  <a:cubicBezTo>
                    <a:pt x="425" y="610"/>
                    <a:pt x="422" y="630"/>
                    <a:pt x="420" y="650"/>
                  </a:cubicBezTo>
                  <a:cubicBezTo>
                    <a:pt x="412" y="651"/>
                    <a:pt x="403" y="651"/>
                    <a:pt x="394" y="651"/>
                  </a:cubicBezTo>
                  <a:cubicBezTo>
                    <a:pt x="363" y="651"/>
                    <a:pt x="332" y="649"/>
                    <a:pt x="301" y="644"/>
                  </a:cubicBezTo>
                  <a:cubicBezTo>
                    <a:pt x="302" y="626"/>
                    <a:pt x="304" y="608"/>
                    <a:pt x="305" y="591"/>
                  </a:cubicBezTo>
                  <a:cubicBezTo>
                    <a:pt x="325" y="593"/>
                    <a:pt x="345" y="594"/>
                    <a:pt x="364" y="594"/>
                  </a:cubicBezTo>
                  <a:moveTo>
                    <a:pt x="432" y="650"/>
                  </a:moveTo>
                  <a:cubicBezTo>
                    <a:pt x="434" y="630"/>
                    <a:pt x="436" y="609"/>
                    <a:pt x="438" y="589"/>
                  </a:cubicBezTo>
                  <a:cubicBezTo>
                    <a:pt x="477" y="584"/>
                    <a:pt x="519" y="574"/>
                    <a:pt x="564" y="559"/>
                  </a:cubicBezTo>
                  <a:cubicBezTo>
                    <a:pt x="563" y="563"/>
                    <a:pt x="562" y="567"/>
                    <a:pt x="562" y="570"/>
                  </a:cubicBezTo>
                  <a:cubicBezTo>
                    <a:pt x="559" y="590"/>
                    <a:pt x="556" y="608"/>
                    <a:pt x="553" y="627"/>
                  </a:cubicBezTo>
                  <a:cubicBezTo>
                    <a:pt x="519" y="637"/>
                    <a:pt x="483" y="646"/>
                    <a:pt x="451" y="649"/>
                  </a:cubicBezTo>
                  <a:cubicBezTo>
                    <a:pt x="444" y="649"/>
                    <a:pt x="438" y="650"/>
                    <a:pt x="432" y="650"/>
                  </a:cubicBezTo>
                  <a:moveTo>
                    <a:pt x="652" y="590"/>
                  </a:moveTo>
                  <a:cubicBezTo>
                    <a:pt x="653" y="579"/>
                    <a:pt x="654" y="569"/>
                    <a:pt x="656" y="559"/>
                  </a:cubicBezTo>
                  <a:cubicBezTo>
                    <a:pt x="660" y="567"/>
                    <a:pt x="666" y="576"/>
                    <a:pt x="673" y="587"/>
                  </a:cubicBezTo>
                  <a:cubicBezTo>
                    <a:pt x="672" y="590"/>
                    <a:pt x="672" y="595"/>
                    <a:pt x="671" y="601"/>
                  </a:cubicBezTo>
                  <a:cubicBezTo>
                    <a:pt x="665" y="593"/>
                    <a:pt x="661" y="589"/>
                    <a:pt x="657" y="589"/>
                  </a:cubicBezTo>
                  <a:cubicBezTo>
                    <a:pt x="656" y="589"/>
                    <a:pt x="655" y="589"/>
                    <a:pt x="654" y="589"/>
                  </a:cubicBezTo>
                  <a:cubicBezTo>
                    <a:pt x="653" y="589"/>
                    <a:pt x="653" y="590"/>
                    <a:pt x="652" y="590"/>
                  </a:cubicBezTo>
                  <a:moveTo>
                    <a:pt x="290" y="642"/>
                  </a:moveTo>
                  <a:cubicBezTo>
                    <a:pt x="249" y="635"/>
                    <a:pt x="209" y="624"/>
                    <a:pt x="169" y="608"/>
                  </a:cubicBezTo>
                  <a:cubicBezTo>
                    <a:pt x="170" y="591"/>
                    <a:pt x="171" y="574"/>
                    <a:pt x="172" y="558"/>
                  </a:cubicBezTo>
                  <a:cubicBezTo>
                    <a:pt x="213" y="573"/>
                    <a:pt x="253" y="584"/>
                    <a:pt x="294" y="589"/>
                  </a:cubicBezTo>
                  <a:cubicBezTo>
                    <a:pt x="293" y="607"/>
                    <a:pt x="291" y="624"/>
                    <a:pt x="290" y="642"/>
                  </a:cubicBezTo>
                  <a:moveTo>
                    <a:pt x="154" y="669"/>
                  </a:moveTo>
                  <a:cubicBezTo>
                    <a:pt x="114" y="652"/>
                    <a:pt x="73" y="630"/>
                    <a:pt x="31" y="604"/>
                  </a:cubicBezTo>
                  <a:cubicBezTo>
                    <a:pt x="32" y="587"/>
                    <a:pt x="32" y="570"/>
                    <a:pt x="33" y="552"/>
                  </a:cubicBezTo>
                  <a:cubicBezTo>
                    <a:pt x="75" y="578"/>
                    <a:pt x="116" y="599"/>
                    <a:pt x="157" y="616"/>
                  </a:cubicBezTo>
                  <a:cubicBezTo>
                    <a:pt x="156" y="633"/>
                    <a:pt x="155" y="651"/>
                    <a:pt x="154" y="669"/>
                  </a:cubicBezTo>
                  <a:moveTo>
                    <a:pt x="565" y="623"/>
                  </a:moveTo>
                  <a:cubicBezTo>
                    <a:pt x="569" y="600"/>
                    <a:pt x="572" y="577"/>
                    <a:pt x="576" y="555"/>
                  </a:cubicBezTo>
                  <a:cubicBezTo>
                    <a:pt x="597" y="548"/>
                    <a:pt x="618" y="540"/>
                    <a:pt x="640" y="531"/>
                  </a:cubicBezTo>
                  <a:cubicBezTo>
                    <a:pt x="642" y="533"/>
                    <a:pt x="644" y="538"/>
                    <a:pt x="647" y="543"/>
                  </a:cubicBezTo>
                  <a:cubicBezTo>
                    <a:pt x="647" y="543"/>
                    <a:pt x="647" y="543"/>
                    <a:pt x="647" y="543"/>
                  </a:cubicBezTo>
                  <a:cubicBezTo>
                    <a:pt x="645" y="559"/>
                    <a:pt x="643" y="576"/>
                    <a:pt x="641" y="595"/>
                  </a:cubicBezTo>
                  <a:cubicBezTo>
                    <a:pt x="617" y="604"/>
                    <a:pt x="591" y="614"/>
                    <a:pt x="565" y="623"/>
                  </a:cubicBezTo>
                  <a:moveTo>
                    <a:pt x="353" y="522"/>
                  </a:moveTo>
                  <a:cubicBezTo>
                    <a:pt x="373" y="522"/>
                    <a:pt x="394" y="521"/>
                    <a:pt x="415" y="519"/>
                  </a:cubicBezTo>
                  <a:cubicBezTo>
                    <a:pt x="422" y="518"/>
                    <a:pt x="429" y="517"/>
                    <a:pt x="437" y="516"/>
                  </a:cubicBezTo>
                  <a:cubicBezTo>
                    <a:pt x="436" y="520"/>
                    <a:pt x="436" y="524"/>
                    <a:pt x="435" y="529"/>
                  </a:cubicBezTo>
                  <a:cubicBezTo>
                    <a:pt x="433" y="545"/>
                    <a:pt x="431" y="562"/>
                    <a:pt x="428" y="578"/>
                  </a:cubicBezTo>
                  <a:cubicBezTo>
                    <a:pt x="407" y="581"/>
                    <a:pt x="386" y="582"/>
                    <a:pt x="365" y="582"/>
                  </a:cubicBezTo>
                  <a:cubicBezTo>
                    <a:pt x="345" y="582"/>
                    <a:pt x="326" y="581"/>
                    <a:pt x="306" y="579"/>
                  </a:cubicBezTo>
                  <a:cubicBezTo>
                    <a:pt x="307" y="576"/>
                    <a:pt x="307" y="573"/>
                    <a:pt x="307" y="570"/>
                  </a:cubicBezTo>
                  <a:cubicBezTo>
                    <a:pt x="309" y="553"/>
                    <a:pt x="311" y="537"/>
                    <a:pt x="313" y="521"/>
                  </a:cubicBezTo>
                  <a:cubicBezTo>
                    <a:pt x="326" y="522"/>
                    <a:pt x="339" y="522"/>
                    <a:pt x="353" y="522"/>
                  </a:cubicBezTo>
                  <a:moveTo>
                    <a:pt x="686" y="549"/>
                  </a:moveTo>
                  <a:cubicBezTo>
                    <a:pt x="677" y="537"/>
                    <a:pt x="669" y="525"/>
                    <a:pt x="662" y="512"/>
                  </a:cubicBezTo>
                  <a:cubicBezTo>
                    <a:pt x="662" y="509"/>
                    <a:pt x="663" y="505"/>
                    <a:pt x="663" y="502"/>
                  </a:cubicBezTo>
                  <a:cubicBezTo>
                    <a:pt x="672" y="513"/>
                    <a:pt x="681" y="525"/>
                    <a:pt x="692" y="536"/>
                  </a:cubicBezTo>
                  <a:cubicBezTo>
                    <a:pt x="690" y="540"/>
                    <a:pt x="688" y="544"/>
                    <a:pt x="686" y="549"/>
                  </a:cubicBezTo>
                  <a:moveTo>
                    <a:pt x="673" y="496"/>
                  </a:moveTo>
                  <a:cubicBezTo>
                    <a:pt x="653" y="496"/>
                    <a:pt x="653" y="496"/>
                    <a:pt x="653" y="496"/>
                  </a:cubicBezTo>
                  <a:cubicBezTo>
                    <a:pt x="653" y="496"/>
                    <a:pt x="653" y="496"/>
                    <a:pt x="653" y="497"/>
                  </a:cubicBezTo>
                  <a:cubicBezTo>
                    <a:pt x="653" y="496"/>
                    <a:pt x="653" y="496"/>
                    <a:pt x="653" y="496"/>
                  </a:cubicBezTo>
                  <a:cubicBezTo>
                    <a:pt x="640" y="496"/>
                    <a:pt x="640" y="496"/>
                    <a:pt x="640" y="496"/>
                  </a:cubicBezTo>
                  <a:cubicBezTo>
                    <a:pt x="643" y="502"/>
                    <a:pt x="647" y="509"/>
                    <a:pt x="651" y="516"/>
                  </a:cubicBezTo>
                  <a:cubicBezTo>
                    <a:pt x="650" y="518"/>
                    <a:pt x="650" y="521"/>
                    <a:pt x="649" y="524"/>
                  </a:cubicBezTo>
                  <a:cubicBezTo>
                    <a:pt x="647" y="520"/>
                    <a:pt x="644" y="518"/>
                    <a:pt x="642" y="518"/>
                  </a:cubicBezTo>
                  <a:cubicBezTo>
                    <a:pt x="641" y="518"/>
                    <a:pt x="640" y="518"/>
                    <a:pt x="639" y="518"/>
                  </a:cubicBezTo>
                  <a:cubicBezTo>
                    <a:pt x="618" y="527"/>
                    <a:pt x="598" y="535"/>
                    <a:pt x="578" y="542"/>
                  </a:cubicBezTo>
                  <a:cubicBezTo>
                    <a:pt x="581" y="526"/>
                    <a:pt x="584" y="511"/>
                    <a:pt x="587" y="496"/>
                  </a:cubicBezTo>
                  <a:cubicBezTo>
                    <a:pt x="575" y="496"/>
                    <a:pt x="575" y="496"/>
                    <a:pt x="575" y="496"/>
                  </a:cubicBezTo>
                  <a:cubicBezTo>
                    <a:pt x="572" y="512"/>
                    <a:pt x="569" y="529"/>
                    <a:pt x="566" y="546"/>
                  </a:cubicBezTo>
                  <a:cubicBezTo>
                    <a:pt x="521" y="561"/>
                    <a:pt x="479" y="571"/>
                    <a:pt x="440" y="577"/>
                  </a:cubicBezTo>
                  <a:cubicBezTo>
                    <a:pt x="442" y="561"/>
                    <a:pt x="444" y="546"/>
                    <a:pt x="446" y="530"/>
                  </a:cubicBezTo>
                  <a:cubicBezTo>
                    <a:pt x="447" y="525"/>
                    <a:pt x="448" y="519"/>
                    <a:pt x="448" y="514"/>
                  </a:cubicBezTo>
                  <a:cubicBezTo>
                    <a:pt x="473" y="509"/>
                    <a:pt x="498" y="503"/>
                    <a:pt x="524" y="496"/>
                  </a:cubicBezTo>
                  <a:cubicBezTo>
                    <a:pt x="477" y="496"/>
                    <a:pt x="477" y="496"/>
                    <a:pt x="477" y="496"/>
                  </a:cubicBezTo>
                  <a:cubicBezTo>
                    <a:pt x="468" y="498"/>
                    <a:pt x="459" y="500"/>
                    <a:pt x="450" y="501"/>
                  </a:cubicBezTo>
                  <a:cubicBezTo>
                    <a:pt x="450" y="499"/>
                    <a:pt x="451" y="497"/>
                    <a:pt x="451" y="496"/>
                  </a:cubicBezTo>
                  <a:cubicBezTo>
                    <a:pt x="440" y="496"/>
                    <a:pt x="440" y="496"/>
                    <a:pt x="440" y="496"/>
                  </a:cubicBezTo>
                  <a:cubicBezTo>
                    <a:pt x="439" y="498"/>
                    <a:pt x="439" y="501"/>
                    <a:pt x="439" y="503"/>
                  </a:cubicBezTo>
                  <a:cubicBezTo>
                    <a:pt x="430" y="505"/>
                    <a:pt x="422" y="506"/>
                    <a:pt x="413" y="507"/>
                  </a:cubicBezTo>
                  <a:cubicBezTo>
                    <a:pt x="393" y="509"/>
                    <a:pt x="373" y="510"/>
                    <a:pt x="353" y="510"/>
                  </a:cubicBezTo>
                  <a:cubicBezTo>
                    <a:pt x="340" y="510"/>
                    <a:pt x="327" y="510"/>
                    <a:pt x="314" y="509"/>
                  </a:cubicBezTo>
                  <a:cubicBezTo>
                    <a:pt x="314" y="504"/>
                    <a:pt x="315" y="500"/>
                    <a:pt x="316" y="496"/>
                  </a:cubicBezTo>
                  <a:cubicBezTo>
                    <a:pt x="304" y="496"/>
                    <a:pt x="304" y="496"/>
                    <a:pt x="304" y="496"/>
                  </a:cubicBezTo>
                  <a:cubicBezTo>
                    <a:pt x="304" y="500"/>
                    <a:pt x="303" y="504"/>
                    <a:pt x="303" y="508"/>
                  </a:cubicBezTo>
                  <a:cubicBezTo>
                    <a:pt x="279" y="506"/>
                    <a:pt x="255" y="501"/>
                    <a:pt x="231" y="496"/>
                  </a:cubicBezTo>
                  <a:cubicBezTo>
                    <a:pt x="188" y="496"/>
                    <a:pt x="188" y="496"/>
                    <a:pt x="188" y="496"/>
                  </a:cubicBezTo>
                  <a:cubicBezTo>
                    <a:pt x="226" y="508"/>
                    <a:pt x="263" y="516"/>
                    <a:pt x="301" y="520"/>
                  </a:cubicBezTo>
                  <a:cubicBezTo>
                    <a:pt x="300" y="536"/>
                    <a:pt x="298" y="552"/>
                    <a:pt x="296" y="568"/>
                  </a:cubicBezTo>
                  <a:cubicBezTo>
                    <a:pt x="296" y="571"/>
                    <a:pt x="296" y="574"/>
                    <a:pt x="295" y="577"/>
                  </a:cubicBezTo>
                  <a:cubicBezTo>
                    <a:pt x="255" y="572"/>
                    <a:pt x="214" y="561"/>
                    <a:pt x="173" y="546"/>
                  </a:cubicBezTo>
                  <a:cubicBezTo>
                    <a:pt x="175" y="528"/>
                    <a:pt x="177" y="511"/>
                    <a:pt x="178" y="496"/>
                  </a:cubicBezTo>
                  <a:cubicBezTo>
                    <a:pt x="167" y="496"/>
                    <a:pt x="167" y="496"/>
                    <a:pt x="167" y="496"/>
                  </a:cubicBezTo>
                  <a:cubicBezTo>
                    <a:pt x="166" y="510"/>
                    <a:pt x="164" y="525"/>
                    <a:pt x="163" y="541"/>
                  </a:cubicBezTo>
                  <a:cubicBezTo>
                    <a:pt x="132" y="529"/>
                    <a:pt x="101" y="514"/>
                    <a:pt x="70" y="496"/>
                  </a:cubicBezTo>
                  <a:cubicBezTo>
                    <a:pt x="47" y="496"/>
                    <a:pt x="47" y="496"/>
                    <a:pt x="47" y="496"/>
                  </a:cubicBezTo>
                  <a:cubicBezTo>
                    <a:pt x="86" y="519"/>
                    <a:pt x="124" y="539"/>
                    <a:pt x="161" y="554"/>
                  </a:cubicBezTo>
                  <a:cubicBezTo>
                    <a:pt x="160" y="570"/>
                    <a:pt x="159" y="586"/>
                    <a:pt x="158" y="603"/>
                  </a:cubicBezTo>
                  <a:cubicBezTo>
                    <a:pt x="117" y="586"/>
                    <a:pt x="76" y="565"/>
                    <a:pt x="34" y="538"/>
                  </a:cubicBezTo>
                  <a:cubicBezTo>
                    <a:pt x="35" y="524"/>
                    <a:pt x="35" y="510"/>
                    <a:pt x="36" y="496"/>
                  </a:cubicBezTo>
                  <a:cubicBezTo>
                    <a:pt x="25" y="496"/>
                    <a:pt x="25" y="496"/>
                    <a:pt x="25" y="496"/>
                  </a:cubicBezTo>
                  <a:cubicBezTo>
                    <a:pt x="24" y="507"/>
                    <a:pt x="24" y="519"/>
                    <a:pt x="23" y="531"/>
                  </a:cubicBezTo>
                  <a:cubicBezTo>
                    <a:pt x="16" y="526"/>
                    <a:pt x="8" y="521"/>
                    <a:pt x="0" y="516"/>
                  </a:cubicBezTo>
                  <a:cubicBezTo>
                    <a:pt x="0" y="530"/>
                    <a:pt x="0" y="530"/>
                    <a:pt x="0" y="530"/>
                  </a:cubicBezTo>
                  <a:cubicBezTo>
                    <a:pt x="8" y="535"/>
                    <a:pt x="15" y="540"/>
                    <a:pt x="22" y="545"/>
                  </a:cubicBezTo>
                  <a:cubicBezTo>
                    <a:pt x="22" y="563"/>
                    <a:pt x="21" y="580"/>
                    <a:pt x="20" y="598"/>
                  </a:cubicBezTo>
                  <a:cubicBezTo>
                    <a:pt x="14" y="593"/>
                    <a:pt x="7" y="589"/>
                    <a:pt x="0" y="585"/>
                  </a:cubicBezTo>
                  <a:cubicBezTo>
                    <a:pt x="0" y="599"/>
                    <a:pt x="0" y="599"/>
                    <a:pt x="0" y="599"/>
                  </a:cubicBezTo>
                  <a:cubicBezTo>
                    <a:pt x="7" y="603"/>
                    <a:pt x="13" y="607"/>
                    <a:pt x="20" y="611"/>
                  </a:cubicBezTo>
                  <a:cubicBezTo>
                    <a:pt x="19" y="624"/>
                    <a:pt x="19" y="636"/>
                    <a:pt x="19" y="648"/>
                  </a:cubicBezTo>
                  <a:cubicBezTo>
                    <a:pt x="18" y="654"/>
                    <a:pt x="18" y="661"/>
                    <a:pt x="18" y="667"/>
                  </a:cubicBezTo>
                  <a:cubicBezTo>
                    <a:pt x="12" y="664"/>
                    <a:pt x="6" y="660"/>
                    <a:pt x="0" y="656"/>
                  </a:cubicBezTo>
                  <a:cubicBezTo>
                    <a:pt x="0" y="670"/>
                    <a:pt x="0" y="670"/>
                    <a:pt x="0" y="670"/>
                  </a:cubicBezTo>
                  <a:cubicBezTo>
                    <a:pt x="6" y="674"/>
                    <a:pt x="12" y="678"/>
                    <a:pt x="18" y="681"/>
                  </a:cubicBezTo>
                  <a:cubicBezTo>
                    <a:pt x="18" y="686"/>
                    <a:pt x="18" y="691"/>
                    <a:pt x="18" y="696"/>
                  </a:cubicBezTo>
                  <a:cubicBezTo>
                    <a:pt x="18" y="711"/>
                    <a:pt x="18" y="727"/>
                    <a:pt x="19" y="742"/>
                  </a:cubicBezTo>
                  <a:cubicBezTo>
                    <a:pt x="13" y="739"/>
                    <a:pt x="7" y="735"/>
                    <a:pt x="0" y="732"/>
                  </a:cubicBezTo>
                  <a:cubicBezTo>
                    <a:pt x="0" y="745"/>
                    <a:pt x="0" y="745"/>
                    <a:pt x="0" y="745"/>
                  </a:cubicBezTo>
                  <a:cubicBezTo>
                    <a:pt x="7" y="749"/>
                    <a:pt x="13" y="753"/>
                    <a:pt x="19" y="756"/>
                  </a:cubicBezTo>
                  <a:cubicBezTo>
                    <a:pt x="19" y="777"/>
                    <a:pt x="20" y="799"/>
                    <a:pt x="21" y="821"/>
                  </a:cubicBezTo>
                  <a:cubicBezTo>
                    <a:pt x="14" y="818"/>
                    <a:pt x="7" y="814"/>
                    <a:pt x="0" y="810"/>
                  </a:cubicBezTo>
                  <a:cubicBezTo>
                    <a:pt x="0" y="824"/>
                    <a:pt x="0" y="824"/>
                    <a:pt x="0" y="824"/>
                  </a:cubicBezTo>
                  <a:cubicBezTo>
                    <a:pt x="7" y="828"/>
                    <a:pt x="14" y="831"/>
                    <a:pt x="21" y="835"/>
                  </a:cubicBezTo>
                  <a:cubicBezTo>
                    <a:pt x="22" y="858"/>
                    <a:pt x="24" y="881"/>
                    <a:pt x="25" y="904"/>
                  </a:cubicBezTo>
                  <a:cubicBezTo>
                    <a:pt x="17" y="900"/>
                    <a:pt x="9" y="896"/>
                    <a:pt x="0" y="892"/>
                  </a:cubicBezTo>
                  <a:cubicBezTo>
                    <a:pt x="0" y="905"/>
                    <a:pt x="0" y="905"/>
                    <a:pt x="0" y="905"/>
                  </a:cubicBezTo>
                  <a:cubicBezTo>
                    <a:pt x="9" y="910"/>
                    <a:pt x="17" y="914"/>
                    <a:pt x="26" y="918"/>
                  </a:cubicBezTo>
                  <a:cubicBezTo>
                    <a:pt x="27" y="942"/>
                    <a:pt x="29" y="966"/>
                    <a:pt x="31" y="991"/>
                  </a:cubicBezTo>
                  <a:cubicBezTo>
                    <a:pt x="21" y="987"/>
                    <a:pt x="11" y="982"/>
                    <a:pt x="0" y="977"/>
                  </a:cubicBezTo>
                  <a:cubicBezTo>
                    <a:pt x="0" y="990"/>
                    <a:pt x="0" y="990"/>
                    <a:pt x="0" y="990"/>
                  </a:cubicBezTo>
                  <a:cubicBezTo>
                    <a:pt x="2" y="991"/>
                    <a:pt x="4" y="992"/>
                    <a:pt x="6" y="993"/>
                  </a:cubicBezTo>
                  <a:cubicBezTo>
                    <a:pt x="42" y="993"/>
                    <a:pt x="42" y="993"/>
                    <a:pt x="42" y="993"/>
                  </a:cubicBezTo>
                  <a:cubicBezTo>
                    <a:pt x="41" y="970"/>
                    <a:pt x="39" y="946"/>
                    <a:pt x="37" y="923"/>
                  </a:cubicBezTo>
                  <a:cubicBezTo>
                    <a:pt x="79" y="942"/>
                    <a:pt x="118" y="957"/>
                    <a:pt x="156" y="969"/>
                  </a:cubicBezTo>
                  <a:cubicBezTo>
                    <a:pt x="157" y="977"/>
                    <a:pt x="157" y="985"/>
                    <a:pt x="158" y="993"/>
                  </a:cubicBezTo>
                  <a:cubicBezTo>
                    <a:pt x="169" y="993"/>
                    <a:pt x="169" y="993"/>
                    <a:pt x="169" y="993"/>
                  </a:cubicBezTo>
                  <a:cubicBezTo>
                    <a:pt x="168" y="986"/>
                    <a:pt x="168" y="980"/>
                    <a:pt x="168" y="973"/>
                  </a:cubicBezTo>
                  <a:cubicBezTo>
                    <a:pt x="194" y="981"/>
                    <a:pt x="219" y="988"/>
                    <a:pt x="244" y="993"/>
                  </a:cubicBezTo>
                  <a:cubicBezTo>
                    <a:pt x="310" y="993"/>
                    <a:pt x="310" y="993"/>
                    <a:pt x="310" y="993"/>
                  </a:cubicBezTo>
                  <a:cubicBezTo>
                    <a:pt x="305" y="992"/>
                    <a:pt x="299" y="991"/>
                    <a:pt x="293" y="990"/>
                  </a:cubicBezTo>
                  <a:cubicBezTo>
                    <a:pt x="293" y="985"/>
                    <a:pt x="293" y="979"/>
                    <a:pt x="292" y="973"/>
                  </a:cubicBezTo>
                  <a:cubicBezTo>
                    <a:pt x="292" y="959"/>
                    <a:pt x="292" y="945"/>
                    <a:pt x="291" y="931"/>
                  </a:cubicBezTo>
                  <a:cubicBezTo>
                    <a:pt x="331" y="938"/>
                    <a:pt x="368" y="942"/>
                    <a:pt x="404" y="944"/>
                  </a:cubicBezTo>
                  <a:cubicBezTo>
                    <a:pt x="405" y="961"/>
                    <a:pt x="405" y="977"/>
                    <a:pt x="406" y="993"/>
                  </a:cubicBezTo>
                  <a:cubicBezTo>
                    <a:pt x="417" y="993"/>
                    <a:pt x="417" y="993"/>
                    <a:pt x="417" y="993"/>
                  </a:cubicBezTo>
                  <a:cubicBezTo>
                    <a:pt x="417" y="980"/>
                    <a:pt x="417" y="967"/>
                    <a:pt x="417" y="952"/>
                  </a:cubicBezTo>
                  <a:cubicBezTo>
                    <a:pt x="445" y="953"/>
                    <a:pt x="473" y="958"/>
                    <a:pt x="500" y="958"/>
                  </a:cubicBezTo>
                  <a:cubicBezTo>
                    <a:pt x="510" y="958"/>
                    <a:pt x="519" y="957"/>
                    <a:pt x="528" y="956"/>
                  </a:cubicBezTo>
                  <a:cubicBezTo>
                    <a:pt x="528" y="956"/>
                    <a:pt x="528" y="956"/>
                    <a:pt x="528" y="956"/>
                  </a:cubicBezTo>
                  <a:cubicBezTo>
                    <a:pt x="529" y="971"/>
                    <a:pt x="529" y="982"/>
                    <a:pt x="529" y="993"/>
                  </a:cubicBezTo>
                  <a:cubicBezTo>
                    <a:pt x="540" y="993"/>
                    <a:pt x="540" y="993"/>
                    <a:pt x="540" y="993"/>
                  </a:cubicBezTo>
                  <a:cubicBezTo>
                    <a:pt x="539" y="977"/>
                    <a:pt x="538" y="960"/>
                    <a:pt x="538" y="943"/>
                  </a:cubicBezTo>
                  <a:cubicBezTo>
                    <a:pt x="563" y="940"/>
                    <a:pt x="595" y="930"/>
                    <a:pt x="634" y="916"/>
                  </a:cubicBezTo>
                  <a:cubicBezTo>
                    <a:pt x="637" y="937"/>
                    <a:pt x="639" y="957"/>
                    <a:pt x="641" y="977"/>
                  </a:cubicBezTo>
                  <a:cubicBezTo>
                    <a:pt x="625" y="983"/>
                    <a:pt x="609" y="989"/>
                    <a:pt x="594" y="993"/>
                  </a:cubicBezTo>
                  <a:cubicBezTo>
                    <a:pt x="635" y="993"/>
                    <a:pt x="635" y="993"/>
                    <a:pt x="635" y="993"/>
                  </a:cubicBezTo>
                  <a:cubicBezTo>
                    <a:pt x="638" y="992"/>
                    <a:pt x="640" y="991"/>
                    <a:pt x="643" y="990"/>
                  </a:cubicBezTo>
                  <a:cubicBezTo>
                    <a:pt x="643" y="991"/>
                    <a:pt x="643" y="992"/>
                    <a:pt x="643" y="993"/>
                  </a:cubicBezTo>
                  <a:cubicBezTo>
                    <a:pt x="654" y="993"/>
                    <a:pt x="654" y="993"/>
                    <a:pt x="654" y="993"/>
                  </a:cubicBezTo>
                  <a:cubicBezTo>
                    <a:pt x="654" y="991"/>
                    <a:pt x="654" y="988"/>
                    <a:pt x="653" y="986"/>
                  </a:cubicBezTo>
                  <a:cubicBezTo>
                    <a:pt x="657" y="984"/>
                    <a:pt x="660" y="983"/>
                    <a:pt x="664" y="982"/>
                  </a:cubicBezTo>
                  <a:cubicBezTo>
                    <a:pt x="664" y="986"/>
                    <a:pt x="665" y="989"/>
                    <a:pt x="665" y="993"/>
                  </a:cubicBezTo>
                  <a:cubicBezTo>
                    <a:pt x="676" y="993"/>
                    <a:pt x="676" y="993"/>
                    <a:pt x="676" y="993"/>
                  </a:cubicBezTo>
                  <a:cubicBezTo>
                    <a:pt x="676" y="988"/>
                    <a:pt x="675" y="983"/>
                    <a:pt x="675" y="978"/>
                  </a:cubicBezTo>
                  <a:cubicBezTo>
                    <a:pt x="678" y="976"/>
                    <a:pt x="682" y="975"/>
                    <a:pt x="686" y="973"/>
                  </a:cubicBezTo>
                  <a:cubicBezTo>
                    <a:pt x="687" y="980"/>
                    <a:pt x="689" y="986"/>
                    <a:pt x="690" y="993"/>
                  </a:cubicBezTo>
                  <a:cubicBezTo>
                    <a:pt x="697" y="993"/>
                    <a:pt x="697" y="993"/>
                    <a:pt x="697" y="993"/>
                  </a:cubicBezTo>
                  <a:cubicBezTo>
                    <a:pt x="697" y="969"/>
                    <a:pt x="697" y="969"/>
                    <a:pt x="697" y="969"/>
                  </a:cubicBezTo>
                  <a:cubicBezTo>
                    <a:pt x="697" y="969"/>
                    <a:pt x="697" y="969"/>
                    <a:pt x="697" y="969"/>
                  </a:cubicBezTo>
                  <a:cubicBezTo>
                    <a:pt x="697" y="969"/>
                    <a:pt x="697" y="969"/>
                    <a:pt x="697" y="969"/>
                  </a:cubicBezTo>
                  <a:cubicBezTo>
                    <a:pt x="697" y="956"/>
                    <a:pt x="697" y="956"/>
                    <a:pt x="697" y="956"/>
                  </a:cubicBezTo>
                  <a:cubicBezTo>
                    <a:pt x="696" y="956"/>
                    <a:pt x="695" y="956"/>
                    <a:pt x="695" y="957"/>
                  </a:cubicBezTo>
                  <a:cubicBezTo>
                    <a:pt x="691" y="936"/>
                    <a:pt x="689" y="916"/>
                    <a:pt x="687" y="896"/>
                  </a:cubicBezTo>
                  <a:cubicBezTo>
                    <a:pt x="690" y="895"/>
                    <a:pt x="694" y="893"/>
                    <a:pt x="697" y="892"/>
                  </a:cubicBezTo>
                  <a:cubicBezTo>
                    <a:pt x="697" y="879"/>
                    <a:pt x="697" y="879"/>
                    <a:pt x="697" y="879"/>
                  </a:cubicBezTo>
                  <a:cubicBezTo>
                    <a:pt x="693" y="881"/>
                    <a:pt x="690" y="882"/>
                    <a:pt x="686" y="883"/>
                  </a:cubicBezTo>
                  <a:cubicBezTo>
                    <a:pt x="684" y="862"/>
                    <a:pt x="684" y="841"/>
                    <a:pt x="683" y="820"/>
                  </a:cubicBezTo>
                  <a:cubicBezTo>
                    <a:pt x="688" y="819"/>
                    <a:pt x="692" y="817"/>
                    <a:pt x="697" y="815"/>
                  </a:cubicBezTo>
                  <a:cubicBezTo>
                    <a:pt x="697" y="802"/>
                    <a:pt x="697" y="802"/>
                    <a:pt x="697" y="802"/>
                  </a:cubicBezTo>
                  <a:cubicBezTo>
                    <a:pt x="692" y="804"/>
                    <a:pt x="688" y="806"/>
                    <a:pt x="683" y="808"/>
                  </a:cubicBezTo>
                  <a:cubicBezTo>
                    <a:pt x="683" y="785"/>
                    <a:pt x="684" y="763"/>
                    <a:pt x="685" y="743"/>
                  </a:cubicBezTo>
                  <a:cubicBezTo>
                    <a:pt x="686" y="743"/>
                    <a:pt x="687" y="742"/>
                    <a:pt x="687" y="742"/>
                  </a:cubicBezTo>
                  <a:cubicBezTo>
                    <a:pt x="687" y="742"/>
                    <a:pt x="688" y="742"/>
                    <a:pt x="688" y="742"/>
                  </a:cubicBezTo>
                  <a:cubicBezTo>
                    <a:pt x="690" y="742"/>
                    <a:pt x="693" y="744"/>
                    <a:pt x="697" y="748"/>
                  </a:cubicBezTo>
                  <a:cubicBezTo>
                    <a:pt x="697" y="733"/>
                    <a:pt x="697" y="733"/>
                    <a:pt x="697" y="733"/>
                  </a:cubicBezTo>
                  <a:cubicBezTo>
                    <a:pt x="694" y="731"/>
                    <a:pt x="691" y="730"/>
                    <a:pt x="688" y="730"/>
                  </a:cubicBezTo>
                  <a:cubicBezTo>
                    <a:pt x="687" y="730"/>
                    <a:pt x="687" y="730"/>
                    <a:pt x="686" y="730"/>
                  </a:cubicBezTo>
                  <a:cubicBezTo>
                    <a:pt x="687" y="716"/>
                    <a:pt x="689" y="703"/>
                    <a:pt x="690" y="691"/>
                  </a:cubicBezTo>
                  <a:cubicBezTo>
                    <a:pt x="690" y="691"/>
                    <a:pt x="691" y="692"/>
                    <a:pt x="691" y="692"/>
                  </a:cubicBezTo>
                  <a:cubicBezTo>
                    <a:pt x="693" y="694"/>
                    <a:pt x="695" y="697"/>
                    <a:pt x="697" y="699"/>
                  </a:cubicBezTo>
                  <a:cubicBezTo>
                    <a:pt x="697" y="681"/>
                    <a:pt x="697" y="681"/>
                    <a:pt x="697" y="681"/>
                  </a:cubicBezTo>
                  <a:cubicBezTo>
                    <a:pt x="695" y="679"/>
                    <a:pt x="693" y="677"/>
                    <a:pt x="692" y="675"/>
                  </a:cubicBezTo>
                  <a:cubicBezTo>
                    <a:pt x="693" y="668"/>
                    <a:pt x="694" y="661"/>
                    <a:pt x="695" y="655"/>
                  </a:cubicBezTo>
                  <a:cubicBezTo>
                    <a:pt x="695" y="656"/>
                    <a:pt x="696" y="657"/>
                    <a:pt x="697" y="658"/>
                  </a:cubicBezTo>
                  <a:cubicBezTo>
                    <a:pt x="697" y="580"/>
                    <a:pt x="697" y="580"/>
                    <a:pt x="697" y="580"/>
                  </a:cubicBezTo>
                  <a:cubicBezTo>
                    <a:pt x="696" y="583"/>
                    <a:pt x="695" y="589"/>
                    <a:pt x="693" y="596"/>
                  </a:cubicBezTo>
                  <a:cubicBezTo>
                    <a:pt x="690" y="592"/>
                    <a:pt x="687" y="588"/>
                    <a:pt x="685" y="584"/>
                  </a:cubicBezTo>
                  <a:cubicBezTo>
                    <a:pt x="685" y="583"/>
                    <a:pt x="685" y="583"/>
                    <a:pt x="685" y="583"/>
                  </a:cubicBezTo>
                  <a:cubicBezTo>
                    <a:pt x="684" y="583"/>
                    <a:pt x="684" y="583"/>
                    <a:pt x="684" y="583"/>
                  </a:cubicBezTo>
                  <a:cubicBezTo>
                    <a:pt x="673" y="566"/>
                    <a:pt x="664" y="551"/>
                    <a:pt x="658" y="540"/>
                  </a:cubicBezTo>
                  <a:cubicBezTo>
                    <a:pt x="659" y="536"/>
                    <a:pt x="659" y="533"/>
                    <a:pt x="659" y="530"/>
                  </a:cubicBezTo>
                  <a:cubicBezTo>
                    <a:pt x="671" y="549"/>
                    <a:pt x="684" y="565"/>
                    <a:pt x="697" y="579"/>
                  </a:cubicBezTo>
                  <a:cubicBezTo>
                    <a:pt x="697" y="562"/>
                    <a:pt x="697" y="562"/>
                    <a:pt x="697" y="562"/>
                  </a:cubicBezTo>
                  <a:cubicBezTo>
                    <a:pt x="696" y="561"/>
                    <a:pt x="695" y="560"/>
                    <a:pt x="693" y="558"/>
                  </a:cubicBezTo>
                  <a:cubicBezTo>
                    <a:pt x="695" y="556"/>
                    <a:pt x="696" y="554"/>
                    <a:pt x="697" y="552"/>
                  </a:cubicBezTo>
                  <a:cubicBezTo>
                    <a:pt x="697" y="524"/>
                    <a:pt x="697" y="524"/>
                    <a:pt x="697" y="524"/>
                  </a:cubicBezTo>
                  <a:cubicBezTo>
                    <a:pt x="688" y="515"/>
                    <a:pt x="680" y="505"/>
                    <a:pt x="673" y="496"/>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79" name="Freeform 685"/>
            <p:cNvSpPr>
              <a:spLocks noEditPoints="1"/>
            </p:cNvSpPr>
            <p:nvPr/>
          </p:nvSpPr>
          <p:spPr bwMode="auto">
            <a:xfrm>
              <a:off x="1653" y="2090"/>
              <a:ext cx="1290" cy="918"/>
            </a:xfrm>
            <a:custGeom>
              <a:avLst/>
              <a:gdLst>
                <a:gd name="T0" fmla="*/ 1289 w 2092"/>
                <a:gd name="T1" fmla="*/ 453 h 1489"/>
                <a:gd name="T2" fmla="*/ 1351 w 2092"/>
                <a:gd name="T3" fmla="*/ 422 h 1489"/>
                <a:gd name="T4" fmla="*/ 1169 w 2092"/>
                <a:gd name="T5" fmla="*/ 397 h 1489"/>
                <a:gd name="T6" fmla="*/ 1316 w 2092"/>
                <a:gd name="T7" fmla="*/ 374 h 1489"/>
                <a:gd name="T8" fmla="*/ 1198 w 2092"/>
                <a:gd name="T9" fmla="*/ 476 h 1489"/>
                <a:gd name="T10" fmla="*/ 1395 w 2092"/>
                <a:gd name="T11" fmla="*/ 414 h 1489"/>
                <a:gd name="T12" fmla="*/ 388 w 2092"/>
                <a:gd name="T13" fmla="*/ 1373 h 1489"/>
                <a:gd name="T14" fmla="*/ 507 w 2092"/>
                <a:gd name="T15" fmla="*/ 1401 h 1489"/>
                <a:gd name="T16" fmla="*/ 385 w 2092"/>
                <a:gd name="T17" fmla="*/ 1362 h 1489"/>
                <a:gd name="T18" fmla="*/ 645 w 2092"/>
                <a:gd name="T19" fmla="*/ 1283 h 1489"/>
                <a:gd name="T20" fmla="*/ 278 w 2092"/>
                <a:gd name="T21" fmla="*/ 1296 h 1489"/>
                <a:gd name="T22" fmla="*/ 94 w 2092"/>
                <a:gd name="T23" fmla="*/ 1223 h 1489"/>
                <a:gd name="T24" fmla="*/ 537 w 2092"/>
                <a:gd name="T25" fmla="*/ 1208 h 1489"/>
                <a:gd name="T26" fmla="*/ 429 w 2092"/>
                <a:gd name="T27" fmla="*/ 1142 h 1489"/>
                <a:gd name="T28" fmla="*/ 230 w 2092"/>
                <a:gd name="T29" fmla="*/ 1066 h 1489"/>
                <a:gd name="T30" fmla="*/ 332 w 2092"/>
                <a:gd name="T31" fmla="*/ 1050 h 1489"/>
                <a:gd name="T32" fmla="*/ 20 w 2092"/>
                <a:gd name="T33" fmla="*/ 1222 h 1489"/>
                <a:gd name="T34" fmla="*/ 501 w 2092"/>
                <a:gd name="T35" fmla="*/ 1489 h 1489"/>
                <a:gd name="T36" fmla="*/ 697 w 2092"/>
                <a:gd name="T37" fmla="*/ 1235 h 1489"/>
                <a:gd name="T38" fmla="*/ 1500 w 2092"/>
                <a:gd name="T39" fmla="*/ 1020 h 1489"/>
                <a:gd name="T40" fmla="*/ 2005 w 2092"/>
                <a:gd name="T41" fmla="*/ 1397 h 1489"/>
                <a:gd name="T42" fmla="*/ 2009 w 2092"/>
                <a:gd name="T43" fmla="*/ 1346 h 1489"/>
                <a:gd name="T44" fmla="*/ 1868 w 2092"/>
                <a:gd name="T45" fmla="*/ 1213 h 1489"/>
                <a:gd name="T46" fmla="*/ 1882 w 2092"/>
                <a:gd name="T47" fmla="*/ 1144 h 1489"/>
                <a:gd name="T48" fmla="*/ 2010 w 2092"/>
                <a:gd name="T49" fmla="*/ 1067 h 1489"/>
                <a:gd name="T50" fmla="*/ 1852 w 2092"/>
                <a:gd name="T51" fmla="*/ 1068 h 1489"/>
                <a:gd name="T52" fmla="*/ 1683 w 2092"/>
                <a:gd name="T53" fmla="*/ 1040 h 1489"/>
                <a:gd name="T54" fmla="*/ 1832 w 2092"/>
                <a:gd name="T55" fmla="*/ 1003 h 1489"/>
                <a:gd name="T56" fmla="*/ 1931 w 2092"/>
                <a:gd name="T57" fmla="*/ 1321 h 1489"/>
                <a:gd name="T58" fmla="*/ 2010 w 2092"/>
                <a:gd name="T59" fmla="*/ 1222 h 1489"/>
                <a:gd name="T60" fmla="*/ 1267 w 2092"/>
                <a:gd name="T61" fmla="*/ 960 h 1489"/>
                <a:gd name="T62" fmla="*/ 821 w 2092"/>
                <a:gd name="T63" fmla="*/ 986 h 1489"/>
                <a:gd name="T64" fmla="*/ 1163 w 2092"/>
                <a:gd name="T65" fmla="*/ 847 h 1489"/>
                <a:gd name="T66" fmla="*/ 1043 w 2092"/>
                <a:gd name="T67" fmla="*/ 844 h 1489"/>
                <a:gd name="T68" fmla="*/ 1308 w 2092"/>
                <a:gd name="T69" fmla="*/ 892 h 1489"/>
                <a:gd name="T70" fmla="*/ 991 w 2092"/>
                <a:gd name="T71" fmla="*/ 821 h 1489"/>
                <a:gd name="T72" fmla="*/ 970 w 2092"/>
                <a:gd name="T73" fmla="*/ 773 h 1489"/>
                <a:gd name="T74" fmla="*/ 1153 w 2092"/>
                <a:gd name="T75" fmla="*/ 695 h 1489"/>
                <a:gd name="T76" fmla="*/ 1093 w 2092"/>
                <a:gd name="T77" fmla="*/ 709 h 1489"/>
                <a:gd name="T78" fmla="*/ 1201 w 2092"/>
                <a:gd name="T79" fmla="*/ 620 h 1489"/>
                <a:gd name="T80" fmla="*/ 1316 w 2092"/>
                <a:gd name="T81" fmla="*/ 627 h 1489"/>
                <a:gd name="T82" fmla="*/ 1200 w 2092"/>
                <a:gd name="T83" fmla="*/ 608 h 1489"/>
                <a:gd name="T84" fmla="*/ 922 w 2092"/>
                <a:gd name="T85" fmla="*/ 545 h 1489"/>
                <a:gd name="T86" fmla="*/ 1060 w 2092"/>
                <a:gd name="T87" fmla="*/ 532 h 1489"/>
                <a:gd name="T88" fmla="*/ 718 w 2092"/>
                <a:gd name="T89" fmla="*/ 734 h 1489"/>
                <a:gd name="T90" fmla="*/ 920 w 2092"/>
                <a:gd name="T91" fmla="*/ 993 h 1489"/>
                <a:gd name="T92" fmla="*/ 1349 w 2092"/>
                <a:gd name="T93" fmla="*/ 970 h 1489"/>
                <a:gd name="T94" fmla="*/ 1362 w 2092"/>
                <a:gd name="T95" fmla="*/ 822 h 1489"/>
                <a:gd name="T96" fmla="*/ 1893 w 2092"/>
                <a:gd name="T97" fmla="*/ 408 h 1489"/>
                <a:gd name="T98" fmla="*/ 1750 w 2092"/>
                <a:gd name="T99" fmla="*/ 424 h 1489"/>
                <a:gd name="T100" fmla="*/ 1828 w 2092"/>
                <a:gd name="T101" fmla="*/ 404 h 1489"/>
                <a:gd name="T102" fmla="*/ 1697 w 2092"/>
                <a:gd name="T103" fmla="*/ 279 h 1489"/>
                <a:gd name="T104" fmla="*/ 2016 w 2092"/>
                <a:gd name="T105" fmla="*/ 312 h 1489"/>
                <a:gd name="T106" fmla="*/ 1486 w 2092"/>
                <a:gd name="T107" fmla="*/ 164 h 1489"/>
                <a:gd name="T108" fmla="*/ 1915 w 2092"/>
                <a:gd name="T109" fmla="*/ 208 h 1489"/>
                <a:gd name="T110" fmla="*/ 2039 w 2092"/>
                <a:gd name="T111" fmla="*/ 49 h 1489"/>
                <a:gd name="T112" fmla="*/ 1933 w 2092"/>
                <a:gd name="T113" fmla="*/ 34 h 1489"/>
                <a:gd name="T114" fmla="*/ 1837 w 2092"/>
                <a:gd name="T115" fmla="*/ 0 h 1489"/>
                <a:gd name="T116" fmla="*/ 1416 w 2092"/>
                <a:gd name="T117" fmla="*/ 362 h 1489"/>
                <a:gd name="T118" fmla="*/ 1495 w 2092"/>
                <a:gd name="T119" fmla="*/ 496 h 1489"/>
                <a:gd name="T120" fmla="*/ 1824 w 2092"/>
                <a:gd name="T121" fmla="*/ 496 h 1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92" h="1489">
                  <a:moveTo>
                    <a:pt x="1201" y="490"/>
                  </a:moveTo>
                  <a:cubicBezTo>
                    <a:pt x="1205" y="485"/>
                    <a:pt x="1209" y="480"/>
                    <a:pt x="1213" y="473"/>
                  </a:cubicBezTo>
                  <a:cubicBezTo>
                    <a:pt x="1232" y="471"/>
                    <a:pt x="1251" y="468"/>
                    <a:pt x="1271" y="467"/>
                  </a:cubicBezTo>
                  <a:cubicBezTo>
                    <a:pt x="1270" y="471"/>
                    <a:pt x="1268" y="475"/>
                    <a:pt x="1267" y="478"/>
                  </a:cubicBezTo>
                  <a:cubicBezTo>
                    <a:pt x="1245" y="481"/>
                    <a:pt x="1223" y="485"/>
                    <a:pt x="1201" y="490"/>
                  </a:cubicBezTo>
                  <a:moveTo>
                    <a:pt x="1280" y="476"/>
                  </a:moveTo>
                  <a:cubicBezTo>
                    <a:pt x="1281" y="473"/>
                    <a:pt x="1282" y="470"/>
                    <a:pt x="1284" y="466"/>
                  </a:cubicBezTo>
                  <a:cubicBezTo>
                    <a:pt x="1303" y="464"/>
                    <a:pt x="1323" y="463"/>
                    <a:pt x="1343" y="463"/>
                  </a:cubicBezTo>
                  <a:cubicBezTo>
                    <a:pt x="1342" y="466"/>
                    <a:pt x="1342" y="469"/>
                    <a:pt x="1342" y="471"/>
                  </a:cubicBezTo>
                  <a:cubicBezTo>
                    <a:pt x="1321" y="472"/>
                    <a:pt x="1301" y="474"/>
                    <a:pt x="1280" y="476"/>
                  </a:cubicBezTo>
                  <a:moveTo>
                    <a:pt x="1098" y="484"/>
                  </a:moveTo>
                  <a:cubicBezTo>
                    <a:pt x="1103" y="476"/>
                    <a:pt x="1109" y="468"/>
                    <a:pt x="1114" y="459"/>
                  </a:cubicBezTo>
                  <a:cubicBezTo>
                    <a:pt x="1129" y="456"/>
                    <a:pt x="1144" y="453"/>
                    <a:pt x="1160" y="450"/>
                  </a:cubicBezTo>
                  <a:cubicBezTo>
                    <a:pt x="1155" y="458"/>
                    <a:pt x="1149" y="466"/>
                    <a:pt x="1144" y="473"/>
                  </a:cubicBezTo>
                  <a:cubicBezTo>
                    <a:pt x="1128" y="476"/>
                    <a:pt x="1113" y="480"/>
                    <a:pt x="1098" y="484"/>
                  </a:cubicBezTo>
                  <a:moveTo>
                    <a:pt x="1161" y="470"/>
                  </a:moveTo>
                  <a:cubicBezTo>
                    <a:pt x="1166" y="463"/>
                    <a:pt x="1171" y="455"/>
                    <a:pt x="1175" y="447"/>
                  </a:cubicBezTo>
                  <a:cubicBezTo>
                    <a:pt x="1190" y="445"/>
                    <a:pt x="1205" y="443"/>
                    <a:pt x="1220" y="441"/>
                  </a:cubicBezTo>
                  <a:cubicBezTo>
                    <a:pt x="1216" y="449"/>
                    <a:pt x="1211" y="456"/>
                    <a:pt x="1207" y="462"/>
                  </a:cubicBezTo>
                  <a:cubicBezTo>
                    <a:pt x="1191" y="464"/>
                    <a:pt x="1176" y="467"/>
                    <a:pt x="1161" y="470"/>
                  </a:cubicBezTo>
                  <a:moveTo>
                    <a:pt x="1222" y="460"/>
                  </a:moveTo>
                  <a:cubicBezTo>
                    <a:pt x="1226" y="454"/>
                    <a:pt x="1230" y="447"/>
                    <a:pt x="1235" y="440"/>
                  </a:cubicBezTo>
                  <a:cubicBezTo>
                    <a:pt x="1251" y="438"/>
                    <a:pt x="1267" y="437"/>
                    <a:pt x="1284" y="436"/>
                  </a:cubicBezTo>
                  <a:cubicBezTo>
                    <a:pt x="1281" y="442"/>
                    <a:pt x="1279" y="449"/>
                    <a:pt x="1276" y="454"/>
                  </a:cubicBezTo>
                  <a:cubicBezTo>
                    <a:pt x="1258" y="456"/>
                    <a:pt x="1239" y="458"/>
                    <a:pt x="1222" y="460"/>
                  </a:cubicBezTo>
                  <a:moveTo>
                    <a:pt x="1289" y="453"/>
                  </a:moveTo>
                  <a:cubicBezTo>
                    <a:pt x="1291" y="448"/>
                    <a:pt x="1294" y="441"/>
                    <a:pt x="1297" y="435"/>
                  </a:cubicBezTo>
                  <a:cubicBezTo>
                    <a:pt x="1314" y="434"/>
                    <a:pt x="1331" y="434"/>
                    <a:pt x="1348" y="434"/>
                  </a:cubicBezTo>
                  <a:cubicBezTo>
                    <a:pt x="1347" y="440"/>
                    <a:pt x="1345" y="446"/>
                    <a:pt x="1345" y="451"/>
                  </a:cubicBezTo>
                  <a:cubicBezTo>
                    <a:pt x="1326" y="451"/>
                    <a:pt x="1307" y="452"/>
                    <a:pt x="1289" y="453"/>
                  </a:cubicBezTo>
                  <a:moveTo>
                    <a:pt x="987" y="483"/>
                  </a:moveTo>
                  <a:cubicBezTo>
                    <a:pt x="997" y="468"/>
                    <a:pt x="1006" y="453"/>
                    <a:pt x="1014" y="439"/>
                  </a:cubicBezTo>
                  <a:cubicBezTo>
                    <a:pt x="1028" y="437"/>
                    <a:pt x="1044" y="434"/>
                    <a:pt x="1061" y="432"/>
                  </a:cubicBezTo>
                  <a:cubicBezTo>
                    <a:pt x="1055" y="443"/>
                    <a:pt x="1049" y="454"/>
                    <a:pt x="1042" y="465"/>
                  </a:cubicBezTo>
                  <a:cubicBezTo>
                    <a:pt x="1022" y="471"/>
                    <a:pt x="1003" y="477"/>
                    <a:pt x="987" y="483"/>
                  </a:cubicBezTo>
                  <a:moveTo>
                    <a:pt x="1058" y="460"/>
                  </a:moveTo>
                  <a:cubicBezTo>
                    <a:pt x="1064" y="450"/>
                    <a:pt x="1070" y="440"/>
                    <a:pt x="1075" y="430"/>
                  </a:cubicBezTo>
                  <a:cubicBezTo>
                    <a:pt x="1089" y="428"/>
                    <a:pt x="1105" y="427"/>
                    <a:pt x="1121" y="425"/>
                  </a:cubicBezTo>
                  <a:cubicBezTo>
                    <a:pt x="1117" y="433"/>
                    <a:pt x="1112" y="441"/>
                    <a:pt x="1108" y="448"/>
                  </a:cubicBezTo>
                  <a:cubicBezTo>
                    <a:pt x="1090" y="452"/>
                    <a:pt x="1074" y="456"/>
                    <a:pt x="1058" y="460"/>
                  </a:cubicBezTo>
                  <a:moveTo>
                    <a:pt x="1123" y="445"/>
                  </a:moveTo>
                  <a:cubicBezTo>
                    <a:pt x="1127" y="438"/>
                    <a:pt x="1131" y="431"/>
                    <a:pt x="1134" y="423"/>
                  </a:cubicBezTo>
                  <a:cubicBezTo>
                    <a:pt x="1149" y="422"/>
                    <a:pt x="1164" y="421"/>
                    <a:pt x="1179" y="419"/>
                  </a:cubicBezTo>
                  <a:cubicBezTo>
                    <a:pt x="1176" y="425"/>
                    <a:pt x="1172" y="431"/>
                    <a:pt x="1169" y="436"/>
                  </a:cubicBezTo>
                  <a:cubicBezTo>
                    <a:pt x="1153" y="439"/>
                    <a:pt x="1138" y="442"/>
                    <a:pt x="1123" y="445"/>
                  </a:cubicBezTo>
                  <a:moveTo>
                    <a:pt x="1184" y="434"/>
                  </a:moveTo>
                  <a:cubicBezTo>
                    <a:pt x="1187" y="429"/>
                    <a:pt x="1190" y="424"/>
                    <a:pt x="1193" y="418"/>
                  </a:cubicBezTo>
                  <a:cubicBezTo>
                    <a:pt x="1207" y="417"/>
                    <a:pt x="1221" y="416"/>
                    <a:pt x="1236" y="416"/>
                  </a:cubicBezTo>
                  <a:cubicBezTo>
                    <a:pt x="1234" y="420"/>
                    <a:pt x="1231" y="424"/>
                    <a:pt x="1228" y="428"/>
                  </a:cubicBezTo>
                  <a:cubicBezTo>
                    <a:pt x="1213" y="430"/>
                    <a:pt x="1198" y="432"/>
                    <a:pt x="1184" y="434"/>
                  </a:cubicBezTo>
                  <a:moveTo>
                    <a:pt x="1243" y="427"/>
                  </a:moveTo>
                  <a:cubicBezTo>
                    <a:pt x="1245" y="423"/>
                    <a:pt x="1247" y="419"/>
                    <a:pt x="1250" y="415"/>
                  </a:cubicBezTo>
                  <a:cubicBezTo>
                    <a:pt x="1264" y="414"/>
                    <a:pt x="1279" y="414"/>
                    <a:pt x="1295" y="413"/>
                  </a:cubicBezTo>
                  <a:cubicBezTo>
                    <a:pt x="1293" y="417"/>
                    <a:pt x="1291" y="420"/>
                    <a:pt x="1290" y="423"/>
                  </a:cubicBezTo>
                  <a:cubicBezTo>
                    <a:pt x="1274" y="424"/>
                    <a:pt x="1258" y="425"/>
                    <a:pt x="1243" y="427"/>
                  </a:cubicBezTo>
                  <a:moveTo>
                    <a:pt x="1303" y="423"/>
                  </a:moveTo>
                  <a:cubicBezTo>
                    <a:pt x="1304" y="420"/>
                    <a:pt x="1306" y="416"/>
                    <a:pt x="1307" y="413"/>
                  </a:cubicBezTo>
                  <a:cubicBezTo>
                    <a:pt x="1317" y="413"/>
                    <a:pt x="1326" y="413"/>
                    <a:pt x="1336" y="413"/>
                  </a:cubicBezTo>
                  <a:cubicBezTo>
                    <a:pt x="1342" y="413"/>
                    <a:pt x="1348" y="413"/>
                    <a:pt x="1354" y="413"/>
                  </a:cubicBezTo>
                  <a:cubicBezTo>
                    <a:pt x="1353" y="416"/>
                    <a:pt x="1352" y="419"/>
                    <a:pt x="1351" y="422"/>
                  </a:cubicBezTo>
                  <a:cubicBezTo>
                    <a:pt x="1335" y="422"/>
                    <a:pt x="1318" y="422"/>
                    <a:pt x="1303" y="423"/>
                  </a:cubicBezTo>
                  <a:moveTo>
                    <a:pt x="1141" y="411"/>
                  </a:moveTo>
                  <a:cubicBezTo>
                    <a:pt x="1141" y="410"/>
                    <a:pt x="1141" y="410"/>
                    <a:pt x="1141" y="409"/>
                  </a:cubicBezTo>
                  <a:cubicBezTo>
                    <a:pt x="1145" y="409"/>
                    <a:pt x="1149" y="409"/>
                    <a:pt x="1154" y="410"/>
                  </a:cubicBezTo>
                  <a:cubicBezTo>
                    <a:pt x="1149" y="410"/>
                    <a:pt x="1145" y="410"/>
                    <a:pt x="1141" y="411"/>
                  </a:cubicBezTo>
                  <a:moveTo>
                    <a:pt x="1029" y="424"/>
                  </a:moveTo>
                  <a:cubicBezTo>
                    <a:pt x="1043" y="416"/>
                    <a:pt x="1058" y="411"/>
                    <a:pt x="1072" y="409"/>
                  </a:cubicBezTo>
                  <a:cubicBezTo>
                    <a:pt x="1071" y="412"/>
                    <a:pt x="1069" y="416"/>
                    <a:pt x="1068" y="419"/>
                  </a:cubicBezTo>
                  <a:cubicBezTo>
                    <a:pt x="1054" y="421"/>
                    <a:pt x="1041" y="423"/>
                    <a:pt x="1029" y="424"/>
                  </a:cubicBezTo>
                  <a:moveTo>
                    <a:pt x="1081" y="417"/>
                  </a:moveTo>
                  <a:cubicBezTo>
                    <a:pt x="1082" y="414"/>
                    <a:pt x="1084" y="411"/>
                    <a:pt x="1085" y="408"/>
                  </a:cubicBezTo>
                  <a:cubicBezTo>
                    <a:pt x="1099" y="408"/>
                    <a:pt x="1114" y="408"/>
                    <a:pt x="1129" y="409"/>
                  </a:cubicBezTo>
                  <a:cubicBezTo>
                    <a:pt x="1128" y="410"/>
                    <a:pt x="1128" y="411"/>
                    <a:pt x="1127" y="412"/>
                  </a:cubicBezTo>
                  <a:cubicBezTo>
                    <a:pt x="1111" y="414"/>
                    <a:pt x="1096" y="416"/>
                    <a:pt x="1081" y="417"/>
                  </a:cubicBezTo>
                  <a:moveTo>
                    <a:pt x="963" y="435"/>
                  </a:moveTo>
                  <a:cubicBezTo>
                    <a:pt x="972" y="428"/>
                    <a:pt x="980" y="422"/>
                    <a:pt x="989" y="415"/>
                  </a:cubicBezTo>
                  <a:cubicBezTo>
                    <a:pt x="995" y="411"/>
                    <a:pt x="1005" y="408"/>
                    <a:pt x="1017" y="405"/>
                  </a:cubicBezTo>
                  <a:cubicBezTo>
                    <a:pt x="1015" y="411"/>
                    <a:pt x="1012" y="417"/>
                    <a:pt x="1009" y="423"/>
                  </a:cubicBezTo>
                  <a:cubicBezTo>
                    <a:pt x="1006" y="425"/>
                    <a:pt x="1004" y="427"/>
                    <a:pt x="1001" y="429"/>
                  </a:cubicBezTo>
                  <a:cubicBezTo>
                    <a:pt x="985" y="431"/>
                    <a:pt x="973" y="433"/>
                    <a:pt x="963" y="435"/>
                  </a:cubicBezTo>
                  <a:moveTo>
                    <a:pt x="1026" y="413"/>
                  </a:moveTo>
                  <a:cubicBezTo>
                    <a:pt x="1027" y="409"/>
                    <a:pt x="1029" y="406"/>
                    <a:pt x="1030" y="402"/>
                  </a:cubicBezTo>
                  <a:cubicBezTo>
                    <a:pt x="1040" y="401"/>
                    <a:pt x="1051" y="400"/>
                    <a:pt x="1063" y="398"/>
                  </a:cubicBezTo>
                  <a:cubicBezTo>
                    <a:pt x="1050" y="401"/>
                    <a:pt x="1038" y="406"/>
                    <a:pt x="1026" y="413"/>
                  </a:cubicBezTo>
                  <a:moveTo>
                    <a:pt x="1190" y="401"/>
                  </a:moveTo>
                  <a:cubicBezTo>
                    <a:pt x="1185" y="401"/>
                    <a:pt x="1181" y="400"/>
                    <a:pt x="1176" y="399"/>
                  </a:cubicBezTo>
                  <a:cubicBezTo>
                    <a:pt x="1166" y="399"/>
                    <a:pt x="1156" y="398"/>
                    <a:pt x="1146" y="398"/>
                  </a:cubicBezTo>
                  <a:cubicBezTo>
                    <a:pt x="1147" y="397"/>
                    <a:pt x="1147" y="397"/>
                    <a:pt x="1148" y="396"/>
                  </a:cubicBezTo>
                  <a:cubicBezTo>
                    <a:pt x="1150" y="396"/>
                    <a:pt x="1152" y="396"/>
                    <a:pt x="1153" y="396"/>
                  </a:cubicBezTo>
                  <a:cubicBezTo>
                    <a:pt x="1159" y="396"/>
                    <a:pt x="1164" y="396"/>
                    <a:pt x="1169" y="397"/>
                  </a:cubicBezTo>
                  <a:cubicBezTo>
                    <a:pt x="1175" y="397"/>
                    <a:pt x="1180" y="397"/>
                    <a:pt x="1185" y="397"/>
                  </a:cubicBezTo>
                  <a:cubicBezTo>
                    <a:pt x="1187" y="397"/>
                    <a:pt x="1189" y="397"/>
                    <a:pt x="1191" y="397"/>
                  </a:cubicBezTo>
                  <a:cubicBezTo>
                    <a:pt x="1192" y="397"/>
                    <a:pt x="1192" y="397"/>
                    <a:pt x="1193" y="397"/>
                  </a:cubicBezTo>
                  <a:cubicBezTo>
                    <a:pt x="1192" y="397"/>
                    <a:pt x="1191" y="399"/>
                    <a:pt x="1190" y="401"/>
                  </a:cubicBezTo>
                  <a:moveTo>
                    <a:pt x="1134" y="397"/>
                  </a:moveTo>
                  <a:cubicBezTo>
                    <a:pt x="1120" y="397"/>
                    <a:pt x="1106" y="396"/>
                    <a:pt x="1093" y="396"/>
                  </a:cubicBezTo>
                  <a:cubicBezTo>
                    <a:pt x="1107" y="395"/>
                    <a:pt x="1121" y="395"/>
                    <a:pt x="1135" y="394"/>
                  </a:cubicBezTo>
                  <a:cubicBezTo>
                    <a:pt x="1135" y="395"/>
                    <a:pt x="1135" y="396"/>
                    <a:pt x="1134" y="397"/>
                  </a:cubicBezTo>
                  <a:moveTo>
                    <a:pt x="1245" y="400"/>
                  </a:moveTo>
                  <a:cubicBezTo>
                    <a:pt x="1231" y="400"/>
                    <a:pt x="1217" y="400"/>
                    <a:pt x="1202" y="399"/>
                  </a:cubicBezTo>
                  <a:cubicBezTo>
                    <a:pt x="1204" y="397"/>
                    <a:pt x="1205" y="395"/>
                    <a:pt x="1206" y="392"/>
                  </a:cubicBezTo>
                  <a:cubicBezTo>
                    <a:pt x="1221" y="392"/>
                    <a:pt x="1235" y="391"/>
                    <a:pt x="1250" y="391"/>
                  </a:cubicBezTo>
                  <a:cubicBezTo>
                    <a:pt x="1249" y="394"/>
                    <a:pt x="1247" y="397"/>
                    <a:pt x="1245" y="400"/>
                  </a:cubicBezTo>
                  <a:moveTo>
                    <a:pt x="1284" y="401"/>
                  </a:moveTo>
                  <a:cubicBezTo>
                    <a:pt x="1276" y="401"/>
                    <a:pt x="1267" y="401"/>
                    <a:pt x="1258" y="400"/>
                  </a:cubicBezTo>
                  <a:cubicBezTo>
                    <a:pt x="1260" y="397"/>
                    <a:pt x="1262" y="394"/>
                    <a:pt x="1263" y="390"/>
                  </a:cubicBezTo>
                  <a:cubicBezTo>
                    <a:pt x="1278" y="390"/>
                    <a:pt x="1293" y="389"/>
                    <a:pt x="1308" y="388"/>
                  </a:cubicBezTo>
                  <a:cubicBezTo>
                    <a:pt x="1306" y="392"/>
                    <a:pt x="1303" y="396"/>
                    <a:pt x="1301" y="401"/>
                  </a:cubicBezTo>
                  <a:cubicBezTo>
                    <a:pt x="1296" y="401"/>
                    <a:pt x="1290" y="401"/>
                    <a:pt x="1284" y="401"/>
                  </a:cubicBezTo>
                  <a:moveTo>
                    <a:pt x="1314" y="400"/>
                  </a:moveTo>
                  <a:cubicBezTo>
                    <a:pt x="1316" y="396"/>
                    <a:pt x="1319" y="391"/>
                    <a:pt x="1321" y="387"/>
                  </a:cubicBezTo>
                  <a:cubicBezTo>
                    <a:pt x="1337" y="386"/>
                    <a:pt x="1352" y="385"/>
                    <a:pt x="1367" y="383"/>
                  </a:cubicBezTo>
                  <a:cubicBezTo>
                    <a:pt x="1364" y="388"/>
                    <a:pt x="1361" y="393"/>
                    <a:pt x="1359" y="398"/>
                  </a:cubicBezTo>
                  <a:cubicBezTo>
                    <a:pt x="1345" y="399"/>
                    <a:pt x="1330" y="400"/>
                    <a:pt x="1314" y="400"/>
                  </a:cubicBezTo>
                  <a:moveTo>
                    <a:pt x="1395" y="366"/>
                  </a:moveTo>
                  <a:cubicBezTo>
                    <a:pt x="1389" y="367"/>
                    <a:pt x="1382" y="368"/>
                    <a:pt x="1375" y="369"/>
                  </a:cubicBezTo>
                  <a:cubicBezTo>
                    <a:pt x="1375" y="369"/>
                    <a:pt x="1375" y="369"/>
                    <a:pt x="1375" y="369"/>
                  </a:cubicBezTo>
                  <a:cubicBezTo>
                    <a:pt x="1375" y="369"/>
                    <a:pt x="1375" y="369"/>
                    <a:pt x="1375" y="369"/>
                  </a:cubicBezTo>
                  <a:cubicBezTo>
                    <a:pt x="1358" y="372"/>
                    <a:pt x="1339" y="374"/>
                    <a:pt x="1318" y="375"/>
                  </a:cubicBezTo>
                  <a:cubicBezTo>
                    <a:pt x="1316" y="374"/>
                    <a:pt x="1316" y="374"/>
                    <a:pt x="1316" y="374"/>
                  </a:cubicBezTo>
                  <a:cubicBezTo>
                    <a:pt x="1316" y="374"/>
                    <a:pt x="1315" y="375"/>
                    <a:pt x="1315" y="376"/>
                  </a:cubicBezTo>
                  <a:cubicBezTo>
                    <a:pt x="1297" y="377"/>
                    <a:pt x="1277" y="378"/>
                    <a:pt x="1258" y="379"/>
                  </a:cubicBezTo>
                  <a:cubicBezTo>
                    <a:pt x="1257" y="378"/>
                    <a:pt x="1257" y="378"/>
                    <a:pt x="1257" y="378"/>
                  </a:cubicBezTo>
                  <a:cubicBezTo>
                    <a:pt x="1257" y="379"/>
                    <a:pt x="1257" y="379"/>
                    <a:pt x="1257" y="379"/>
                  </a:cubicBezTo>
                  <a:cubicBezTo>
                    <a:pt x="1235" y="379"/>
                    <a:pt x="1213" y="380"/>
                    <a:pt x="1191" y="381"/>
                  </a:cubicBezTo>
                  <a:cubicBezTo>
                    <a:pt x="1094" y="383"/>
                    <a:pt x="1011" y="386"/>
                    <a:pt x="983" y="405"/>
                  </a:cubicBezTo>
                  <a:cubicBezTo>
                    <a:pt x="946" y="432"/>
                    <a:pt x="915" y="462"/>
                    <a:pt x="886" y="496"/>
                  </a:cubicBezTo>
                  <a:cubicBezTo>
                    <a:pt x="901" y="496"/>
                    <a:pt x="901" y="496"/>
                    <a:pt x="901" y="496"/>
                  </a:cubicBezTo>
                  <a:cubicBezTo>
                    <a:pt x="916" y="480"/>
                    <a:pt x="930" y="464"/>
                    <a:pt x="946" y="450"/>
                  </a:cubicBezTo>
                  <a:cubicBezTo>
                    <a:pt x="946" y="451"/>
                    <a:pt x="946" y="451"/>
                    <a:pt x="946" y="451"/>
                  </a:cubicBezTo>
                  <a:cubicBezTo>
                    <a:pt x="946" y="451"/>
                    <a:pt x="959" y="448"/>
                    <a:pt x="982" y="444"/>
                  </a:cubicBezTo>
                  <a:cubicBezTo>
                    <a:pt x="964" y="459"/>
                    <a:pt x="947" y="476"/>
                    <a:pt x="929" y="496"/>
                  </a:cubicBezTo>
                  <a:cubicBezTo>
                    <a:pt x="945" y="496"/>
                    <a:pt x="945" y="496"/>
                    <a:pt x="945" y="496"/>
                  </a:cubicBezTo>
                  <a:cubicBezTo>
                    <a:pt x="962" y="477"/>
                    <a:pt x="979" y="461"/>
                    <a:pt x="996" y="447"/>
                  </a:cubicBezTo>
                  <a:cubicBezTo>
                    <a:pt x="988" y="461"/>
                    <a:pt x="978" y="476"/>
                    <a:pt x="967" y="490"/>
                  </a:cubicBezTo>
                  <a:cubicBezTo>
                    <a:pt x="962" y="492"/>
                    <a:pt x="958" y="494"/>
                    <a:pt x="954" y="496"/>
                  </a:cubicBezTo>
                  <a:cubicBezTo>
                    <a:pt x="987" y="496"/>
                    <a:pt x="987" y="496"/>
                    <a:pt x="987" y="496"/>
                  </a:cubicBezTo>
                  <a:cubicBezTo>
                    <a:pt x="1000" y="491"/>
                    <a:pt x="1015" y="486"/>
                    <a:pt x="1031" y="481"/>
                  </a:cubicBezTo>
                  <a:cubicBezTo>
                    <a:pt x="1028" y="486"/>
                    <a:pt x="1024" y="491"/>
                    <a:pt x="1021" y="496"/>
                  </a:cubicBezTo>
                  <a:cubicBezTo>
                    <a:pt x="1035" y="496"/>
                    <a:pt x="1035" y="496"/>
                    <a:pt x="1035" y="496"/>
                  </a:cubicBezTo>
                  <a:cubicBezTo>
                    <a:pt x="1040" y="489"/>
                    <a:pt x="1044" y="482"/>
                    <a:pt x="1049" y="475"/>
                  </a:cubicBezTo>
                  <a:cubicBezTo>
                    <a:pt x="1064" y="471"/>
                    <a:pt x="1081" y="467"/>
                    <a:pt x="1098" y="462"/>
                  </a:cubicBezTo>
                  <a:cubicBezTo>
                    <a:pt x="1092" y="472"/>
                    <a:pt x="1086" y="480"/>
                    <a:pt x="1080" y="488"/>
                  </a:cubicBezTo>
                  <a:cubicBezTo>
                    <a:pt x="1071" y="491"/>
                    <a:pt x="1062" y="493"/>
                    <a:pt x="1054" y="496"/>
                  </a:cubicBezTo>
                  <a:cubicBezTo>
                    <a:pt x="1099" y="496"/>
                    <a:pt x="1099" y="496"/>
                    <a:pt x="1099" y="496"/>
                  </a:cubicBezTo>
                  <a:cubicBezTo>
                    <a:pt x="1110" y="493"/>
                    <a:pt x="1122" y="490"/>
                    <a:pt x="1134" y="487"/>
                  </a:cubicBezTo>
                  <a:cubicBezTo>
                    <a:pt x="1132" y="490"/>
                    <a:pt x="1130" y="493"/>
                    <a:pt x="1128" y="496"/>
                  </a:cubicBezTo>
                  <a:cubicBezTo>
                    <a:pt x="1142" y="496"/>
                    <a:pt x="1142" y="496"/>
                    <a:pt x="1142" y="496"/>
                  </a:cubicBezTo>
                  <a:cubicBezTo>
                    <a:pt x="1145" y="492"/>
                    <a:pt x="1148" y="488"/>
                    <a:pt x="1151" y="484"/>
                  </a:cubicBezTo>
                  <a:cubicBezTo>
                    <a:pt x="1166" y="481"/>
                    <a:pt x="1181" y="478"/>
                    <a:pt x="1198" y="476"/>
                  </a:cubicBezTo>
                  <a:cubicBezTo>
                    <a:pt x="1192" y="484"/>
                    <a:pt x="1188" y="490"/>
                    <a:pt x="1184" y="494"/>
                  </a:cubicBezTo>
                  <a:cubicBezTo>
                    <a:pt x="1183" y="495"/>
                    <a:pt x="1181" y="495"/>
                    <a:pt x="1179" y="496"/>
                  </a:cubicBezTo>
                  <a:cubicBezTo>
                    <a:pt x="1235" y="496"/>
                    <a:pt x="1235" y="496"/>
                    <a:pt x="1235" y="496"/>
                  </a:cubicBezTo>
                  <a:cubicBezTo>
                    <a:pt x="1243" y="494"/>
                    <a:pt x="1251" y="493"/>
                    <a:pt x="1260" y="491"/>
                  </a:cubicBezTo>
                  <a:cubicBezTo>
                    <a:pt x="1259" y="493"/>
                    <a:pt x="1259" y="494"/>
                    <a:pt x="1259" y="496"/>
                  </a:cubicBezTo>
                  <a:cubicBezTo>
                    <a:pt x="1270" y="496"/>
                    <a:pt x="1270" y="496"/>
                    <a:pt x="1270" y="496"/>
                  </a:cubicBezTo>
                  <a:cubicBezTo>
                    <a:pt x="1270" y="494"/>
                    <a:pt x="1271" y="492"/>
                    <a:pt x="1271" y="491"/>
                  </a:cubicBezTo>
                  <a:cubicBezTo>
                    <a:pt x="1274" y="492"/>
                    <a:pt x="1274" y="492"/>
                    <a:pt x="1274" y="492"/>
                  </a:cubicBezTo>
                  <a:cubicBezTo>
                    <a:pt x="1274" y="492"/>
                    <a:pt x="1274" y="491"/>
                    <a:pt x="1275" y="489"/>
                  </a:cubicBezTo>
                  <a:cubicBezTo>
                    <a:pt x="1291" y="487"/>
                    <a:pt x="1306" y="485"/>
                    <a:pt x="1321" y="484"/>
                  </a:cubicBezTo>
                  <a:cubicBezTo>
                    <a:pt x="1320" y="487"/>
                    <a:pt x="1319" y="491"/>
                    <a:pt x="1318" y="496"/>
                  </a:cubicBezTo>
                  <a:cubicBezTo>
                    <a:pt x="1330" y="496"/>
                    <a:pt x="1330" y="496"/>
                    <a:pt x="1330" y="496"/>
                  </a:cubicBezTo>
                  <a:cubicBezTo>
                    <a:pt x="1331" y="490"/>
                    <a:pt x="1333" y="486"/>
                    <a:pt x="1333" y="483"/>
                  </a:cubicBezTo>
                  <a:cubicBezTo>
                    <a:pt x="1344" y="483"/>
                    <a:pt x="1355" y="483"/>
                    <a:pt x="1365" y="483"/>
                  </a:cubicBezTo>
                  <a:cubicBezTo>
                    <a:pt x="1375" y="483"/>
                    <a:pt x="1384" y="483"/>
                    <a:pt x="1394" y="483"/>
                  </a:cubicBezTo>
                  <a:cubicBezTo>
                    <a:pt x="1394" y="471"/>
                    <a:pt x="1394" y="471"/>
                    <a:pt x="1394" y="471"/>
                  </a:cubicBezTo>
                  <a:cubicBezTo>
                    <a:pt x="1385" y="471"/>
                    <a:pt x="1377" y="471"/>
                    <a:pt x="1368" y="471"/>
                  </a:cubicBezTo>
                  <a:cubicBezTo>
                    <a:pt x="1363" y="471"/>
                    <a:pt x="1358" y="471"/>
                    <a:pt x="1353" y="471"/>
                  </a:cubicBezTo>
                  <a:cubicBezTo>
                    <a:pt x="1353" y="468"/>
                    <a:pt x="1354" y="466"/>
                    <a:pt x="1354" y="463"/>
                  </a:cubicBezTo>
                  <a:cubicBezTo>
                    <a:pt x="1359" y="463"/>
                    <a:pt x="1364" y="463"/>
                    <a:pt x="1369" y="463"/>
                  </a:cubicBezTo>
                  <a:cubicBezTo>
                    <a:pt x="1378" y="463"/>
                    <a:pt x="1387" y="463"/>
                    <a:pt x="1395" y="463"/>
                  </a:cubicBezTo>
                  <a:cubicBezTo>
                    <a:pt x="1395" y="451"/>
                    <a:pt x="1395" y="451"/>
                    <a:pt x="1395" y="451"/>
                  </a:cubicBezTo>
                  <a:cubicBezTo>
                    <a:pt x="1387" y="451"/>
                    <a:pt x="1378" y="451"/>
                    <a:pt x="1370" y="451"/>
                  </a:cubicBezTo>
                  <a:cubicBezTo>
                    <a:pt x="1365" y="451"/>
                    <a:pt x="1361" y="451"/>
                    <a:pt x="1356" y="451"/>
                  </a:cubicBezTo>
                  <a:cubicBezTo>
                    <a:pt x="1357" y="445"/>
                    <a:pt x="1358" y="440"/>
                    <a:pt x="1360" y="434"/>
                  </a:cubicBezTo>
                  <a:cubicBezTo>
                    <a:pt x="1371" y="434"/>
                    <a:pt x="1383" y="434"/>
                    <a:pt x="1395" y="434"/>
                  </a:cubicBezTo>
                  <a:cubicBezTo>
                    <a:pt x="1395" y="422"/>
                    <a:pt x="1395" y="422"/>
                    <a:pt x="1395" y="422"/>
                  </a:cubicBezTo>
                  <a:cubicBezTo>
                    <a:pt x="1384" y="422"/>
                    <a:pt x="1373" y="422"/>
                    <a:pt x="1363" y="422"/>
                  </a:cubicBezTo>
                  <a:cubicBezTo>
                    <a:pt x="1364" y="419"/>
                    <a:pt x="1365" y="416"/>
                    <a:pt x="1366" y="413"/>
                  </a:cubicBezTo>
                  <a:cubicBezTo>
                    <a:pt x="1375" y="413"/>
                    <a:pt x="1385" y="414"/>
                    <a:pt x="1395" y="414"/>
                  </a:cubicBezTo>
                  <a:cubicBezTo>
                    <a:pt x="1395" y="393"/>
                    <a:pt x="1395" y="393"/>
                    <a:pt x="1395" y="393"/>
                  </a:cubicBezTo>
                  <a:cubicBezTo>
                    <a:pt x="1388" y="394"/>
                    <a:pt x="1381" y="396"/>
                    <a:pt x="1372" y="397"/>
                  </a:cubicBezTo>
                  <a:cubicBezTo>
                    <a:pt x="1375" y="391"/>
                    <a:pt x="1378" y="386"/>
                    <a:pt x="1382" y="381"/>
                  </a:cubicBezTo>
                  <a:cubicBezTo>
                    <a:pt x="1386" y="380"/>
                    <a:pt x="1391" y="379"/>
                    <a:pt x="1395" y="378"/>
                  </a:cubicBezTo>
                  <a:cubicBezTo>
                    <a:pt x="1395" y="366"/>
                    <a:pt x="1395" y="366"/>
                    <a:pt x="1395" y="366"/>
                  </a:cubicBezTo>
                  <a:moveTo>
                    <a:pt x="102" y="1478"/>
                  </a:moveTo>
                  <a:cubicBezTo>
                    <a:pt x="100" y="1477"/>
                    <a:pt x="98" y="1476"/>
                    <a:pt x="96" y="1476"/>
                  </a:cubicBezTo>
                  <a:cubicBezTo>
                    <a:pt x="85" y="1459"/>
                    <a:pt x="76" y="1442"/>
                    <a:pt x="68" y="1426"/>
                  </a:cubicBezTo>
                  <a:cubicBezTo>
                    <a:pt x="72" y="1427"/>
                    <a:pt x="75" y="1428"/>
                    <a:pt x="79" y="1429"/>
                  </a:cubicBezTo>
                  <a:cubicBezTo>
                    <a:pt x="85" y="1445"/>
                    <a:pt x="93" y="1462"/>
                    <a:pt x="102" y="1478"/>
                  </a:cubicBezTo>
                  <a:moveTo>
                    <a:pt x="77" y="1468"/>
                  </a:moveTo>
                  <a:cubicBezTo>
                    <a:pt x="74" y="1466"/>
                    <a:pt x="72" y="1465"/>
                    <a:pt x="71" y="1464"/>
                  </a:cubicBezTo>
                  <a:cubicBezTo>
                    <a:pt x="59" y="1449"/>
                    <a:pt x="49" y="1434"/>
                    <a:pt x="42" y="1419"/>
                  </a:cubicBezTo>
                  <a:cubicBezTo>
                    <a:pt x="46" y="1420"/>
                    <a:pt x="50" y="1421"/>
                    <a:pt x="54" y="1422"/>
                  </a:cubicBezTo>
                  <a:cubicBezTo>
                    <a:pt x="61" y="1437"/>
                    <a:pt x="68" y="1452"/>
                    <a:pt x="77" y="1468"/>
                  </a:cubicBezTo>
                  <a:moveTo>
                    <a:pt x="535" y="1459"/>
                  </a:moveTo>
                  <a:cubicBezTo>
                    <a:pt x="527" y="1444"/>
                    <a:pt x="519" y="1428"/>
                    <a:pt x="512" y="1412"/>
                  </a:cubicBezTo>
                  <a:cubicBezTo>
                    <a:pt x="536" y="1403"/>
                    <a:pt x="559" y="1393"/>
                    <a:pt x="581" y="1382"/>
                  </a:cubicBezTo>
                  <a:cubicBezTo>
                    <a:pt x="586" y="1395"/>
                    <a:pt x="593" y="1409"/>
                    <a:pt x="600" y="1422"/>
                  </a:cubicBezTo>
                  <a:cubicBezTo>
                    <a:pt x="580" y="1435"/>
                    <a:pt x="559" y="1447"/>
                    <a:pt x="535" y="1459"/>
                  </a:cubicBezTo>
                  <a:moveTo>
                    <a:pt x="283" y="1444"/>
                  </a:moveTo>
                  <a:cubicBezTo>
                    <a:pt x="253" y="1444"/>
                    <a:pt x="225" y="1442"/>
                    <a:pt x="199" y="1439"/>
                  </a:cubicBezTo>
                  <a:cubicBezTo>
                    <a:pt x="192" y="1419"/>
                    <a:pt x="187" y="1399"/>
                    <a:pt x="184" y="1380"/>
                  </a:cubicBezTo>
                  <a:cubicBezTo>
                    <a:pt x="207" y="1381"/>
                    <a:pt x="231" y="1382"/>
                    <a:pt x="257" y="1382"/>
                  </a:cubicBezTo>
                  <a:cubicBezTo>
                    <a:pt x="263" y="1382"/>
                    <a:pt x="270" y="1382"/>
                    <a:pt x="276" y="1382"/>
                  </a:cubicBezTo>
                  <a:cubicBezTo>
                    <a:pt x="280" y="1403"/>
                    <a:pt x="286" y="1423"/>
                    <a:pt x="293" y="1444"/>
                  </a:cubicBezTo>
                  <a:cubicBezTo>
                    <a:pt x="290" y="1444"/>
                    <a:pt x="286" y="1444"/>
                    <a:pt x="283" y="1444"/>
                  </a:cubicBezTo>
                  <a:moveTo>
                    <a:pt x="305" y="1444"/>
                  </a:moveTo>
                  <a:cubicBezTo>
                    <a:pt x="297" y="1423"/>
                    <a:pt x="292" y="1402"/>
                    <a:pt x="288" y="1382"/>
                  </a:cubicBezTo>
                  <a:cubicBezTo>
                    <a:pt x="320" y="1381"/>
                    <a:pt x="354" y="1378"/>
                    <a:pt x="388" y="1373"/>
                  </a:cubicBezTo>
                  <a:cubicBezTo>
                    <a:pt x="393" y="1393"/>
                    <a:pt x="400" y="1412"/>
                    <a:pt x="408" y="1432"/>
                  </a:cubicBezTo>
                  <a:cubicBezTo>
                    <a:pt x="373" y="1439"/>
                    <a:pt x="338" y="1443"/>
                    <a:pt x="305" y="1444"/>
                  </a:cubicBezTo>
                  <a:moveTo>
                    <a:pt x="186" y="1438"/>
                  </a:moveTo>
                  <a:cubicBezTo>
                    <a:pt x="147" y="1433"/>
                    <a:pt x="113" y="1426"/>
                    <a:pt x="86" y="1419"/>
                  </a:cubicBezTo>
                  <a:cubicBezTo>
                    <a:pt x="80" y="1401"/>
                    <a:pt x="76" y="1384"/>
                    <a:pt x="73" y="1367"/>
                  </a:cubicBezTo>
                  <a:cubicBezTo>
                    <a:pt x="100" y="1372"/>
                    <a:pt x="134" y="1376"/>
                    <a:pt x="172" y="1379"/>
                  </a:cubicBezTo>
                  <a:cubicBezTo>
                    <a:pt x="175" y="1398"/>
                    <a:pt x="180" y="1418"/>
                    <a:pt x="186" y="1438"/>
                  </a:cubicBezTo>
                  <a:moveTo>
                    <a:pt x="74" y="1416"/>
                  </a:moveTo>
                  <a:cubicBezTo>
                    <a:pt x="70" y="1414"/>
                    <a:pt x="66" y="1413"/>
                    <a:pt x="62" y="1412"/>
                  </a:cubicBezTo>
                  <a:cubicBezTo>
                    <a:pt x="55" y="1395"/>
                    <a:pt x="50" y="1378"/>
                    <a:pt x="47" y="1363"/>
                  </a:cubicBezTo>
                  <a:cubicBezTo>
                    <a:pt x="51" y="1363"/>
                    <a:pt x="57" y="1364"/>
                    <a:pt x="62" y="1365"/>
                  </a:cubicBezTo>
                  <a:cubicBezTo>
                    <a:pt x="64" y="1382"/>
                    <a:pt x="68" y="1398"/>
                    <a:pt x="74" y="1416"/>
                  </a:cubicBezTo>
                  <a:moveTo>
                    <a:pt x="49" y="1408"/>
                  </a:moveTo>
                  <a:cubicBezTo>
                    <a:pt x="43" y="1406"/>
                    <a:pt x="39" y="1405"/>
                    <a:pt x="36" y="1404"/>
                  </a:cubicBezTo>
                  <a:cubicBezTo>
                    <a:pt x="29" y="1387"/>
                    <a:pt x="24" y="1371"/>
                    <a:pt x="20" y="1357"/>
                  </a:cubicBezTo>
                  <a:cubicBezTo>
                    <a:pt x="24" y="1358"/>
                    <a:pt x="29" y="1359"/>
                    <a:pt x="35" y="1360"/>
                  </a:cubicBezTo>
                  <a:cubicBezTo>
                    <a:pt x="38" y="1376"/>
                    <a:pt x="43" y="1392"/>
                    <a:pt x="49" y="1408"/>
                  </a:cubicBezTo>
                  <a:moveTo>
                    <a:pt x="419" y="1430"/>
                  </a:moveTo>
                  <a:cubicBezTo>
                    <a:pt x="411" y="1410"/>
                    <a:pt x="405" y="1391"/>
                    <a:pt x="399" y="1371"/>
                  </a:cubicBezTo>
                  <a:cubicBezTo>
                    <a:pt x="414" y="1369"/>
                    <a:pt x="430" y="1366"/>
                    <a:pt x="445" y="1363"/>
                  </a:cubicBezTo>
                  <a:cubicBezTo>
                    <a:pt x="456" y="1360"/>
                    <a:pt x="468" y="1357"/>
                    <a:pt x="479" y="1354"/>
                  </a:cubicBezTo>
                  <a:cubicBezTo>
                    <a:pt x="484" y="1371"/>
                    <a:pt x="490" y="1388"/>
                    <a:pt x="497" y="1406"/>
                  </a:cubicBezTo>
                  <a:cubicBezTo>
                    <a:pt x="485" y="1410"/>
                    <a:pt x="472" y="1415"/>
                    <a:pt x="459" y="1419"/>
                  </a:cubicBezTo>
                  <a:cubicBezTo>
                    <a:pt x="446" y="1423"/>
                    <a:pt x="432" y="1426"/>
                    <a:pt x="419" y="1430"/>
                  </a:cubicBezTo>
                  <a:moveTo>
                    <a:pt x="609" y="1415"/>
                  </a:moveTo>
                  <a:cubicBezTo>
                    <a:pt x="603" y="1403"/>
                    <a:pt x="597" y="1390"/>
                    <a:pt x="591" y="1377"/>
                  </a:cubicBezTo>
                  <a:cubicBezTo>
                    <a:pt x="617" y="1364"/>
                    <a:pt x="641" y="1350"/>
                    <a:pt x="664" y="1336"/>
                  </a:cubicBezTo>
                  <a:cubicBezTo>
                    <a:pt x="668" y="1346"/>
                    <a:pt x="673" y="1356"/>
                    <a:pt x="678" y="1365"/>
                  </a:cubicBezTo>
                  <a:cubicBezTo>
                    <a:pt x="657" y="1382"/>
                    <a:pt x="634" y="1399"/>
                    <a:pt x="609" y="1415"/>
                  </a:cubicBezTo>
                  <a:moveTo>
                    <a:pt x="507" y="1401"/>
                  </a:moveTo>
                  <a:cubicBezTo>
                    <a:pt x="501" y="1385"/>
                    <a:pt x="495" y="1368"/>
                    <a:pt x="490" y="1351"/>
                  </a:cubicBezTo>
                  <a:cubicBezTo>
                    <a:pt x="515" y="1344"/>
                    <a:pt x="539" y="1336"/>
                    <a:pt x="562" y="1328"/>
                  </a:cubicBezTo>
                  <a:cubicBezTo>
                    <a:pt x="566" y="1342"/>
                    <a:pt x="571" y="1357"/>
                    <a:pt x="576" y="1371"/>
                  </a:cubicBezTo>
                  <a:cubicBezTo>
                    <a:pt x="555" y="1382"/>
                    <a:pt x="532" y="1392"/>
                    <a:pt x="507" y="1401"/>
                  </a:cubicBezTo>
                  <a:moveTo>
                    <a:pt x="207" y="1309"/>
                  </a:moveTo>
                  <a:cubicBezTo>
                    <a:pt x="227" y="1309"/>
                    <a:pt x="247" y="1309"/>
                    <a:pt x="268" y="1308"/>
                  </a:cubicBezTo>
                  <a:cubicBezTo>
                    <a:pt x="269" y="1328"/>
                    <a:pt x="271" y="1349"/>
                    <a:pt x="274" y="1370"/>
                  </a:cubicBezTo>
                  <a:cubicBezTo>
                    <a:pt x="268" y="1370"/>
                    <a:pt x="263" y="1370"/>
                    <a:pt x="257" y="1370"/>
                  </a:cubicBezTo>
                  <a:cubicBezTo>
                    <a:pt x="231" y="1370"/>
                    <a:pt x="205" y="1369"/>
                    <a:pt x="182" y="1368"/>
                  </a:cubicBezTo>
                  <a:cubicBezTo>
                    <a:pt x="179" y="1348"/>
                    <a:pt x="178" y="1329"/>
                    <a:pt x="178" y="1310"/>
                  </a:cubicBezTo>
                  <a:cubicBezTo>
                    <a:pt x="178" y="1310"/>
                    <a:pt x="178" y="1309"/>
                    <a:pt x="178" y="1309"/>
                  </a:cubicBezTo>
                  <a:cubicBezTo>
                    <a:pt x="187" y="1309"/>
                    <a:pt x="197" y="1309"/>
                    <a:pt x="207" y="1309"/>
                  </a:cubicBezTo>
                  <a:moveTo>
                    <a:pt x="170" y="1367"/>
                  </a:moveTo>
                  <a:cubicBezTo>
                    <a:pt x="132" y="1364"/>
                    <a:pt x="98" y="1359"/>
                    <a:pt x="72" y="1355"/>
                  </a:cubicBezTo>
                  <a:cubicBezTo>
                    <a:pt x="71" y="1346"/>
                    <a:pt x="70" y="1338"/>
                    <a:pt x="70" y="1329"/>
                  </a:cubicBezTo>
                  <a:cubicBezTo>
                    <a:pt x="70" y="1321"/>
                    <a:pt x="71" y="1313"/>
                    <a:pt x="72" y="1305"/>
                  </a:cubicBezTo>
                  <a:cubicBezTo>
                    <a:pt x="98" y="1306"/>
                    <a:pt x="130" y="1308"/>
                    <a:pt x="167" y="1309"/>
                  </a:cubicBezTo>
                  <a:cubicBezTo>
                    <a:pt x="167" y="1309"/>
                    <a:pt x="167" y="1310"/>
                    <a:pt x="167" y="1310"/>
                  </a:cubicBezTo>
                  <a:cubicBezTo>
                    <a:pt x="167" y="1328"/>
                    <a:pt x="168" y="1347"/>
                    <a:pt x="170" y="1367"/>
                  </a:cubicBezTo>
                  <a:moveTo>
                    <a:pt x="61" y="1353"/>
                  </a:moveTo>
                  <a:cubicBezTo>
                    <a:pt x="55" y="1352"/>
                    <a:pt x="49" y="1351"/>
                    <a:pt x="44" y="1350"/>
                  </a:cubicBezTo>
                  <a:cubicBezTo>
                    <a:pt x="42" y="1337"/>
                    <a:pt x="41" y="1324"/>
                    <a:pt x="41" y="1312"/>
                  </a:cubicBezTo>
                  <a:cubicBezTo>
                    <a:pt x="41" y="1309"/>
                    <a:pt x="41" y="1306"/>
                    <a:pt x="41" y="1302"/>
                  </a:cubicBezTo>
                  <a:cubicBezTo>
                    <a:pt x="48" y="1303"/>
                    <a:pt x="54" y="1303"/>
                    <a:pt x="62" y="1304"/>
                  </a:cubicBezTo>
                  <a:cubicBezTo>
                    <a:pt x="61" y="1313"/>
                    <a:pt x="60" y="1322"/>
                    <a:pt x="60" y="1331"/>
                  </a:cubicBezTo>
                  <a:cubicBezTo>
                    <a:pt x="60" y="1338"/>
                    <a:pt x="60" y="1346"/>
                    <a:pt x="61" y="1353"/>
                  </a:cubicBezTo>
                  <a:moveTo>
                    <a:pt x="286" y="1370"/>
                  </a:moveTo>
                  <a:cubicBezTo>
                    <a:pt x="282" y="1349"/>
                    <a:pt x="280" y="1328"/>
                    <a:pt x="279" y="1308"/>
                  </a:cubicBezTo>
                  <a:cubicBezTo>
                    <a:pt x="309" y="1307"/>
                    <a:pt x="341" y="1305"/>
                    <a:pt x="373" y="1302"/>
                  </a:cubicBezTo>
                  <a:cubicBezTo>
                    <a:pt x="376" y="1321"/>
                    <a:pt x="380" y="1341"/>
                    <a:pt x="385" y="1362"/>
                  </a:cubicBezTo>
                  <a:cubicBezTo>
                    <a:pt x="351" y="1367"/>
                    <a:pt x="318" y="1369"/>
                    <a:pt x="286" y="1370"/>
                  </a:cubicBezTo>
                  <a:moveTo>
                    <a:pt x="33" y="1348"/>
                  </a:moveTo>
                  <a:cubicBezTo>
                    <a:pt x="26" y="1346"/>
                    <a:pt x="20" y="1345"/>
                    <a:pt x="17" y="1344"/>
                  </a:cubicBezTo>
                  <a:cubicBezTo>
                    <a:pt x="13" y="1329"/>
                    <a:pt x="11" y="1315"/>
                    <a:pt x="11" y="1301"/>
                  </a:cubicBezTo>
                  <a:cubicBezTo>
                    <a:pt x="11" y="1301"/>
                    <a:pt x="11" y="1300"/>
                    <a:pt x="11" y="1300"/>
                  </a:cubicBezTo>
                  <a:cubicBezTo>
                    <a:pt x="16" y="1300"/>
                    <a:pt x="23" y="1301"/>
                    <a:pt x="31" y="1302"/>
                  </a:cubicBezTo>
                  <a:cubicBezTo>
                    <a:pt x="31" y="1305"/>
                    <a:pt x="31" y="1310"/>
                    <a:pt x="31" y="1314"/>
                  </a:cubicBezTo>
                  <a:cubicBezTo>
                    <a:pt x="31" y="1324"/>
                    <a:pt x="32" y="1336"/>
                    <a:pt x="33" y="1348"/>
                  </a:cubicBezTo>
                  <a:moveTo>
                    <a:pt x="587" y="1366"/>
                  </a:moveTo>
                  <a:cubicBezTo>
                    <a:pt x="581" y="1352"/>
                    <a:pt x="577" y="1338"/>
                    <a:pt x="573" y="1324"/>
                  </a:cubicBezTo>
                  <a:cubicBezTo>
                    <a:pt x="599" y="1315"/>
                    <a:pt x="624" y="1305"/>
                    <a:pt x="648" y="1295"/>
                  </a:cubicBezTo>
                  <a:cubicBezTo>
                    <a:pt x="652" y="1305"/>
                    <a:pt x="655" y="1315"/>
                    <a:pt x="660" y="1325"/>
                  </a:cubicBezTo>
                  <a:cubicBezTo>
                    <a:pt x="637" y="1339"/>
                    <a:pt x="613" y="1353"/>
                    <a:pt x="587" y="1366"/>
                  </a:cubicBezTo>
                  <a:moveTo>
                    <a:pt x="396" y="1360"/>
                  </a:moveTo>
                  <a:cubicBezTo>
                    <a:pt x="391" y="1339"/>
                    <a:pt x="387" y="1319"/>
                    <a:pt x="384" y="1300"/>
                  </a:cubicBezTo>
                  <a:cubicBezTo>
                    <a:pt x="398" y="1299"/>
                    <a:pt x="413" y="1297"/>
                    <a:pt x="427" y="1295"/>
                  </a:cubicBezTo>
                  <a:cubicBezTo>
                    <a:pt x="434" y="1294"/>
                    <a:pt x="441" y="1293"/>
                    <a:pt x="448" y="1292"/>
                  </a:cubicBezTo>
                  <a:cubicBezTo>
                    <a:pt x="453" y="1291"/>
                    <a:pt x="458" y="1290"/>
                    <a:pt x="463" y="1289"/>
                  </a:cubicBezTo>
                  <a:cubicBezTo>
                    <a:pt x="466" y="1307"/>
                    <a:pt x="471" y="1324"/>
                    <a:pt x="476" y="1343"/>
                  </a:cubicBezTo>
                  <a:cubicBezTo>
                    <a:pt x="465" y="1345"/>
                    <a:pt x="454" y="1348"/>
                    <a:pt x="442" y="1351"/>
                  </a:cubicBezTo>
                  <a:cubicBezTo>
                    <a:pt x="427" y="1354"/>
                    <a:pt x="412" y="1357"/>
                    <a:pt x="396" y="1360"/>
                  </a:cubicBezTo>
                  <a:moveTo>
                    <a:pt x="486" y="1340"/>
                  </a:moveTo>
                  <a:cubicBezTo>
                    <a:pt x="481" y="1322"/>
                    <a:pt x="477" y="1304"/>
                    <a:pt x="474" y="1288"/>
                  </a:cubicBezTo>
                  <a:cubicBezTo>
                    <a:pt x="499" y="1283"/>
                    <a:pt x="524" y="1278"/>
                    <a:pt x="548" y="1273"/>
                  </a:cubicBezTo>
                  <a:cubicBezTo>
                    <a:pt x="551" y="1287"/>
                    <a:pt x="554" y="1302"/>
                    <a:pt x="558" y="1317"/>
                  </a:cubicBezTo>
                  <a:cubicBezTo>
                    <a:pt x="536" y="1325"/>
                    <a:pt x="512" y="1333"/>
                    <a:pt x="486" y="1340"/>
                  </a:cubicBezTo>
                  <a:moveTo>
                    <a:pt x="569" y="1313"/>
                  </a:moveTo>
                  <a:cubicBezTo>
                    <a:pt x="566" y="1298"/>
                    <a:pt x="562" y="1284"/>
                    <a:pt x="559" y="1271"/>
                  </a:cubicBezTo>
                  <a:cubicBezTo>
                    <a:pt x="586" y="1265"/>
                    <a:pt x="612" y="1258"/>
                    <a:pt x="636" y="1252"/>
                  </a:cubicBezTo>
                  <a:cubicBezTo>
                    <a:pt x="639" y="1262"/>
                    <a:pt x="642" y="1273"/>
                    <a:pt x="645" y="1283"/>
                  </a:cubicBezTo>
                  <a:cubicBezTo>
                    <a:pt x="621" y="1293"/>
                    <a:pt x="596" y="1303"/>
                    <a:pt x="569" y="1313"/>
                  </a:cubicBezTo>
                  <a:moveTo>
                    <a:pt x="167" y="1297"/>
                  </a:moveTo>
                  <a:cubicBezTo>
                    <a:pt x="131" y="1296"/>
                    <a:pt x="99" y="1295"/>
                    <a:pt x="73" y="1293"/>
                  </a:cubicBezTo>
                  <a:cubicBezTo>
                    <a:pt x="76" y="1271"/>
                    <a:pt x="82" y="1252"/>
                    <a:pt x="89" y="1235"/>
                  </a:cubicBezTo>
                  <a:cubicBezTo>
                    <a:pt x="108" y="1235"/>
                    <a:pt x="130" y="1235"/>
                    <a:pt x="154" y="1235"/>
                  </a:cubicBezTo>
                  <a:cubicBezTo>
                    <a:pt x="160" y="1235"/>
                    <a:pt x="166" y="1235"/>
                    <a:pt x="173" y="1235"/>
                  </a:cubicBezTo>
                  <a:cubicBezTo>
                    <a:pt x="170" y="1254"/>
                    <a:pt x="168" y="1275"/>
                    <a:pt x="167" y="1297"/>
                  </a:cubicBezTo>
                  <a:moveTo>
                    <a:pt x="63" y="1292"/>
                  </a:moveTo>
                  <a:cubicBezTo>
                    <a:pt x="56" y="1292"/>
                    <a:pt x="49" y="1291"/>
                    <a:pt x="42" y="1291"/>
                  </a:cubicBezTo>
                  <a:cubicBezTo>
                    <a:pt x="45" y="1269"/>
                    <a:pt x="50" y="1250"/>
                    <a:pt x="56" y="1235"/>
                  </a:cubicBezTo>
                  <a:cubicBezTo>
                    <a:pt x="63" y="1235"/>
                    <a:pt x="70" y="1235"/>
                    <a:pt x="78" y="1235"/>
                  </a:cubicBezTo>
                  <a:cubicBezTo>
                    <a:pt x="72" y="1252"/>
                    <a:pt x="66" y="1271"/>
                    <a:pt x="63" y="1292"/>
                  </a:cubicBezTo>
                  <a:moveTo>
                    <a:pt x="207" y="1297"/>
                  </a:moveTo>
                  <a:cubicBezTo>
                    <a:pt x="197" y="1297"/>
                    <a:pt x="188" y="1297"/>
                    <a:pt x="178" y="1297"/>
                  </a:cubicBezTo>
                  <a:cubicBezTo>
                    <a:pt x="179" y="1275"/>
                    <a:pt x="181" y="1254"/>
                    <a:pt x="184" y="1235"/>
                  </a:cubicBezTo>
                  <a:cubicBezTo>
                    <a:pt x="210" y="1235"/>
                    <a:pt x="239" y="1235"/>
                    <a:pt x="269" y="1234"/>
                  </a:cubicBezTo>
                  <a:cubicBezTo>
                    <a:pt x="268" y="1248"/>
                    <a:pt x="267" y="1264"/>
                    <a:pt x="267" y="1280"/>
                  </a:cubicBezTo>
                  <a:cubicBezTo>
                    <a:pt x="267" y="1286"/>
                    <a:pt x="267" y="1291"/>
                    <a:pt x="267" y="1296"/>
                  </a:cubicBezTo>
                  <a:cubicBezTo>
                    <a:pt x="247" y="1297"/>
                    <a:pt x="227" y="1297"/>
                    <a:pt x="207" y="1297"/>
                  </a:cubicBezTo>
                  <a:moveTo>
                    <a:pt x="32" y="1290"/>
                  </a:moveTo>
                  <a:cubicBezTo>
                    <a:pt x="23" y="1289"/>
                    <a:pt x="17" y="1288"/>
                    <a:pt x="12" y="1288"/>
                  </a:cubicBezTo>
                  <a:cubicBezTo>
                    <a:pt x="14" y="1270"/>
                    <a:pt x="19" y="1252"/>
                    <a:pt x="28" y="1234"/>
                  </a:cubicBezTo>
                  <a:cubicBezTo>
                    <a:pt x="32" y="1234"/>
                    <a:pt x="38" y="1234"/>
                    <a:pt x="45" y="1234"/>
                  </a:cubicBezTo>
                  <a:cubicBezTo>
                    <a:pt x="39" y="1250"/>
                    <a:pt x="34" y="1269"/>
                    <a:pt x="32" y="1290"/>
                  </a:cubicBezTo>
                  <a:moveTo>
                    <a:pt x="278" y="1296"/>
                  </a:moveTo>
                  <a:cubicBezTo>
                    <a:pt x="278" y="1291"/>
                    <a:pt x="278" y="1285"/>
                    <a:pt x="278" y="1280"/>
                  </a:cubicBezTo>
                  <a:cubicBezTo>
                    <a:pt x="278" y="1264"/>
                    <a:pt x="279" y="1248"/>
                    <a:pt x="280" y="1234"/>
                  </a:cubicBezTo>
                  <a:cubicBezTo>
                    <a:pt x="307" y="1233"/>
                    <a:pt x="336" y="1233"/>
                    <a:pt x="365" y="1231"/>
                  </a:cubicBezTo>
                  <a:cubicBezTo>
                    <a:pt x="366" y="1249"/>
                    <a:pt x="368" y="1269"/>
                    <a:pt x="371" y="1290"/>
                  </a:cubicBezTo>
                  <a:cubicBezTo>
                    <a:pt x="340" y="1293"/>
                    <a:pt x="309" y="1295"/>
                    <a:pt x="278" y="1296"/>
                  </a:cubicBezTo>
                  <a:moveTo>
                    <a:pt x="382" y="1289"/>
                  </a:moveTo>
                  <a:cubicBezTo>
                    <a:pt x="379" y="1268"/>
                    <a:pt x="378" y="1248"/>
                    <a:pt x="376" y="1231"/>
                  </a:cubicBezTo>
                  <a:cubicBezTo>
                    <a:pt x="402" y="1230"/>
                    <a:pt x="427" y="1228"/>
                    <a:pt x="453" y="1227"/>
                  </a:cubicBezTo>
                  <a:cubicBezTo>
                    <a:pt x="455" y="1242"/>
                    <a:pt x="457" y="1259"/>
                    <a:pt x="461" y="1278"/>
                  </a:cubicBezTo>
                  <a:cubicBezTo>
                    <a:pt x="449" y="1280"/>
                    <a:pt x="438" y="1281"/>
                    <a:pt x="426" y="1283"/>
                  </a:cubicBezTo>
                  <a:cubicBezTo>
                    <a:pt x="411" y="1285"/>
                    <a:pt x="397" y="1287"/>
                    <a:pt x="382" y="1289"/>
                  </a:cubicBezTo>
                  <a:moveTo>
                    <a:pt x="472" y="1276"/>
                  </a:moveTo>
                  <a:cubicBezTo>
                    <a:pt x="468" y="1258"/>
                    <a:pt x="466" y="1241"/>
                    <a:pt x="464" y="1226"/>
                  </a:cubicBezTo>
                  <a:cubicBezTo>
                    <a:pt x="489" y="1224"/>
                    <a:pt x="514" y="1223"/>
                    <a:pt x="539" y="1220"/>
                  </a:cubicBezTo>
                  <a:cubicBezTo>
                    <a:pt x="541" y="1233"/>
                    <a:pt x="543" y="1247"/>
                    <a:pt x="546" y="1261"/>
                  </a:cubicBezTo>
                  <a:cubicBezTo>
                    <a:pt x="522" y="1267"/>
                    <a:pt x="497" y="1271"/>
                    <a:pt x="472" y="1276"/>
                  </a:cubicBezTo>
                  <a:moveTo>
                    <a:pt x="557" y="1259"/>
                  </a:moveTo>
                  <a:cubicBezTo>
                    <a:pt x="554" y="1245"/>
                    <a:pt x="552" y="1231"/>
                    <a:pt x="550" y="1219"/>
                  </a:cubicBezTo>
                  <a:cubicBezTo>
                    <a:pt x="577" y="1217"/>
                    <a:pt x="602" y="1214"/>
                    <a:pt x="627" y="1210"/>
                  </a:cubicBezTo>
                  <a:cubicBezTo>
                    <a:pt x="629" y="1220"/>
                    <a:pt x="631" y="1230"/>
                    <a:pt x="633" y="1240"/>
                  </a:cubicBezTo>
                  <a:cubicBezTo>
                    <a:pt x="609" y="1247"/>
                    <a:pt x="583" y="1253"/>
                    <a:pt x="557" y="1259"/>
                  </a:cubicBezTo>
                  <a:moveTo>
                    <a:pt x="60" y="1189"/>
                  </a:moveTo>
                  <a:cubicBezTo>
                    <a:pt x="64" y="1187"/>
                    <a:pt x="68" y="1185"/>
                    <a:pt x="72" y="1183"/>
                  </a:cubicBezTo>
                  <a:cubicBezTo>
                    <a:pt x="65" y="1192"/>
                    <a:pt x="57" y="1205"/>
                    <a:pt x="50" y="1222"/>
                  </a:cubicBezTo>
                  <a:cubicBezTo>
                    <a:pt x="44" y="1222"/>
                    <a:pt x="39" y="1222"/>
                    <a:pt x="35" y="1222"/>
                  </a:cubicBezTo>
                  <a:cubicBezTo>
                    <a:pt x="42" y="1211"/>
                    <a:pt x="50" y="1200"/>
                    <a:pt x="60" y="1188"/>
                  </a:cubicBezTo>
                  <a:cubicBezTo>
                    <a:pt x="60" y="1189"/>
                    <a:pt x="60" y="1189"/>
                    <a:pt x="60" y="1189"/>
                  </a:cubicBezTo>
                  <a:moveTo>
                    <a:pt x="83" y="1223"/>
                  </a:moveTo>
                  <a:cubicBezTo>
                    <a:pt x="75" y="1223"/>
                    <a:pt x="68" y="1223"/>
                    <a:pt x="61" y="1223"/>
                  </a:cubicBezTo>
                  <a:cubicBezTo>
                    <a:pt x="75" y="1193"/>
                    <a:pt x="91" y="1177"/>
                    <a:pt x="93" y="1175"/>
                  </a:cubicBezTo>
                  <a:cubicBezTo>
                    <a:pt x="93" y="1175"/>
                    <a:pt x="93" y="1175"/>
                    <a:pt x="93" y="1175"/>
                  </a:cubicBezTo>
                  <a:cubicBezTo>
                    <a:pt x="99" y="1173"/>
                    <a:pt x="106" y="1171"/>
                    <a:pt x="114" y="1169"/>
                  </a:cubicBezTo>
                  <a:cubicBezTo>
                    <a:pt x="106" y="1179"/>
                    <a:pt x="94" y="1198"/>
                    <a:pt x="83" y="1223"/>
                  </a:cubicBezTo>
                  <a:moveTo>
                    <a:pt x="145" y="1223"/>
                  </a:moveTo>
                  <a:cubicBezTo>
                    <a:pt x="127" y="1223"/>
                    <a:pt x="110" y="1223"/>
                    <a:pt x="94" y="1223"/>
                  </a:cubicBezTo>
                  <a:cubicBezTo>
                    <a:pt x="109" y="1191"/>
                    <a:pt x="126" y="1171"/>
                    <a:pt x="128" y="1169"/>
                  </a:cubicBezTo>
                  <a:cubicBezTo>
                    <a:pt x="126" y="1167"/>
                    <a:pt x="126" y="1167"/>
                    <a:pt x="126" y="1167"/>
                  </a:cubicBezTo>
                  <a:cubicBezTo>
                    <a:pt x="145" y="1163"/>
                    <a:pt x="168" y="1160"/>
                    <a:pt x="192" y="1158"/>
                  </a:cubicBezTo>
                  <a:cubicBezTo>
                    <a:pt x="188" y="1169"/>
                    <a:pt x="181" y="1192"/>
                    <a:pt x="175" y="1223"/>
                  </a:cubicBezTo>
                  <a:cubicBezTo>
                    <a:pt x="165" y="1223"/>
                    <a:pt x="155" y="1223"/>
                    <a:pt x="145" y="1223"/>
                  </a:cubicBezTo>
                  <a:moveTo>
                    <a:pt x="186" y="1223"/>
                  </a:moveTo>
                  <a:cubicBezTo>
                    <a:pt x="193" y="1187"/>
                    <a:pt x="202" y="1163"/>
                    <a:pt x="204" y="1157"/>
                  </a:cubicBezTo>
                  <a:cubicBezTo>
                    <a:pt x="228" y="1156"/>
                    <a:pt x="254" y="1155"/>
                    <a:pt x="280" y="1154"/>
                  </a:cubicBezTo>
                  <a:cubicBezTo>
                    <a:pt x="279" y="1161"/>
                    <a:pt x="273" y="1186"/>
                    <a:pt x="270" y="1222"/>
                  </a:cubicBezTo>
                  <a:cubicBezTo>
                    <a:pt x="240" y="1223"/>
                    <a:pt x="212" y="1223"/>
                    <a:pt x="186" y="1223"/>
                  </a:cubicBezTo>
                  <a:moveTo>
                    <a:pt x="376" y="1218"/>
                  </a:moveTo>
                  <a:cubicBezTo>
                    <a:pt x="375" y="1205"/>
                    <a:pt x="375" y="1193"/>
                    <a:pt x="375" y="1183"/>
                  </a:cubicBezTo>
                  <a:cubicBezTo>
                    <a:pt x="375" y="1169"/>
                    <a:pt x="375" y="1159"/>
                    <a:pt x="376" y="1154"/>
                  </a:cubicBezTo>
                  <a:cubicBezTo>
                    <a:pt x="381" y="1154"/>
                    <a:pt x="387" y="1154"/>
                    <a:pt x="392" y="1154"/>
                  </a:cubicBezTo>
                  <a:cubicBezTo>
                    <a:pt x="410" y="1154"/>
                    <a:pt x="428" y="1154"/>
                    <a:pt x="445" y="1154"/>
                  </a:cubicBezTo>
                  <a:cubicBezTo>
                    <a:pt x="446" y="1154"/>
                    <a:pt x="447" y="1154"/>
                    <a:pt x="447" y="1154"/>
                  </a:cubicBezTo>
                  <a:cubicBezTo>
                    <a:pt x="447" y="1163"/>
                    <a:pt x="448" y="1185"/>
                    <a:pt x="451" y="1214"/>
                  </a:cubicBezTo>
                  <a:cubicBezTo>
                    <a:pt x="426" y="1216"/>
                    <a:pt x="401" y="1217"/>
                    <a:pt x="376" y="1218"/>
                  </a:cubicBezTo>
                  <a:moveTo>
                    <a:pt x="281" y="1222"/>
                  </a:moveTo>
                  <a:cubicBezTo>
                    <a:pt x="285" y="1182"/>
                    <a:pt x="291" y="1156"/>
                    <a:pt x="292" y="1156"/>
                  </a:cubicBezTo>
                  <a:cubicBezTo>
                    <a:pt x="288" y="1154"/>
                    <a:pt x="288" y="1154"/>
                    <a:pt x="288" y="1154"/>
                  </a:cubicBezTo>
                  <a:cubicBezTo>
                    <a:pt x="306" y="1154"/>
                    <a:pt x="324" y="1154"/>
                    <a:pt x="343" y="1154"/>
                  </a:cubicBezTo>
                  <a:cubicBezTo>
                    <a:pt x="350" y="1154"/>
                    <a:pt x="357" y="1154"/>
                    <a:pt x="364" y="1154"/>
                  </a:cubicBezTo>
                  <a:cubicBezTo>
                    <a:pt x="364" y="1160"/>
                    <a:pt x="364" y="1170"/>
                    <a:pt x="364" y="1183"/>
                  </a:cubicBezTo>
                  <a:cubicBezTo>
                    <a:pt x="364" y="1193"/>
                    <a:pt x="364" y="1205"/>
                    <a:pt x="365" y="1219"/>
                  </a:cubicBezTo>
                  <a:cubicBezTo>
                    <a:pt x="336" y="1220"/>
                    <a:pt x="308" y="1221"/>
                    <a:pt x="281" y="1222"/>
                  </a:cubicBezTo>
                  <a:moveTo>
                    <a:pt x="463" y="1214"/>
                  </a:moveTo>
                  <a:cubicBezTo>
                    <a:pt x="459" y="1184"/>
                    <a:pt x="459" y="1163"/>
                    <a:pt x="458" y="1154"/>
                  </a:cubicBezTo>
                  <a:cubicBezTo>
                    <a:pt x="483" y="1154"/>
                    <a:pt x="508" y="1154"/>
                    <a:pt x="533" y="1153"/>
                  </a:cubicBezTo>
                  <a:cubicBezTo>
                    <a:pt x="533" y="1164"/>
                    <a:pt x="534" y="1184"/>
                    <a:pt x="537" y="1208"/>
                  </a:cubicBezTo>
                  <a:cubicBezTo>
                    <a:pt x="513" y="1210"/>
                    <a:pt x="488" y="1212"/>
                    <a:pt x="463" y="1214"/>
                  </a:cubicBezTo>
                  <a:moveTo>
                    <a:pt x="549" y="1207"/>
                  </a:moveTo>
                  <a:cubicBezTo>
                    <a:pt x="546" y="1183"/>
                    <a:pt x="544" y="1164"/>
                    <a:pt x="544" y="1153"/>
                  </a:cubicBezTo>
                  <a:cubicBezTo>
                    <a:pt x="569" y="1153"/>
                    <a:pt x="594" y="1152"/>
                    <a:pt x="618" y="1150"/>
                  </a:cubicBezTo>
                  <a:cubicBezTo>
                    <a:pt x="620" y="1161"/>
                    <a:pt x="621" y="1178"/>
                    <a:pt x="625" y="1198"/>
                  </a:cubicBezTo>
                  <a:cubicBezTo>
                    <a:pt x="600" y="1202"/>
                    <a:pt x="575" y="1204"/>
                    <a:pt x="549" y="1207"/>
                  </a:cubicBezTo>
                  <a:moveTo>
                    <a:pt x="123" y="1155"/>
                  </a:moveTo>
                  <a:cubicBezTo>
                    <a:pt x="130" y="1150"/>
                    <a:pt x="139" y="1144"/>
                    <a:pt x="149" y="1136"/>
                  </a:cubicBezTo>
                  <a:cubicBezTo>
                    <a:pt x="172" y="1136"/>
                    <a:pt x="205" y="1136"/>
                    <a:pt x="244" y="1135"/>
                  </a:cubicBezTo>
                  <a:cubicBezTo>
                    <a:pt x="244" y="1138"/>
                    <a:pt x="244" y="1141"/>
                    <a:pt x="244" y="1143"/>
                  </a:cubicBezTo>
                  <a:cubicBezTo>
                    <a:pt x="198" y="1145"/>
                    <a:pt x="157" y="1148"/>
                    <a:pt x="123" y="1155"/>
                  </a:cubicBezTo>
                  <a:moveTo>
                    <a:pt x="255" y="1143"/>
                  </a:moveTo>
                  <a:cubicBezTo>
                    <a:pt x="255" y="1140"/>
                    <a:pt x="255" y="1138"/>
                    <a:pt x="255" y="1135"/>
                  </a:cubicBezTo>
                  <a:cubicBezTo>
                    <a:pt x="281" y="1135"/>
                    <a:pt x="310" y="1134"/>
                    <a:pt x="340" y="1134"/>
                  </a:cubicBezTo>
                  <a:cubicBezTo>
                    <a:pt x="340" y="1136"/>
                    <a:pt x="340" y="1139"/>
                    <a:pt x="340" y="1142"/>
                  </a:cubicBezTo>
                  <a:cubicBezTo>
                    <a:pt x="310" y="1142"/>
                    <a:pt x="282" y="1142"/>
                    <a:pt x="255" y="1143"/>
                  </a:cubicBezTo>
                  <a:moveTo>
                    <a:pt x="79" y="1167"/>
                  </a:moveTo>
                  <a:cubicBezTo>
                    <a:pt x="89" y="1156"/>
                    <a:pt x="102" y="1144"/>
                    <a:pt x="116" y="1131"/>
                  </a:cubicBezTo>
                  <a:cubicBezTo>
                    <a:pt x="116" y="1136"/>
                    <a:pt x="116" y="1136"/>
                    <a:pt x="116" y="1136"/>
                  </a:cubicBezTo>
                  <a:cubicBezTo>
                    <a:pt x="117" y="1136"/>
                    <a:pt x="122" y="1136"/>
                    <a:pt x="129" y="1136"/>
                  </a:cubicBezTo>
                  <a:cubicBezTo>
                    <a:pt x="109" y="1150"/>
                    <a:pt x="97" y="1158"/>
                    <a:pt x="96" y="1159"/>
                  </a:cubicBezTo>
                  <a:cubicBezTo>
                    <a:pt x="98" y="1161"/>
                    <a:pt x="98" y="1161"/>
                    <a:pt x="98" y="1161"/>
                  </a:cubicBezTo>
                  <a:cubicBezTo>
                    <a:pt x="91" y="1163"/>
                    <a:pt x="85" y="1165"/>
                    <a:pt x="79" y="1167"/>
                  </a:cubicBezTo>
                  <a:moveTo>
                    <a:pt x="429" y="1142"/>
                  </a:moveTo>
                  <a:cubicBezTo>
                    <a:pt x="417" y="1142"/>
                    <a:pt x="405" y="1142"/>
                    <a:pt x="392" y="1142"/>
                  </a:cubicBezTo>
                  <a:cubicBezTo>
                    <a:pt x="378" y="1142"/>
                    <a:pt x="365" y="1142"/>
                    <a:pt x="351" y="1142"/>
                  </a:cubicBezTo>
                  <a:cubicBezTo>
                    <a:pt x="351" y="1139"/>
                    <a:pt x="351" y="1136"/>
                    <a:pt x="351" y="1133"/>
                  </a:cubicBezTo>
                  <a:cubicBezTo>
                    <a:pt x="375" y="1133"/>
                    <a:pt x="399" y="1132"/>
                    <a:pt x="423" y="1131"/>
                  </a:cubicBezTo>
                  <a:cubicBezTo>
                    <a:pt x="423" y="1134"/>
                    <a:pt x="423" y="1138"/>
                    <a:pt x="422" y="1141"/>
                  </a:cubicBezTo>
                  <a:cubicBezTo>
                    <a:pt x="429" y="1142"/>
                    <a:pt x="429" y="1142"/>
                    <a:pt x="429" y="1142"/>
                  </a:cubicBezTo>
                  <a:moveTo>
                    <a:pt x="443" y="1142"/>
                  </a:moveTo>
                  <a:cubicBezTo>
                    <a:pt x="440" y="1142"/>
                    <a:pt x="437" y="1142"/>
                    <a:pt x="433" y="1142"/>
                  </a:cubicBezTo>
                  <a:cubicBezTo>
                    <a:pt x="434" y="1138"/>
                    <a:pt x="434" y="1134"/>
                    <a:pt x="434" y="1130"/>
                  </a:cubicBezTo>
                  <a:cubicBezTo>
                    <a:pt x="464" y="1129"/>
                    <a:pt x="494" y="1128"/>
                    <a:pt x="524" y="1126"/>
                  </a:cubicBezTo>
                  <a:cubicBezTo>
                    <a:pt x="523" y="1131"/>
                    <a:pt x="523" y="1136"/>
                    <a:pt x="522" y="1142"/>
                  </a:cubicBezTo>
                  <a:cubicBezTo>
                    <a:pt x="496" y="1142"/>
                    <a:pt x="469" y="1142"/>
                    <a:pt x="443" y="1142"/>
                  </a:cubicBezTo>
                  <a:moveTo>
                    <a:pt x="533" y="1141"/>
                  </a:moveTo>
                  <a:cubicBezTo>
                    <a:pt x="534" y="1136"/>
                    <a:pt x="534" y="1130"/>
                    <a:pt x="535" y="1125"/>
                  </a:cubicBezTo>
                  <a:cubicBezTo>
                    <a:pt x="565" y="1123"/>
                    <a:pt x="593" y="1121"/>
                    <a:pt x="620" y="1118"/>
                  </a:cubicBezTo>
                  <a:cubicBezTo>
                    <a:pt x="620" y="1124"/>
                    <a:pt x="619" y="1130"/>
                    <a:pt x="618" y="1136"/>
                  </a:cubicBezTo>
                  <a:cubicBezTo>
                    <a:pt x="623" y="1137"/>
                    <a:pt x="623" y="1137"/>
                    <a:pt x="623" y="1137"/>
                  </a:cubicBezTo>
                  <a:cubicBezTo>
                    <a:pt x="617" y="1138"/>
                    <a:pt x="617" y="1138"/>
                    <a:pt x="617" y="1138"/>
                  </a:cubicBezTo>
                  <a:cubicBezTo>
                    <a:pt x="617" y="1138"/>
                    <a:pt x="617" y="1138"/>
                    <a:pt x="617" y="1138"/>
                  </a:cubicBezTo>
                  <a:cubicBezTo>
                    <a:pt x="590" y="1140"/>
                    <a:pt x="562" y="1141"/>
                    <a:pt x="533" y="1141"/>
                  </a:cubicBezTo>
                  <a:moveTo>
                    <a:pt x="167" y="1124"/>
                  </a:moveTo>
                  <a:cubicBezTo>
                    <a:pt x="186" y="1110"/>
                    <a:pt x="209" y="1094"/>
                    <a:pt x="235" y="1076"/>
                  </a:cubicBezTo>
                  <a:cubicBezTo>
                    <a:pt x="239" y="1087"/>
                    <a:pt x="242" y="1102"/>
                    <a:pt x="244" y="1123"/>
                  </a:cubicBezTo>
                  <a:cubicBezTo>
                    <a:pt x="214" y="1124"/>
                    <a:pt x="188" y="1124"/>
                    <a:pt x="167" y="1124"/>
                  </a:cubicBezTo>
                  <a:moveTo>
                    <a:pt x="255" y="1123"/>
                  </a:moveTo>
                  <a:cubicBezTo>
                    <a:pt x="253" y="1099"/>
                    <a:pt x="249" y="1082"/>
                    <a:pt x="244" y="1070"/>
                  </a:cubicBezTo>
                  <a:cubicBezTo>
                    <a:pt x="247" y="1068"/>
                    <a:pt x="249" y="1067"/>
                    <a:pt x="251" y="1065"/>
                  </a:cubicBezTo>
                  <a:cubicBezTo>
                    <a:pt x="273" y="1064"/>
                    <a:pt x="302" y="1064"/>
                    <a:pt x="335" y="1062"/>
                  </a:cubicBezTo>
                  <a:cubicBezTo>
                    <a:pt x="338" y="1078"/>
                    <a:pt x="340" y="1097"/>
                    <a:pt x="340" y="1119"/>
                  </a:cubicBezTo>
                  <a:cubicBezTo>
                    <a:pt x="340" y="1120"/>
                    <a:pt x="340" y="1121"/>
                    <a:pt x="340" y="1121"/>
                  </a:cubicBezTo>
                  <a:cubicBezTo>
                    <a:pt x="310" y="1122"/>
                    <a:pt x="281" y="1123"/>
                    <a:pt x="255" y="1123"/>
                  </a:cubicBezTo>
                  <a:moveTo>
                    <a:pt x="136" y="1124"/>
                  </a:moveTo>
                  <a:cubicBezTo>
                    <a:pt x="131" y="1124"/>
                    <a:pt x="127" y="1124"/>
                    <a:pt x="124" y="1124"/>
                  </a:cubicBezTo>
                  <a:cubicBezTo>
                    <a:pt x="146" y="1105"/>
                    <a:pt x="171" y="1085"/>
                    <a:pt x="200" y="1062"/>
                  </a:cubicBezTo>
                  <a:cubicBezTo>
                    <a:pt x="200" y="1066"/>
                    <a:pt x="200" y="1066"/>
                    <a:pt x="200" y="1066"/>
                  </a:cubicBezTo>
                  <a:cubicBezTo>
                    <a:pt x="203" y="1066"/>
                    <a:pt x="213" y="1066"/>
                    <a:pt x="230" y="1066"/>
                  </a:cubicBezTo>
                  <a:cubicBezTo>
                    <a:pt x="197" y="1089"/>
                    <a:pt x="168" y="1109"/>
                    <a:pt x="146" y="1124"/>
                  </a:cubicBezTo>
                  <a:cubicBezTo>
                    <a:pt x="143" y="1124"/>
                    <a:pt x="139" y="1124"/>
                    <a:pt x="136" y="1124"/>
                  </a:cubicBezTo>
                  <a:moveTo>
                    <a:pt x="352" y="1121"/>
                  </a:moveTo>
                  <a:cubicBezTo>
                    <a:pt x="352" y="1120"/>
                    <a:pt x="352" y="1120"/>
                    <a:pt x="352" y="1119"/>
                  </a:cubicBezTo>
                  <a:cubicBezTo>
                    <a:pt x="352" y="1097"/>
                    <a:pt x="350" y="1078"/>
                    <a:pt x="346" y="1062"/>
                  </a:cubicBezTo>
                  <a:cubicBezTo>
                    <a:pt x="371" y="1061"/>
                    <a:pt x="397" y="1059"/>
                    <a:pt x="424" y="1058"/>
                  </a:cubicBezTo>
                  <a:cubicBezTo>
                    <a:pt x="425" y="1067"/>
                    <a:pt x="425" y="1078"/>
                    <a:pt x="425" y="1088"/>
                  </a:cubicBezTo>
                  <a:cubicBezTo>
                    <a:pt x="425" y="1098"/>
                    <a:pt x="425" y="1108"/>
                    <a:pt x="424" y="1119"/>
                  </a:cubicBezTo>
                  <a:cubicBezTo>
                    <a:pt x="400" y="1120"/>
                    <a:pt x="375" y="1120"/>
                    <a:pt x="352" y="1121"/>
                  </a:cubicBezTo>
                  <a:moveTo>
                    <a:pt x="435" y="1118"/>
                  </a:moveTo>
                  <a:cubicBezTo>
                    <a:pt x="436" y="1108"/>
                    <a:pt x="436" y="1098"/>
                    <a:pt x="436" y="1088"/>
                  </a:cubicBezTo>
                  <a:cubicBezTo>
                    <a:pt x="436" y="1077"/>
                    <a:pt x="436" y="1067"/>
                    <a:pt x="435" y="1057"/>
                  </a:cubicBezTo>
                  <a:cubicBezTo>
                    <a:pt x="465" y="1055"/>
                    <a:pt x="496" y="1053"/>
                    <a:pt x="526" y="1051"/>
                  </a:cubicBezTo>
                  <a:cubicBezTo>
                    <a:pt x="527" y="1058"/>
                    <a:pt x="527" y="1066"/>
                    <a:pt x="527" y="1074"/>
                  </a:cubicBezTo>
                  <a:cubicBezTo>
                    <a:pt x="527" y="1087"/>
                    <a:pt x="526" y="1100"/>
                    <a:pt x="525" y="1113"/>
                  </a:cubicBezTo>
                  <a:cubicBezTo>
                    <a:pt x="496" y="1115"/>
                    <a:pt x="465" y="1117"/>
                    <a:pt x="435" y="1118"/>
                  </a:cubicBezTo>
                  <a:moveTo>
                    <a:pt x="211" y="1054"/>
                  </a:moveTo>
                  <a:cubicBezTo>
                    <a:pt x="212" y="1053"/>
                    <a:pt x="214" y="1052"/>
                    <a:pt x="216" y="1050"/>
                  </a:cubicBezTo>
                  <a:cubicBezTo>
                    <a:pt x="217" y="1051"/>
                    <a:pt x="219" y="1052"/>
                    <a:pt x="221" y="1054"/>
                  </a:cubicBezTo>
                  <a:cubicBezTo>
                    <a:pt x="217" y="1054"/>
                    <a:pt x="214" y="1054"/>
                    <a:pt x="211" y="1054"/>
                  </a:cubicBezTo>
                  <a:moveTo>
                    <a:pt x="537" y="1113"/>
                  </a:moveTo>
                  <a:cubicBezTo>
                    <a:pt x="538" y="1099"/>
                    <a:pt x="538" y="1086"/>
                    <a:pt x="538" y="1074"/>
                  </a:cubicBezTo>
                  <a:cubicBezTo>
                    <a:pt x="538" y="1065"/>
                    <a:pt x="538" y="1057"/>
                    <a:pt x="538" y="1050"/>
                  </a:cubicBezTo>
                  <a:cubicBezTo>
                    <a:pt x="567" y="1047"/>
                    <a:pt x="596" y="1044"/>
                    <a:pt x="625" y="1041"/>
                  </a:cubicBezTo>
                  <a:cubicBezTo>
                    <a:pt x="625" y="1044"/>
                    <a:pt x="625" y="1048"/>
                    <a:pt x="625" y="1052"/>
                  </a:cubicBezTo>
                  <a:cubicBezTo>
                    <a:pt x="625" y="1069"/>
                    <a:pt x="624" y="1087"/>
                    <a:pt x="622" y="1106"/>
                  </a:cubicBezTo>
                  <a:cubicBezTo>
                    <a:pt x="595" y="1108"/>
                    <a:pt x="566" y="1111"/>
                    <a:pt x="537" y="1113"/>
                  </a:cubicBezTo>
                  <a:moveTo>
                    <a:pt x="269" y="1053"/>
                  </a:moveTo>
                  <a:cubicBezTo>
                    <a:pt x="285" y="1041"/>
                    <a:pt x="302" y="1029"/>
                    <a:pt x="319" y="1017"/>
                  </a:cubicBezTo>
                  <a:cubicBezTo>
                    <a:pt x="324" y="1026"/>
                    <a:pt x="328" y="1037"/>
                    <a:pt x="332" y="1050"/>
                  </a:cubicBezTo>
                  <a:cubicBezTo>
                    <a:pt x="308" y="1051"/>
                    <a:pt x="287" y="1052"/>
                    <a:pt x="269" y="1053"/>
                  </a:cubicBezTo>
                  <a:moveTo>
                    <a:pt x="236" y="1054"/>
                  </a:moveTo>
                  <a:cubicBezTo>
                    <a:pt x="233" y="1048"/>
                    <a:pt x="229" y="1045"/>
                    <a:pt x="226" y="1043"/>
                  </a:cubicBezTo>
                  <a:cubicBezTo>
                    <a:pt x="241" y="1031"/>
                    <a:pt x="258" y="1019"/>
                    <a:pt x="275" y="1006"/>
                  </a:cubicBezTo>
                  <a:cubicBezTo>
                    <a:pt x="280" y="1006"/>
                    <a:pt x="293" y="1005"/>
                    <a:pt x="311" y="1004"/>
                  </a:cubicBezTo>
                  <a:cubicBezTo>
                    <a:pt x="312" y="1005"/>
                    <a:pt x="312" y="1006"/>
                    <a:pt x="313" y="1007"/>
                  </a:cubicBezTo>
                  <a:cubicBezTo>
                    <a:pt x="290" y="1023"/>
                    <a:pt x="268" y="1039"/>
                    <a:pt x="247" y="1053"/>
                  </a:cubicBezTo>
                  <a:cubicBezTo>
                    <a:pt x="243" y="1053"/>
                    <a:pt x="240" y="1053"/>
                    <a:pt x="236" y="1054"/>
                  </a:cubicBezTo>
                  <a:moveTo>
                    <a:pt x="344" y="1050"/>
                  </a:moveTo>
                  <a:cubicBezTo>
                    <a:pt x="339" y="1033"/>
                    <a:pt x="334" y="1020"/>
                    <a:pt x="329" y="1010"/>
                  </a:cubicBezTo>
                  <a:cubicBezTo>
                    <a:pt x="333" y="1007"/>
                    <a:pt x="337" y="1004"/>
                    <a:pt x="342" y="1001"/>
                  </a:cubicBezTo>
                  <a:cubicBezTo>
                    <a:pt x="362" y="1000"/>
                    <a:pt x="387" y="997"/>
                    <a:pt x="414" y="995"/>
                  </a:cubicBezTo>
                  <a:cubicBezTo>
                    <a:pt x="418" y="1009"/>
                    <a:pt x="421" y="1026"/>
                    <a:pt x="423" y="1045"/>
                  </a:cubicBezTo>
                  <a:cubicBezTo>
                    <a:pt x="395" y="1047"/>
                    <a:pt x="368" y="1048"/>
                    <a:pt x="344" y="1050"/>
                  </a:cubicBezTo>
                  <a:moveTo>
                    <a:pt x="632" y="993"/>
                  </a:moveTo>
                  <a:cubicBezTo>
                    <a:pt x="621" y="993"/>
                    <a:pt x="621" y="993"/>
                    <a:pt x="621" y="993"/>
                  </a:cubicBezTo>
                  <a:cubicBezTo>
                    <a:pt x="623" y="1004"/>
                    <a:pt x="624" y="1016"/>
                    <a:pt x="624" y="1029"/>
                  </a:cubicBezTo>
                  <a:cubicBezTo>
                    <a:pt x="596" y="1032"/>
                    <a:pt x="566" y="1035"/>
                    <a:pt x="537" y="1037"/>
                  </a:cubicBezTo>
                  <a:cubicBezTo>
                    <a:pt x="535" y="1022"/>
                    <a:pt x="534" y="1007"/>
                    <a:pt x="531" y="993"/>
                  </a:cubicBezTo>
                  <a:cubicBezTo>
                    <a:pt x="519" y="993"/>
                    <a:pt x="519" y="993"/>
                    <a:pt x="519" y="993"/>
                  </a:cubicBezTo>
                  <a:cubicBezTo>
                    <a:pt x="522" y="1007"/>
                    <a:pt x="524" y="1022"/>
                    <a:pt x="525" y="1038"/>
                  </a:cubicBezTo>
                  <a:cubicBezTo>
                    <a:pt x="495" y="1041"/>
                    <a:pt x="464" y="1043"/>
                    <a:pt x="434" y="1045"/>
                  </a:cubicBezTo>
                  <a:cubicBezTo>
                    <a:pt x="432" y="1025"/>
                    <a:pt x="429" y="1008"/>
                    <a:pt x="425" y="994"/>
                  </a:cubicBezTo>
                  <a:cubicBezTo>
                    <a:pt x="427" y="993"/>
                    <a:pt x="429" y="993"/>
                    <a:pt x="431" y="993"/>
                  </a:cubicBezTo>
                  <a:cubicBezTo>
                    <a:pt x="294" y="993"/>
                    <a:pt x="294" y="993"/>
                    <a:pt x="294" y="993"/>
                  </a:cubicBezTo>
                  <a:cubicBezTo>
                    <a:pt x="294" y="993"/>
                    <a:pt x="294" y="993"/>
                    <a:pt x="294" y="993"/>
                  </a:cubicBezTo>
                  <a:cubicBezTo>
                    <a:pt x="294" y="993"/>
                    <a:pt x="294" y="993"/>
                    <a:pt x="294" y="993"/>
                  </a:cubicBezTo>
                  <a:cubicBezTo>
                    <a:pt x="274" y="993"/>
                    <a:pt x="274" y="993"/>
                    <a:pt x="274" y="993"/>
                  </a:cubicBezTo>
                  <a:cubicBezTo>
                    <a:pt x="136" y="1092"/>
                    <a:pt x="57" y="1159"/>
                    <a:pt x="22" y="1222"/>
                  </a:cubicBezTo>
                  <a:cubicBezTo>
                    <a:pt x="21" y="1222"/>
                    <a:pt x="20" y="1222"/>
                    <a:pt x="20" y="1222"/>
                  </a:cubicBezTo>
                  <a:cubicBezTo>
                    <a:pt x="20" y="1226"/>
                    <a:pt x="20" y="1226"/>
                    <a:pt x="20" y="1226"/>
                  </a:cubicBezTo>
                  <a:cubicBezTo>
                    <a:pt x="7" y="1251"/>
                    <a:pt x="0" y="1276"/>
                    <a:pt x="0" y="1302"/>
                  </a:cubicBezTo>
                  <a:cubicBezTo>
                    <a:pt x="0" y="1318"/>
                    <a:pt x="3" y="1334"/>
                    <a:pt x="7" y="1351"/>
                  </a:cubicBezTo>
                  <a:cubicBezTo>
                    <a:pt x="11" y="1368"/>
                    <a:pt x="17" y="1390"/>
                    <a:pt x="27" y="1414"/>
                  </a:cubicBezTo>
                  <a:cubicBezTo>
                    <a:pt x="27" y="1414"/>
                    <a:pt x="27" y="1414"/>
                    <a:pt x="27" y="1414"/>
                  </a:cubicBezTo>
                  <a:cubicBezTo>
                    <a:pt x="27" y="1414"/>
                    <a:pt x="27" y="1414"/>
                    <a:pt x="27" y="1414"/>
                  </a:cubicBezTo>
                  <a:cubicBezTo>
                    <a:pt x="38" y="1438"/>
                    <a:pt x="53" y="1465"/>
                    <a:pt x="76" y="1489"/>
                  </a:cubicBezTo>
                  <a:cubicBezTo>
                    <a:pt x="132" y="1489"/>
                    <a:pt x="132" y="1489"/>
                    <a:pt x="132" y="1489"/>
                  </a:cubicBezTo>
                  <a:cubicBezTo>
                    <a:pt x="128" y="1488"/>
                    <a:pt x="124" y="1486"/>
                    <a:pt x="120" y="1485"/>
                  </a:cubicBezTo>
                  <a:cubicBezTo>
                    <a:pt x="108" y="1467"/>
                    <a:pt x="99" y="1449"/>
                    <a:pt x="92" y="1432"/>
                  </a:cubicBezTo>
                  <a:cubicBezTo>
                    <a:pt x="119" y="1439"/>
                    <a:pt x="152" y="1446"/>
                    <a:pt x="191" y="1450"/>
                  </a:cubicBezTo>
                  <a:cubicBezTo>
                    <a:pt x="195" y="1463"/>
                    <a:pt x="201" y="1476"/>
                    <a:pt x="207" y="1489"/>
                  </a:cubicBezTo>
                  <a:cubicBezTo>
                    <a:pt x="220" y="1489"/>
                    <a:pt x="220" y="1489"/>
                    <a:pt x="220" y="1489"/>
                  </a:cubicBezTo>
                  <a:cubicBezTo>
                    <a:pt x="214" y="1477"/>
                    <a:pt x="208" y="1464"/>
                    <a:pt x="203" y="1452"/>
                  </a:cubicBezTo>
                  <a:cubicBezTo>
                    <a:pt x="228" y="1454"/>
                    <a:pt x="255" y="1456"/>
                    <a:pt x="283" y="1456"/>
                  </a:cubicBezTo>
                  <a:cubicBezTo>
                    <a:pt x="288" y="1456"/>
                    <a:pt x="292" y="1456"/>
                    <a:pt x="297" y="1456"/>
                  </a:cubicBezTo>
                  <a:cubicBezTo>
                    <a:pt x="301" y="1467"/>
                    <a:pt x="306" y="1478"/>
                    <a:pt x="311" y="1489"/>
                  </a:cubicBezTo>
                  <a:cubicBezTo>
                    <a:pt x="324" y="1489"/>
                    <a:pt x="324" y="1489"/>
                    <a:pt x="324" y="1489"/>
                  </a:cubicBezTo>
                  <a:cubicBezTo>
                    <a:pt x="318" y="1478"/>
                    <a:pt x="313" y="1467"/>
                    <a:pt x="309" y="1456"/>
                  </a:cubicBezTo>
                  <a:cubicBezTo>
                    <a:pt x="333" y="1455"/>
                    <a:pt x="358" y="1453"/>
                    <a:pt x="383" y="1449"/>
                  </a:cubicBezTo>
                  <a:cubicBezTo>
                    <a:pt x="393" y="1447"/>
                    <a:pt x="402" y="1445"/>
                    <a:pt x="412" y="1443"/>
                  </a:cubicBezTo>
                  <a:cubicBezTo>
                    <a:pt x="419" y="1459"/>
                    <a:pt x="427" y="1474"/>
                    <a:pt x="435" y="1489"/>
                  </a:cubicBezTo>
                  <a:cubicBezTo>
                    <a:pt x="448" y="1489"/>
                    <a:pt x="448" y="1489"/>
                    <a:pt x="448" y="1489"/>
                  </a:cubicBezTo>
                  <a:cubicBezTo>
                    <a:pt x="439" y="1473"/>
                    <a:pt x="431" y="1457"/>
                    <a:pt x="424" y="1441"/>
                  </a:cubicBezTo>
                  <a:cubicBezTo>
                    <a:pt x="436" y="1438"/>
                    <a:pt x="449" y="1434"/>
                    <a:pt x="462" y="1430"/>
                  </a:cubicBezTo>
                  <a:cubicBezTo>
                    <a:pt x="476" y="1426"/>
                    <a:pt x="489" y="1421"/>
                    <a:pt x="502" y="1417"/>
                  </a:cubicBezTo>
                  <a:cubicBezTo>
                    <a:pt x="508" y="1433"/>
                    <a:pt x="516" y="1449"/>
                    <a:pt x="525" y="1464"/>
                  </a:cubicBezTo>
                  <a:cubicBezTo>
                    <a:pt x="510" y="1472"/>
                    <a:pt x="493" y="1480"/>
                    <a:pt x="476" y="1487"/>
                  </a:cubicBezTo>
                  <a:cubicBezTo>
                    <a:pt x="474" y="1487"/>
                    <a:pt x="471" y="1488"/>
                    <a:pt x="469" y="1489"/>
                  </a:cubicBezTo>
                  <a:cubicBezTo>
                    <a:pt x="501" y="1489"/>
                    <a:pt x="501" y="1489"/>
                    <a:pt x="501" y="1489"/>
                  </a:cubicBezTo>
                  <a:cubicBezTo>
                    <a:pt x="511" y="1484"/>
                    <a:pt x="522" y="1479"/>
                    <a:pt x="532" y="1475"/>
                  </a:cubicBezTo>
                  <a:cubicBezTo>
                    <a:pt x="535" y="1479"/>
                    <a:pt x="538" y="1484"/>
                    <a:pt x="541" y="1489"/>
                  </a:cubicBezTo>
                  <a:cubicBezTo>
                    <a:pt x="555" y="1489"/>
                    <a:pt x="555" y="1489"/>
                    <a:pt x="555" y="1489"/>
                  </a:cubicBezTo>
                  <a:cubicBezTo>
                    <a:pt x="550" y="1483"/>
                    <a:pt x="546" y="1476"/>
                    <a:pt x="542" y="1469"/>
                  </a:cubicBezTo>
                  <a:cubicBezTo>
                    <a:pt x="565" y="1457"/>
                    <a:pt x="586" y="1445"/>
                    <a:pt x="606" y="1432"/>
                  </a:cubicBezTo>
                  <a:cubicBezTo>
                    <a:pt x="615" y="1447"/>
                    <a:pt x="625" y="1462"/>
                    <a:pt x="637" y="1476"/>
                  </a:cubicBezTo>
                  <a:cubicBezTo>
                    <a:pt x="630" y="1480"/>
                    <a:pt x="622" y="1485"/>
                    <a:pt x="614" y="1489"/>
                  </a:cubicBezTo>
                  <a:cubicBezTo>
                    <a:pt x="638" y="1489"/>
                    <a:pt x="638" y="1489"/>
                    <a:pt x="638" y="1489"/>
                  </a:cubicBezTo>
                  <a:cubicBezTo>
                    <a:pt x="659" y="1476"/>
                    <a:pt x="679" y="1463"/>
                    <a:pt x="697" y="1449"/>
                  </a:cubicBezTo>
                  <a:cubicBezTo>
                    <a:pt x="697" y="1434"/>
                    <a:pt x="697" y="1434"/>
                    <a:pt x="697" y="1434"/>
                  </a:cubicBezTo>
                  <a:cubicBezTo>
                    <a:pt x="681" y="1446"/>
                    <a:pt x="665" y="1458"/>
                    <a:pt x="647" y="1470"/>
                  </a:cubicBezTo>
                  <a:cubicBezTo>
                    <a:pt x="635" y="1456"/>
                    <a:pt x="624" y="1441"/>
                    <a:pt x="615" y="1425"/>
                  </a:cubicBezTo>
                  <a:cubicBezTo>
                    <a:pt x="640" y="1409"/>
                    <a:pt x="662" y="1392"/>
                    <a:pt x="683" y="1375"/>
                  </a:cubicBezTo>
                  <a:cubicBezTo>
                    <a:pt x="688" y="1383"/>
                    <a:pt x="692" y="1390"/>
                    <a:pt x="697" y="1396"/>
                  </a:cubicBezTo>
                  <a:cubicBezTo>
                    <a:pt x="697" y="1375"/>
                    <a:pt x="697" y="1375"/>
                    <a:pt x="697" y="1375"/>
                  </a:cubicBezTo>
                  <a:cubicBezTo>
                    <a:pt x="695" y="1373"/>
                    <a:pt x="694" y="1370"/>
                    <a:pt x="693" y="1368"/>
                  </a:cubicBezTo>
                  <a:cubicBezTo>
                    <a:pt x="694" y="1367"/>
                    <a:pt x="695" y="1366"/>
                    <a:pt x="697" y="1365"/>
                  </a:cubicBezTo>
                  <a:cubicBezTo>
                    <a:pt x="697" y="1350"/>
                    <a:pt x="697" y="1350"/>
                    <a:pt x="697" y="1350"/>
                  </a:cubicBezTo>
                  <a:cubicBezTo>
                    <a:pt x="694" y="1352"/>
                    <a:pt x="690" y="1355"/>
                    <a:pt x="687" y="1358"/>
                  </a:cubicBezTo>
                  <a:cubicBezTo>
                    <a:pt x="682" y="1349"/>
                    <a:pt x="678" y="1340"/>
                    <a:pt x="674" y="1330"/>
                  </a:cubicBezTo>
                  <a:cubicBezTo>
                    <a:pt x="682" y="1326"/>
                    <a:pt x="689" y="1321"/>
                    <a:pt x="697" y="1317"/>
                  </a:cubicBezTo>
                  <a:cubicBezTo>
                    <a:pt x="697" y="1303"/>
                    <a:pt x="697" y="1303"/>
                    <a:pt x="697" y="1303"/>
                  </a:cubicBezTo>
                  <a:cubicBezTo>
                    <a:pt x="695" y="1304"/>
                    <a:pt x="694" y="1305"/>
                    <a:pt x="692" y="1306"/>
                  </a:cubicBezTo>
                  <a:cubicBezTo>
                    <a:pt x="685" y="1310"/>
                    <a:pt x="677" y="1315"/>
                    <a:pt x="670" y="1319"/>
                  </a:cubicBezTo>
                  <a:cubicBezTo>
                    <a:pt x="666" y="1310"/>
                    <a:pt x="662" y="1300"/>
                    <a:pt x="659" y="1290"/>
                  </a:cubicBezTo>
                  <a:cubicBezTo>
                    <a:pt x="672" y="1285"/>
                    <a:pt x="685" y="1279"/>
                    <a:pt x="697" y="1274"/>
                  </a:cubicBezTo>
                  <a:cubicBezTo>
                    <a:pt x="697" y="1261"/>
                    <a:pt x="697" y="1261"/>
                    <a:pt x="697" y="1261"/>
                  </a:cubicBezTo>
                  <a:cubicBezTo>
                    <a:pt x="683" y="1267"/>
                    <a:pt x="670" y="1273"/>
                    <a:pt x="656" y="1279"/>
                  </a:cubicBezTo>
                  <a:cubicBezTo>
                    <a:pt x="652" y="1269"/>
                    <a:pt x="650" y="1259"/>
                    <a:pt x="647" y="1249"/>
                  </a:cubicBezTo>
                  <a:cubicBezTo>
                    <a:pt x="664" y="1244"/>
                    <a:pt x="681" y="1240"/>
                    <a:pt x="697" y="1235"/>
                  </a:cubicBezTo>
                  <a:cubicBezTo>
                    <a:pt x="697" y="1222"/>
                    <a:pt x="697" y="1222"/>
                    <a:pt x="697" y="1222"/>
                  </a:cubicBezTo>
                  <a:cubicBezTo>
                    <a:pt x="680" y="1227"/>
                    <a:pt x="663" y="1232"/>
                    <a:pt x="645" y="1237"/>
                  </a:cubicBezTo>
                  <a:cubicBezTo>
                    <a:pt x="642" y="1227"/>
                    <a:pt x="640" y="1218"/>
                    <a:pt x="639" y="1209"/>
                  </a:cubicBezTo>
                  <a:cubicBezTo>
                    <a:pt x="647" y="1208"/>
                    <a:pt x="656" y="1206"/>
                    <a:pt x="665" y="1205"/>
                  </a:cubicBezTo>
                  <a:cubicBezTo>
                    <a:pt x="676" y="1203"/>
                    <a:pt x="686" y="1202"/>
                    <a:pt x="697" y="1200"/>
                  </a:cubicBezTo>
                  <a:cubicBezTo>
                    <a:pt x="697" y="1187"/>
                    <a:pt x="697" y="1187"/>
                    <a:pt x="697" y="1187"/>
                  </a:cubicBezTo>
                  <a:cubicBezTo>
                    <a:pt x="677" y="1191"/>
                    <a:pt x="657" y="1194"/>
                    <a:pt x="636" y="1197"/>
                  </a:cubicBezTo>
                  <a:cubicBezTo>
                    <a:pt x="633" y="1177"/>
                    <a:pt x="631" y="1160"/>
                    <a:pt x="630" y="1149"/>
                  </a:cubicBezTo>
                  <a:cubicBezTo>
                    <a:pt x="653" y="1148"/>
                    <a:pt x="675" y="1146"/>
                    <a:pt x="697" y="1143"/>
                  </a:cubicBezTo>
                  <a:cubicBezTo>
                    <a:pt x="697" y="1131"/>
                    <a:pt x="697" y="1131"/>
                    <a:pt x="697" y="1131"/>
                  </a:cubicBezTo>
                  <a:cubicBezTo>
                    <a:pt x="675" y="1134"/>
                    <a:pt x="652" y="1136"/>
                    <a:pt x="629" y="1137"/>
                  </a:cubicBezTo>
                  <a:cubicBezTo>
                    <a:pt x="630" y="1130"/>
                    <a:pt x="631" y="1124"/>
                    <a:pt x="632" y="1117"/>
                  </a:cubicBezTo>
                  <a:cubicBezTo>
                    <a:pt x="654" y="1114"/>
                    <a:pt x="675" y="1112"/>
                    <a:pt x="694" y="1109"/>
                  </a:cubicBezTo>
                  <a:cubicBezTo>
                    <a:pt x="695" y="1109"/>
                    <a:pt x="696" y="1108"/>
                    <a:pt x="697" y="1108"/>
                  </a:cubicBezTo>
                  <a:cubicBezTo>
                    <a:pt x="697" y="1096"/>
                    <a:pt x="697" y="1096"/>
                    <a:pt x="697" y="1096"/>
                  </a:cubicBezTo>
                  <a:cubicBezTo>
                    <a:pt x="677" y="1099"/>
                    <a:pt x="656" y="1102"/>
                    <a:pt x="633" y="1104"/>
                  </a:cubicBezTo>
                  <a:cubicBezTo>
                    <a:pt x="635" y="1086"/>
                    <a:pt x="636" y="1069"/>
                    <a:pt x="636" y="1052"/>
                  </a:cubicBezTo>
                  <a:cubicBezTo>
                    <a:pt x="636" y="1048"/>
                    <a:pt x="636" y="1044"/>
                    <a:pt x="636" y="1040"/>
                  </a:cubicBezTo>
                  <a:cubicBezTo>
                    <a:pt x="655" y="1037"/>
                    <a:pt x="674" y="1035"/>
                    <a:pt x="692" y="1032"/>
                  </a:cubicBezTo>
                  <a:cubicBezTo>
                    <a:pt x="693" y="1032"/>
                    <a:pt x="695" y="1031"/>
                    <a:pt x="697" y="1031"/>
                  </a:cubicBezTo>
                  <a:cubicBezTo>
                    <a:pt x="697" y="1019"/>
                    <a:pt x="697" y="1019"/>
                    <a:pt x="697" y="1019"/>
                  </a:cubicBezTo>
                  <a:cubicBezTo>
                    <a:pt x="677" y="1022"/>
                    <a:pt x="657" y="1025"/>
                    <a:pt x="635" y="1027"/>
                  </a:cubicBezTo>
                  <a:cubicBezTo>
                    <a:pt x="635" y="1016"/>
                    <a:pt x="634" y="1004"/>
                    <a:pt x="632" y="993"/>
                  </a:cubicBezTo>
                  <a:moveTo>
                    <a:pt x="1418" y="993"/>
                  </a:moveTo>
                  <a:cubicBezTo>
                    <a:pt x="1395" y="993"/>
                    <a:pt x="1395" y="993"/>
                    <a:pt x="1395" y="993"/>
                  </a:cubicBezTo>
                  <a:cubicBezTo>
                    <a:pt x="1395" y="999"/>
                    <a:pt x="1395" y="999"/>
                    <a:pt x="1395" y="999"/>
                  </a:cubicBezTo>
                  <a:cubicBezTo>
                    <a:pt x="1403" y="997"/>
                    <a:pt x="1410" y="995"/>
                    <a:pt x="1418" y="993"/>
                  </a:cubicBezTo>
                  <a:moveTo>
                    <a:pt x="1482" y="993"/>
                  </a:moveTo>
                  <a:cubicBezTo>
                    <a:pt x="1464" y="993"/>
                    <a:pt x="1464" y="993"/>
                    <a:pt x="1464" y="993"/>
                  </a:cubicBezTo>
                  <a:cubicBezTo>
                    <a:pt x="1475" y="1002"/>
                    <a:pt x="1487" y="1011"/>
                    <a:pt x="1500" y="1020"/>
                  </a:cubicBezTo>
                  <a:cubicBezTo>
                    <a:pt x="1482" y="1025"/>
                    <a:pt x="1463" y="1029"/>
                    <a:pt x="1443" y="1033"/>
                  </a:cubicBezTo>
                  <a:cubicBezTo>
                    <a:pt x="1425" y="1023"/>
                    <a:pt x="1409" y="1012"/>
                    <a:pt x="1395" y="1001"/>
                  </a:cubicBezTo>
                  <a:cubicBezTo>
                    <a:pt x="1395" y="1016"/>
                    <a:pt x="1395" y="1016"/>
                    <a:pt x="1395" y="1016"/>
                  </a:cubicBezTo>
                  <a:cubicBezTo>
                    <a:pt x="1404" y="1023"/>
                    <a:pt x="1415" y="1030"/>
                    <a:pt x="1426" y="1037"/>
                  </a:cubicBezTo>
                  <a:cubicBezTo>
                    <a:pt x="1420" y="1038"/>
                    <a:pt x="1415" y="1039"/>
                    <a:pt x="1410" y="1039"/>
                  </a:cubicBezTo>
                  <a:cubicBezTo>
                    <a:pt x="1405" y="1040"/>
                    <a:pt x="1400" y="1041"/>
                    <a:pt x="1395" y="1042"/>
                  </a:cubicBezTo>
                  <a:cubicBezTo>
                    <a:pt x="1395" y="1055"/>
                    <a:pt x="1395" y="1055"/>
                    <a:pt x="1395" y="1055"/>
                  </a:cubicBezTo>
                  <a:cubicBezTo>
                    <a:pt x="1401" y="1053"/>
                    <a:pt x="1406" y="1052"/>
                    <a:pt x="1411" y="1051"/>
                  </a:cubicBezTo>
                  <a:cubicBezTo>
                    <a:pt x="1421" y="1050"/>
                    <a:pt x="1431" y="1048"/>
                    <a:pt x="1442" y="1046"/>
                  </a:cubicBezTo>
                  <a:cubicBezTo>
                    <a:pt x="1443" y="1046"/>
                    <a:pt x="1443" y="1047"/>
                    <a:pt x="1444" y="1047"/>
                  </a:cubicBezTo>
                  <a:cubicBezTo>
                    <a:pt x="1445" y="1045"/>
                    <a:pt x="1445" y="1045"/>
                    <a:pt x="1445" y="1045"/>
                  </a:cubicBezTo>
                  <a:cubicBezTo>
                    <a:pt x="1470" y="1040"/>
                    <a:pt x="1494" y="1034"/>
                    <a:pt x="1514" y="1029"/>
                  </a:cubicBezTo>
                  <a:cubicBezTo>
                    <a:pt x="1514" y="1029"/>
                    <a:pt x="1515" y="1030"/>
                    <a:pt x="1515" y="1030"/>
                  </a:cubicBezTo>
                  <a:cubicBezTo>
                    <a:pt x="1516" y="1028"/>
                    <a:pt x="1516" y="1028"/>
                    <a:pt x="1516" y="1028"/>
                  </a:cubicBezTo>
                  <a:cubicBezTo>
                    <a:pt x="1543" y="1021"/>
                    <a:pt x="1561" y="1016"/>
                    <a:pt x="1562" y="1016"/>
                  </a:cubicBezTo>
                  <a:cubicBezTo>
                    <a:pt x="1559" y="1004"/>
                    <a:pt x="1559" y="1004"/>
                    <a:pt x="1559" y="1004"/>
                  </a:cubicBezTo>
                  <a:cubicBezTo>
                    <a:pt x="1558" y="1004"/>
                    <a:pt x="1541" y="1009"/>
                    <a:pt x="1515" y="1016"/>
                  </a:cubicBezTo>
                  <a:cubicBezTo>
                    <a:pt x="1503" y="1009"/>
                    <a:pt x="1492" y="1001"/>
                    <a:pt x="1482" y="993"/>
                  </a:cubicBezTo>
                  <a:moveTo>
                    <a:pt x="2033" y="1444"/>
                  </a:moveTo>
                  <a:cubicBezTo>
                    <a:pt x="2031" y="1440"/>
                    <a:pt x="2029" y="1437"/>
                    <a:pt x="2027" y="1433"/>
                  </a:cubicBezTo>
                  <a:cubicBezTo>
                    <a:pt x="2023" y="1425"/>
                    <a:pt x="2017" y="1416"/>
                    <a:pt x="2012" y="1408"/>
                  </a:cubicBezTo>
                  <a:cubicBezTo>
                    <a:pt x="2014" y="1407"/>
                    <a:pt x="2017" y="1406"/>
                    <a:pt x="2020" y="1406"/>
                  </a:cubicBezTo>
                  <a:cubicBezTo>
                    <a:pt x="2028" y="1418"/>
                    <a:pt x="2037" y="1430"/>
                    <a:pt x="2045" y="1442"/>
                  </a:cubicBezTo>
                  <a:cubicBezTo>
                    <a:pt x="2040" y="1443"/>
                    <a:pt x="2036" y="1444"/>
                    <a:pt x="2033" y="1444"/>
                  </a:cubicBezTo>
                  <a:moveTo>
                    <a:pt x="2057" y="1439"/>
                  </a:moveTo>
                  <a:cubicBezTo>
                    <a:pt x="2049" y="1427"/>
                    <a:pt x="2040" y="1415"/>
                    <a:pt x="2032" y="1402"/>
                  </a:cubicBezTo>
                  <a:cubicBezTo>
                    <a:pt x="2036" y="1401"/>
                    <a:pt x="2040" y="1400"/>
                    <a:pt x="2045" y="1399"/>
                  </a:cubicBezTo>
                  <a:cubicBezTo>
                    <a:pt x="2054" y="1406"/>
                    <a:pt x="2066" y="1418"/>
                    <a:pt x="2080" y="1434"/>
                  </a:cubicBezTo>
                  <a:cubicBezTo>
                    <a:pt x="2071" y="1436"/>
                    <a:pt x="2064" y="1438"/>
                    <a:pt x="2057" y="1439"/>
                  </a:cubicBezTo>
                  <a:moveTo>
                    <a:pt x="2005" y="1397"/>
                  </a:moveTo>
                  <a:cubicBezTo>
                    <a:pt x="1998" y="1387"/>
                    <a:pt x="1991" y="1377"/>
                    <a:pt x="1983" y="1366"/>
                  </a:cubicBezTo>
                  <a:cubicBezTo>
                    <a:pt x="1984" y="1366"/>
                    <a:pt x="1987" y="1365"/>
                    <a:pt x="1989" y="1364"/>
                  </a:cubicBezTo>
                  <a:cubicBezTo>
                    <a:pt x="1997" y="1374"/>
                    <a:pt x="2005" y="1385"/>
                    <a:pt x="2012" y="1395"/>
                  </a:cubicBezTo>
                  <a:cubicBezTo>
                    <a:pt x="2009" y="1396"/>
                    <a:pt x="2007" y="1397"/>
                    <a:pt x="2005" y="1397"/>
                  </a:cubicBezTo>
                  <a:moveTo>
                    <a:pt x="2024" y="1392"/>
                  </a:moveTo>
                  <a:cubicBezTo>
                    <a:pt x="2016" y="1381"/>
                    <a:pt x="2009" y="1371"/>
                    <a:pt x="2001" y="1361"/>
                  </a:cubicBezTo>
                  <a:cubicBezTo>
                    <a:pt x="2002" y="1360"/>
                    <a:pt x="2004" y="1360"/>
                    <a:pt x="2005" y="1359"/>
                  </a:cubicBezTo>
                  <a:cubicBezTo>
                    <a:pt x="2016" y="1371"/>
                    <a:pt x="2026" y="1381"/>
                    <a:pt x="2035" y="1389"/>
                  </a:cubicBezTo>
                  <a:cubicBezTo>
                    <a:pt x="2031" y="1390"/>
                    <a:pt x="2027" y="1391"/>
                    <a:pt x="2024" y="1392"/>
                  </a:cubicBezTo>
                  <a:moveTo>
                    <a:pt x="2048" y="1386"/>
                  </a:moveTo>
                  <a:cubicBezTo>
                    <a:pt x="2039" y="1378"/>
                    <a:pt x="2028" y="1368"/>
                    <a:pt x="2017" y="1355"/>
                  </a:cubicBezTo>
                  <a:cubicBezTo>
                    <a:pt x="2026" y="1352"/>
                    <a:pt x="2035" y="1349"/>
                    <a:pt x="2046" y="1345"/>
                  </a:cubicBezTo>
                  <a:cubicBezTo>
                    <a:pt x="2055" y="1356"/>
                    <a:pt x="2065" y="1367"/>
                    <a:pt x="2074" y="1378"/>
                  </a:cubicBezTo>
                  <a:cubicBezTo>
                    <a:pt x="2065" y="1381"/>
                    <a:pt x="2056" y="1383"/>
                    <a:pt x="2048" y="1386"/>
                  </a:cubicBezTo>
                  <a:moveTo>
                    <a:pt x="1975" y="1356"/>
                  </a:moveTo>
                  <a:cubicBezTo>
                    <a:pt x="1965" y="1343"/>
                    <a:pt x="1954" y="1330"/>
                    <a:pt x="1943" y="1317"/>
                  </a:cubicBezTo>
                  <a:cubicBezTo>
                    <a:pt x="1944" y="1316"/>
                    <a:pt x="1946" y="1316"/>
                    <a:pt x="1947" y="1315"/>
                  </a:cubicBezTo>
                  <a:cubicBezTo>
                    <a:pt x="1948" y="1316"/>
                    <a:pt x="1949" y="1318"/>
                    <a:pt x="1950" y="1319"/>
                  </a:cubicBezTo>
                  <a:cubicBezTo>
                    <a:pt x="1960" y="1329"/>
                    <a:pt x="1971" y="1341"/>
                    <a:pt x="1981" y="1354"/>
                  </a:cubicBezTo>
                  <a:cubicBezTo>
                    <a:pt x="1978" y="1355"/>
                    <a:pt x="1976" y="1356"/>
                    <a:pt x="1975" y="1356"/>
                  </a:cubicBezTo>
                  <a:moveTo>
                    <a:pt x="1993" y="1351"/>
                  </a:moveTo>
                  <a:cubicBezTo>
                    <a:pt x="1981" y="1336"/>
                    <a:pt x="1970" y="1323"/>
                    <a:pt x="1959" y="1311"/>
                  </a:cubicBezTo>
                  <a:cubicBezTo>
                    <a:pt x="1960" y="1311"/>
                    <a:pt x="1962" y="1310"/>
                    <a:pt x="1964" y="1309"/>
                  </a:cubicBezTo>
                  <a:cubicBezTo>
                    <a:pt x="1975" y="1324"/>
                    <a:pt x="1986" y="1337"/>
                    <a:pt x="1997" y="1349"/>
                  </a:cubicBezTo>
                  <a:cubicBezTo>
                    <a:pt x="1995" y="1350"/>
                    <a:pt x="1994" y="1350"/>
                    <a:pt x="1993" y="1351"/>
                  </a:cubicBezTo>
                  <a:moveTo>
                    <a:pt x="2009" y="1346"/>
                  </a:moveTo>
                  <a:cubicBezTo>
                    <a:pt x="1998" y="1333"/>
                    <a:pt x="1987" y="1320"/>
                    <a:pt x="1975" y="1305"/>
                  </a:cubicBezTo>
                  <a:cubicBezTo>
                    <a:pt x="1983" y="1302"/>
                    <a:pt x="1991" y="1299"/>
                    <a:pt x="1999" y="1295"/>
                  </a:cubicBezTo>
                  <a:cubicBezTo>
                    <a:pt x="2012" y="1308"/>
                    <a:pt x="2025" y="1321"/>
                    <a:pt x="2038" y="1335"/>
                  </a:cubicBezTo>
                  <a:cubicBezTo>
                    <a:pt x="2027" y="1339"/>
                    <a:pt x="2017" y="1343"/>
                    <a:pt x="2009" y="1346"/>
                  </a:cubicBezTo>
                  <a:moveTo>
                    <a:pt x="2049" y="1331"/>
                  </a:moveTo>
                  <a:cubicBezTo>
                    <a:pt x="2036" y="1317"/>
                    <a:pt x="2024" y="1303"/>
                    <a:pt x="2011" y="1291"/>
                  </a:cubicBezTo>
                  <a:cubicBezTo>
                    <a:pt x="2020" y="1287"/>
                    <a:pt x="2029" y="1283"/>
                    <a:pt x="2039" y="1279"/>
                  </a:cubicBezTo>
                  <a:cubicBezTo>
                    <a:pt x="2050" y="1293"/>
                    <a:pt x="2061" y="1308"/>
                    <a:pt x="2072" y="1322"/>
                  </a:cubicBezTo>
                  <a:cubicBezTo>
                    <a:pt x="2064" y="1326"/>
                    <a:pt x="2056" y="1328"/>
                    <a:pt x="2049" y="1331"/>
                  </a:cubicBezTo>
                  <a:moveTo>
                    <a:pt x="1935" y="1307"/>
                  </a:moveTo>
                  <a:cubicBezTo>
                    <a:pt x="1924" y="1295"/>
                    <a:pt x="1913" y="1282"/>
                    <a:pt x="1902" y="1269"/>
                  </a:cubicBezTo>
                  <a:cubicBezTo>
                    <a:pt x="1903" y="1269"/>
                    <a:pt x="1905" y="1268"/>
                    <a:pt x="1907" y="1267"/>
                  </a:cubicBezTo>
                  <a:cubicBezTo>
                    <a:pt x="1918" y="1282"/>
                    <a:pt x="1929" y="1295"/>
                    <a:pt x="1938" y="1306"/>
                  </a:cubicBezTo>
                  <a:cubicBezTo>
                    <a:pt x="1937" y="1306"/>
                    <a:pt x="1936" y="1307"/>
                    <a:pt x="1935" y="1307"/>
                  </a:cubicBezTo>
                  <a:moveTo>
                    <a:pt x="1950" y="1302"/>
                  </a:moveTo>
                  <a:cubicBezTo>
                    <a:pt x="1940" y="1291"/>
                    <a:pt x="1930" y="1278"/>
                    <a:pt x="1918" y="1263"/>
                  </a:cubicBezTo>
                  <a:cubicBezTo>
                    <a:pt x="1921" y="1262"/>
                    <a:pt x="1924" y="1261"/>
                    <a:pt x="1927" y="1260"/>
                  </a:cubicBezTo>
                  <a:cubicBezTo>
                    <a:pt x="1937" y="1273"/>
                    <a:pt x="1946" y="1287"/>
                    <a:pt x="1956" y="1299"/>
                  </a:cubicBezTo>
                  <a:cubicBezTo>
                    <a:pt x="1954" y="1300"/>
                    <a:pt x="1952" y="1301"/>
                    <a:pt x="1950" y="1302"/>
                  </a:cubicBezTo>
                  <a:moveTo>
                    <a:pt x="1968" y="1295"/>
                  </a:moveTo>
                  <a:cubicBezTo>
                    <a:pt x="1958" y="1282"/>
                    <a:pt x="1948" y="1269"/>
                    <a:pt x="1938" y="1255"/>
                  </a:cubicBezTo>
                  <a:cubicBezTo>
                    <a:pt x="1943" y="1253"/>
                    <a:pt x="1948" y="1250"/>
                    <a:pt x="1954" y="1248"/>
                  </a:cubicBezTo>
                  <a:cubicBezTo>
                    <a:pt x="1966" y="1262"/>
                    <a:pt x="1977" y="1275"/>
                    <a:pt x="1989" y="1285"/>
                  </a:cubicBezTo>
                  <a:cubicBezTo>
                    <a:pt x="1990" y="1286"/>
                    <a:pt x="1990" y="1286"/>
                    <a:pt x="1990" y="1286"/>
                  </a:cubicBezTo>
                  <a:cubicBezTo>
                    <a:pt x="1982" y="1290"/>
                    <a:pt x="1974" y="1293"/>
                    <a:pt x="1968" y="1295"/>
                  </a:cubicBezTo>
                  <a:moveTo>
                    <a:pt x="2002" y="1282"/>
                  </a:moveTo>
                  <a:cubicBezTo>
                    <a:pt x="2000" y="1280"/>
                    <a:pt x="1998" y="1278"/>
                    <a:pt x="1996" y="1276"/>
                  </a:cubicBezTo>
                  <a:cubicBezTo>
                    <a:pt x="1986" y="1267"/>
                    <a:pt x="1975" y="1255"/>
                    <a:pt x="1965" y="1243"/>
                  </a:cubicBezTo>
                  <a:cubicBezTo>
                    <a:pt x="1976" y="1238"/>
                    <a:pt x="1987" y="1233"/>
                    <a:pt x="2000" y="1227"/>
                  </a:cubicBezTo>
                  <a:cubicBezTo>
                    <a:pt x="2010" y="1241"/>
                    <a:pt x="2021" y="1255"/>
                    <a:pt x="2031" y="1269"/>
                  </a:cubicBezTo>
                  <a:cubicBezTo>
                    <a:pt x="2021" y="1274"/>
                    <a:pt x="2011" y="1278"/>
                    <a:pt x="2002" y="1282"/>
                  </a:cubicBezTo>
                  <a:moveTo>
                    <a:pt x="1894" y="1260"/>
                  </a:moveTo>
                  <a:cubicBezTo>
                    <a:pt x="1881" y="1246"/>
                    <a:pt x="1869" y="1232"/>
                    <a:pt x="1857" y="1217"/>
                  </a:cubicBezTo>
                  <a:cubicBezTo>
                    <a:pt x="1860" y="1216"/>
                    <a:pt x="1864" y="1215"/>
                    <a:pt x="1868" y="1213"/>
                  </a:cubicBezTo>
                  <a:cubicBezTo>
                    <a:pt x="1878" y="1228"/>
                    <a:pt x="1889" y="1243"/>
                    <a:pt x="1900" y="1258"/>
                  </a:cubicBezTo>
                  <a:cubicBezTo>
                    <a:pt x="1897" y="1259"/>
                    <a:pt x="1895" y="1259"/>
                    <a:pt x="1894" y="1260"/>
                  </a:cubicBezTo>
                  <a:moveTo>
                    <a:pt x="1911" y="1253"/>
                  </a:moveTo>
                  <a:cubicBezTo>
                    <a:pt x="1900" y="1239"/>
                    <a:pt x="1889" y="1224"/>
                    <a:pt x="1878" y="1209"/>
                  </a:cubicBezTo>
                  <a:cubicBezTo>
                    <a:pt x="1881" y="1207"/>
                    <a:pt x="1884" y="1206"/>
                    <a:pt x="1888" y="1204"/>
                  </a:cubicBezTo>
                  <a:cubicBezTo>
                    <a:pt x="1898" y="1219"/>
                    <a:pt x="1909" y="1235"/>
                    <a:pt x="1920" y="1250"/>
                  </a:cubicBezTo>
                  <a:cubicBezTo>
                    <a:pt x="1916" y="1251"/>
                    <a:pt x="1913" y="1252"/>
                    <a:pt x="1911" y="1253"/>
                  </a:cubicBezTo>
                  <a:moveTo>
                    <a:pt x="1931" y="1245"/>
                  </a:moveTo>
                  <a:cubicBezTo>
                    <a:pt x="1920" y="1230"/>
                    <a:pt x="1909" y="1215"/>
                    <a:pt x="1898" y="1200"/>
                  </a:cubicBezTo>
                  <a:cubicBezTo>
                    <a:pt x="1903" y="1197"/>
                    <a:pt x="1908" y="1195"/>
                    <a:pt x="1913" y="1193"/>
                  </a:cubicBezTo>
                  <a:cubicBezTo>
                    <a:pt x="1924" y="1208"/>
                    <a:pt x="1935" y="1224"/>
                    <a:pt x="1946" y="1238"/>
                  </a:cubicBezTo>
                  <a:cubicBezTo>
                    <a:pt x="1941" y="1241"/>
                    <a:pt x="1935" y="1243"/>
                    <a:pt x="1931" y="1245"/>
                  </a:cubicBezTo>
                  <a:moveTo>
                    <a:pt x="1957" y="1234"/>
                  </a:moveTo>
                  <a:cubicBezTo>
                    <a:pt x="1946" y="1219"/>
                    <a:pt x="1934" y="1203"/>
                    <a:pt x="1924" y="1188"/>
                  </a:cubicBezTo>
                  <a:cubicBezTo>
                    <a:pt x="1935" y="1182"/>
                    <a:pt x="1946" y="1176"/>
                    <a:pt x="1959" y="1170"/>
                  </a:cubicBezTo>
                  <a:cubicBezTo>
                    <a:pt x="1970" y="1185"/>
                    <a:pt x="1981" y="1201"/>
                    <a:pt x="1993" y="1217"/>
                  </a:cubicBezTo>
                  <a:cubicBezTo>
                    <a:pt x="1980" y="1223"/>
                    <a:pt x="1968" y="1229"/>
                    <a:pt x="1957" y="1234"/>
                  </a:cubicBezTo>
                  <a:moveTo>
                    <a:pt x="1849" y="1208"/>
                  </a:moveTo>
                  <a:cubicBezTo>
                    <a:pt x="1840" y="1197"/>
                    <a:pt x="1831" y="1185"/>
                    <a:pt x="1822" y="1174"/>
                  </a:cubicBezTo>
                  <a:cubicBezTo>
                    <a:pt x="1826" y="1173"/>
                    <a:pt x="1831" y="1170"/>
                    <a:pt x="1836" y="1168"/>
                  </a:cubicBezTo>
                  <a:cubicBezTo>
                    <a:pt x="1844" y="1179"/>
                    <a:pt x="1852" y="1191"/>
                    <a:pt x="1861" y="1203"/>
                  </a:cubicBezTo>
                  <a:cubicBezTo>
                    <a:pt x="1856" y="1205"/>
                    <a:pt x="1852" y="1207"/>
                    <a:pt x="1849" y="1208"/>
                  </a:cubicBezTo>
                  <a:moveTo>
                    <a:pt x="1871" y="1199"/>
                  </a:moveTo>
                  <a:cubicBezTo>
                    <a:pt x="1863" y="1186"/>
                    <a:pt x="1855" y="1174"/>
                    <a:pt x="1847" y="1163"/>
                  </a:cubicBezTo>
                  <a:cubicBezTo>
                    <a:pt x="1850" y="1161"/>
                    <a:pt x="1853" y="1160"/>
                    <a:pt x="1856" y="1158"/>
                  </a:cubicBezTo>
                  <a:cubicBezTo>
                    <a:pt x="1864" y="1170"/>
                    <a:pt x="1872" y="1182"/>
                    <a:pt x="1881" y="1195"/>
                  </a:cubicBezTo>
                  <a:cubicBezTo>
                    <a:pt x="1877" y="1196"/>
                    <a:pt x="1874" y="1197"/>
                    <a:pt x="1871" y="1199"/>
                  </a:cubicBezTo>
                  <a:moveTo>
                    <a:pt x="1892" y="1190"/>
                  </a:moveTo>
                  <a:cubicBezTo>
                    <a:pt x="1883" y="1177"/>
                    <a:pt x="1874" y="1164"/>
                    <a:pt x="1866" y="1153"/>
                  </a:cubicBezTo>
                  <a:cubicBezTo>
                    <a:pt x="1871" y="1150"/>
                    <a:pt x="1877" y="1147"/>
                    <a:pt x="1882" y="1144"/>
                  </a:cubicBezTo>
                  <a:cubicBezTo>
                    <a:pt x="1890" y="1157"/>
                    <a:pt x="1898" y="1170"/>
                    <a:pt x="1906" y="1183"/>
                  </a:cubicBezTo>
                  <a:cubicBezTo>
                    <a:pt x="1901" y="1185"/>
                    <a:pt x="1896" y="1188"/>
                    <a:pt x="1892" y="1190"/>
                  </a:cubicBezTo>
                  <a:moveTo>
                    <a:pt x="2003" y="1212"/>
                  </a:moveTo>
                  <a:cubicBezTo>
                    <a:pt x="1991" y="1196"/>
                    <a:pt x="1980" y="1180"/>
                    <a:pt x="1969" y="1165"/>
                  </a:cubicBezTo>
                  <a:cubicBezTo>
                    <a:pt x="1992" y="1153"/>
                    <a:pt x="2016" y="1139"/>
                    <a:pt x="2041" y="1124"/>
                  </a:cubicBezTo>
                  <a:cubicBezTo>
                    <a:pt x="2051" y="1141"/>
                    <a:pt x="2062" y="1159"/>
                    <a:pt x="2073" y="1176"/>
                  </a:cubicBezTo>
                  <a:cubicBezTo>
                    <a:pt x="2048" y="1189"/>
                    <a:pt x="2025" y="1202"/>
                    <a:pt x="2003" y="1212"/>
                  </a:cubicBezTo>
                  <a:moveTo>
                    <a:pt x="1917" y="1178"/>
                  </a:moveTo>
                  <a:cubicBezTo>
                    <a:pt x="1908" y="1165"/>
                    <a:pt x="1900" y="1151"/>
                    <a:pt x="1892" y="1139"/>
                  </a:cubicBezTo>
                  <a:cubicBezTo>
                    <a:pt x="1902" y="1133"/>
                    <a:pt x="1913" y="1127"/>
                    <a:pt x="1924" y="1121"/>
                  </a:cubicBezTo>
                  <a:cubicBezTo>
                    <a:pt x="1932" y="1133"/>
                    <a:pt x="1942" y="1146"/>
                    <a:pt x="1952" y="1160"/>
                  </a:cubicBezTo>
                  <a:cubicBezTo>
                    <a:pt x="1940" y="1167"/>
                    <a:pt x="1928" y="1173"/>
                    <a:pt x="1917" y="1178"/>
                  </a:cubicBezTo>
                  <a:moveTo>
                    <a:pt x="1815" y="1165"/>
                  </a:moveTo>
                  <a:cubicBezTo>
                    <a:pt x="1803" y="1149"/>
                    <a:pt x="1792" y="1133"/>
                    <a:pt x="1783" y="1118"/>
                  </a:cubicBezTo>
                  <a:cubicBezTo>
                    <a:pt x="1786" y="1116"/>
                    <a:pt x="1792" y="1114"/>
                    <a:pt x="1798" y="1110"/>
                  </a:cubicBezTo>
                  <a:cubicBezTo>
                    <a:pt x="1807" y="1124"/>
                    <a:pt x="1818" y="1140"/>
                    <a:pt x="1830" y="1158"/>
                  </a:cubicBezTo>
                  <a:cubicBezTo>
                    <a:pt x="1823" y="1161"/>
                    <a:pt x="1818" y="1163"/>
                    <a:pt x="1815" y="1165"/>
                  </a:cubicBezTo>
                  <a:moveTo>
                    <a:pt x="1840" y="1153"/>
                  </a:moveTo>
                  <a:cubicBezTo>
                    <a:pt x="1828" y="1135"/>
                    <a:pt x="1817" y="1119"/>
                    <a:pt x="1809" y="1105"/>
                  </a:cubicBezTo>
                  <a:cubicBezTo>
                    <a:pt x="1811" y="1103"/>
                    <a:pt x="1815" y="1102"/>
                    <a:pt x="1818" y="1100"/>
                  </a:cubicBezTo>
                  <a:cubicBezTo>
                    <a:pt x="1827" y="1113"/>
                    <a:pt x="1837" y="1130"/>
                    <a:pt x="1849" y="1148"/>
                  </a:cubicBezTo>
                  <a:cubicBezTo>
                    <a:pt x="1846" y="1150"/>
                    <a:pt x="1843" y="1151"/>
                    <a:pt x="1840" y="1153"/>
                  </a:cubicBezTo>
                  <a:moveTo>
                    <a:pt x="1860" y="1143"/>
                  </a:moveTo>
                  <a:cubicBezTo>
                    <a:pt x="1848" y="1125"/>
                    <a:pt x="1837" y="1108"/>
                    <a:pt x="1828" y="1095"/>
                  </a:cubicBezTo>
                  <a:cubicBezTo>
                    <a:pt x="1834" y="1091"/>
                    <a:pt x="1841" y="1088"/>
                    <a:pt x="1848" y="1084"/>
                  </a:cubicBezTo>
                  <a:cubicBezTo>
                    <a:pt x="1855" y="1098"/>
                    <a:pt x="1865" y="1115"/>
                    <a:pt x="1876" y="1134"/>
                  </a:cubicBezTo>
                  <a:cubicBezTo>
                    <a:pt x="1870" y="1137"/>
                    <a:pt x="1865" y="1140"/>
                    <a:pt x="1860" y="1143"/>
                  </a:cubicBezTo>
                  <a:moveTo>
                    <a:pt x="1962" y="1155"/>
                  </a:moveTo>
                  <a:cubicBezTo>
                    <a:pt x="1952" y="1141"/>
                    <a:pt x="1943" y="1127"/>
                    <a:pt x="1934" y="1115"/>
                  </a:cubicBezTo>
                  <a:cubicBezTo>
                    <a:pt x="1958" y="1101"/>
                    <a:pt x="1983" y="1085"/>
                    <a:pt x="2010" y="1067"/>
                  </a:cubicBezTo>
                  <a:cubicBezTo>
                    <a:pt x="2018" y="1082"/>
                    <a:pt x="2026" y="1097"/>
                    <a:pt x="2036" y="1114"/>
                  </a:cubicBezTo>
                  <a:cubicBezTo>
                    <a:pt x="2010" y="1129"/>
                    <a:pt x="1985" y="1143"/>
                    <a:pt x="1962" y="1155"/>
                  </a:cubicBezTo>
                  <a:moveTo>
                    <a:pt x="1802" y="1095"/>
                  </a:moveTo>
                  <a:cubicBezTo>
                    <a:pt x="1793" y="1081"/>
                    <a:pt x="1787" y="1071"/>
                    <a:pt x="1784" y="1067"/>
                  </a:cubicBezTo>
                  <a:cubicBezTo>
                    <a:pt x="1788" y="1067"/>
                    <a:pt x="1791" y="1067"/>
                    <a:pt x="1795" y="1067"/>
                  </a:cubicBezTo>
                  <a:cubicBezTo>
                    <a:pt x="1796" y="1067"/>
                    <a:pt x="1796" y="1067"/>
                    <a:pt x="1797" y="1067"/>
                  </a:cubicBezTo>
                  <a:cubicBezTo>
                    <a:pt x="1800" y="1071"/>
                    <a:pt x="1805" y="1079"/>
                    <a:pt x="1812" y="1090"/>
                  </a:cubicBezTo>
                  <a:cubicBezTo>
                    <a:pt x="1808" y="1092"/>
                    <a:pt x="1805" y="1093"/>
                    <a:pt x="1802" y="1095"/>
                  </a:cubicBezTo>
                  <a:moveTo>
                    <a:pt x="1777" y="1107"/>
                  </a:moveTo>
                  <a:cubicBezTo>
                    <a:pt x="1769" y="1093"/>
                    <a:pt x="1762" y="1078"/>
                    <a:pt x="1759" y="1065"/>
                  </a:cubicBezTo>
                  <a:cubicBezTo>
                    <a:pt x="1766" y="1066"/>
                    <a:pt x="1772" y="1066"/>
                    <a:pt x="1778" y="1066"/>
                  </a:cubicBezTo>
                  <a:cubicBezTo>
                    <a:pt x="1773" y="1070"/>
                    <a:pt x="1773" y="1070"/>
                    <a:pt x="1773" y="1070"/>
                  </a:cubicBezTo>
                  <a:cubicBezTo>
                    <a:pt x="1774" y="1072"/>
                    <a:pt x="1781" y="1083"/>
                    <a:pt x="1792" y="1100"/>
                  </a:cubicBezTo>
                  <a:cubicBezTo>
                    <a:pt x="1785" y="1104"/>
                    <a:pt x="1780" y="1106"/>
                    <a:pt x="1777" y="1107"/>
                  </a:cubicBezTo>
                  <a:moveTo>
                    <a:pt x="1823" y="1071"/>
                  </a:moveTo>
                  <a:cubicBezTo>
                    <a:pt x="1824" y="1065"/>
                    <a:pt x="1824" y="1065"/>
                    <a:pt x="1824" y="1065"/>
                  </a:cubicBezTo>
                  <a:cubicBezTo>
                    <a:pt x="1828" y="1065"/>
                    <a:pt x="1833" y="1064"/>
                    <a:pt x="1837" y="1064"/>
                  </a:cubicBezTo>
                  <a:cubicBezTo>
                    <a:pt x="1838" y="1067"/>
                    <a:pt x="1840" y="1070"/>
                    <a:pt x="1842" y="1074"/>
                  </a:cubicBezTo>
                  <a:cubicBezTo>
                    <a:pt x="1835" y="1078"/>
                    <a:pt x="1828" y="1081"/>
                    <a:pt x="1822" y="1085"/>
                  </a:cubicBezTo>
                  <a:cubicBezTo>
                    <a:pt x="1817" y="1078"/>
                    <a:pt x="1813" y="1072"/>
                    <a:pt x="1810" y="1067"/>
                  </a:cubicBezTo>
                  <a:cubicBezTo>
                    <a:pt x="1814" y="1069"/>
                    <a:pt x="1819" y="1070"/>
                    <a:pt x="1823" y="1071"/>
                  </a:cubicBezTo>
                  <a:moveTo>
                    <a:pt x="1886" y="1129"/>
                  </a:moveTo>
                  <a:cubicBezTo>
                    <a:pt x="1875" y="1110"/>
                    <a:pt x="1865" y="1092"/>
                    <a:pt x="1858" y="1078"/>
                  </a:cubicBezTo>
                  <a:cubicBezTo>
                    <a:pt x="1866" y="1074"/>
                    <a:pt x="1875" y="1068"/>
                    <a:pt x="1884" y="1063"/>
                  </a:cubicBezTo>
                  <a:cubicBezTo>
                    <a:pt x="1889" y="1071"/>
                    <a:pt x="1901" y="1088"/>
                    <a:pt x="1917" y="1111"/>
                  </a:cubicBezTo>
                  <a:cubicBezTo>
                    <a:pt x="1906" y="1118"/>
                    <a:pt x="1896" y="1123"/>
                    <a:pt x="1886" y="1129"/>
                  </a:cubicBezTo>
                  <a:moveTo>
                    <a:pt x="1852" y="1068"/>
                  </a:moveTo>
                  <a:cubicBezTo>
                    <a:pt x="1851" y="1066"/>
                    <a:pt x="1850" y="1063"/>
                    <a:pt x="1849" y="1061"/>
                  </a:cubicBezTo>
                  <a:cubicBezTo>
                    <a:pt x="1857" y="1060"/>
                    <a:pt x="1865" y="1058"/>
                    <a:pt x="1873" y="1056"/>
                  </a:cubicBezTo>
                  <a:cubicBezTo>
                    <a:pt x="1866" y="1060"/>
                    <a:pt x="1859" y="1064"/>
                    <a:pt x="1852" y="1068"/>
                  </a:cubicBezTo>
                  <a:moveTo>
                    <a:pt x="1811" y="1054"/>
                  </a:moveTo>
                  <a:cubicBezTo>
                    <a:pt x="1811" y="1054"/>
                    <a:pt x="1811" y="1054"/>
                    <a:pt x="1810" y="1054"/>
                  </a:cubicBezTo>
                  <a:cubicBezTo>
                    <a:pt x="1819" y="1051"/>
                    <a:pt x="1828" y="1049"/>
                    <a:pt x="1837" y="1046"/>
                  </a:cubicBezTo>
                  <a:cubicBezTo>
                    <a:pt x="1830" y="1050"/>
                    <a:pt x="1830" y="1050"/>
                    <a:pt x="1830" y="1050"/>
                  </a:cubicBezTo>
                  <a:cubicBezTo>
                    <a:pt x="1830" y="1050"/>
                    <a:pt x="1831" y="1051"/>
                    <a:pt x="1831" y="1052"/>
                  </a:cubicBezTo>
                  <a:cubicBezTo>
                    <a:pt x="1825" y="1053"/>
                    <a:pt x="1818" y="1054"/>
                    <a:pt x="1811" y="1054"/>
                  </a:cubicBezTo>
                  <a:moveTo>
                    <a:pt x="1703" y="1042"/>
                  </a:moveTo>
                  <a:cubicBezTo>
                    <a:pt x="1702" y="1042"/>
                    <a:pt x="1702" y="1042"/>
                    <a:pt x="1702" y="1042"/>
                  </a:cubicBezTo>
                  <a:cubicBezTo>
                    <a:pt x="1702" y="1042"/>
                    <a:pt x="1702" y="1042"/>
                    <a:pt x="1702" y="1042"/>
                  </a:cubicBezTo>
                  <a:cubicBezTo>
                    <a:pt x="1703" y="1042"/>
                    <a:pt x="1703" y="1042"/>
                    <a:pt x="1703" y="1042"/>
                  </a:cubicBezTo>
                  <a:moveTo>
                    <a:pt x="1843" y="1050"/>
                  </a:moveTo>
                  <a:cubicBezTo>
                    <a:pt x="1841" y="1047"/>
                    <a:pt x="1840" y="1045"/>
                    <a:pt x="1840" y="1045"/>
                  </a:cubicBezTo>
                  <a:cubicBezTo>
                    <a:pt x="1856" y="1039"/>
                    <a:pt x="1873" y="1033"/>
                    <a:pt x="1891" y="1024"/>
                  </a:cubicBezTo>
                  <a:cubicBezTo>
                    <a:pt x="1896" y="1024"/>
                    <a:pt x="1901" y="1024"/>
                    <a:pt x="1906" y="1024"/>
                  </a:cubicBezTo>
                  <a:cubicBezTo>
                    <a:pt x="1911" y="1024"/>
                    <a:pt x="1916" y="1024"/>
                    <a:pt x="1921" y="1024"/>
                  </a:cubicBezTo>
                  <a:cubicBezTo>
                    <a:pt x="1897" y="1037"/>
                    <a:pt x="1870" y="1046"/>
                    <a:pt x="1843" y="1050"/>
                  </a:cubicBezTo>
                  <a:moveTo>
                    <a:pt x="1789" y="1027"/>
                  </a:moveTo>
                  <a:cubicBezTo>
                    <a:pt x="1794" y="1026"/>
                    <a:pt x="1798" y="1024"/>
                    <a:pt x="1803" y="1021"/>
                  </a:cubicBezTo>
                  <a:cubicBezTo>
                    <a:pt x="1809" y="1018"/>
                    <a:pt x="1815" y="1015"/>
                    <a:pt x="1821" y="1011"/>
                  </a:cubicBezTo>
                  <a:cubicBezTo>
                    <a:pt x="1823" y="1012"/>
                    <a:pt x="1826" y="1013"/>
                    <a:pt x="1829" y="1013"/>
                  </a:cubicBezTo>
                  <a:cubicBezTo>
                    <a:pt x="1816" y="1019"/>
                    <a:pt x="1802" y="1024"/>
                    <a:pt x="1789" y="1027"/>
                  </a:cubicBezTo>
                  <a:moveTo>
                    <a:pt x="1927" y="1106"/>
                  </a:moveTo>
                  <a:cubicBezTo>
                    <a:pt x="1911" y="1083"/>
                    <a:pt x="1899" y="1066"/>
                    <a:pt x="1894" y="1057"/>
                  </a:cubicBezTo>
                  <a:cubicBezTo>
                    <a:pt x="1909" y="1047"/>
                    <a:pt x="1926" y="1037"/>
                    <a:pt x="1943" y="1025"/>
                  </a:cubicBezTo>
                  <a:cubicBezTo>
                    <a:pt x="1954" y="1019"/>
                    <a:pt x="1964" y="1012"/>
                    <a:pt x="1974" y="1004"/>
                  </a:cubicBezTo>
                  <a:cubicBezTo>
                    <a:pt x="1975" y="1003"/>
                    <a:pt x="1977" y="1002"/>
                    <a:pt x="1978" y="1001"/>
                  </a:cubicBezTo>
                  <a:cubicBezTo>
                    <a:pt x="1981" y="1009"/>
                    <a:pt x="1991" y="1030"/>
                    <a:pt x="2005" y="1057"/>
                  </a:cubicBezTo>
                  <a:cubicBezTo>
                    <a:pt x="1977" y="1075"/>
                    <a:pt x="1951" y="1092"/>
                    <a:pt x="1927" y="1106"/>
                  </a:cubicBezTo>
                  <a:moveTo>
                    <a:pt x="1691" y="1041"/>
                  </a:moveTo>
                  <a:cubicBezTo>
                    <a:pt x="1688" y="1040"/>
                    <a:pt x="1686" y="1040"/>
                    <a:pt x="1683" y="1040"/>
                  </a:cubicBezTo>
                  <a:cubicBezTo>
                    <a:pt x="1662" y="1034"/>
                    <a:pt x="1642" y="1027"/>
                    <a:pt x="1624" y="1019"/>
                  </a:cubicBezTo>
                  <a:cubicBezTo>
                    <a:pt x="1616" y="1013"/>
                    <a:pt x="1609" y="1006"/>
                    <a:pt x="1603" y="998"/>
                  </a:cubicBezTo>
                  <a:cubicBezTo>
                    <a:pt x="1611" y="998"/>
                    <a:pt x="1619" y="999"/>
                    <a:pt x="1627" y="999"/>
                  </a:cubicBezTo>
                  <a:cubicBezTo>
                    <a:pt x="1633" y="999"/>
                    <a:pt x="1639" y="999"/>
                    <a:pt x="1645" y="998"/>
                  </a:cubicBezTo>
                  <a:cubicBezTo>
                    <a:pt x="1654" y="1017"/>
                    <a:pt x="1670" y="1030"/>
                    <a:pt x="1691" y="1038"/>
                  </a:cubicBezTo>
                  <a:cubicBezTo>
                    <a:pt x="1691" y="1039"/>
                    <a:pt x="1691" y="1039"/>
                    <a:pt x="1691" y="1039"/>
                  </a:cubicBezTo>
                  <a:cubicBezTo>
                    <a:pt x="1691" y="1039"/>
                    <a:pt x="1691" y="1040"/>
                    <a:pt x="1691" y="1041"/>
                  </a:cubicBezTo>
                  <a:moveTo>
                    <a:pt x="1693" y="1027"/>
                  </a:moveTo>
                  <a:cubicBezTo>
                    <a:pt x="1677" y="1020"/>
                    <a:pt x="1665" y="1010"/>
                    <a:pt x="1657" y="997"/>
                  </a:cubicBezTo>
                  <a:cubicBezTo>
                    <a:pt x="1665" y="997"/>
                    <a:pt x="1673" y="996"/>
                    <a:pt x="1680" y="995"/>
                  </a:cubicBezTo>
                  <a:cubicBezTo>
                    <a:pt x="1681" y="994"/>
                    <a:pt x="1681" y="994"/>
                    <a:pt x="1681" y="994"/>
                  </a:cubicBezTo>
                  <a:cubicBezTo>
                    <a:pt x="1681" y="1006"/>
                    <a:pt x="1682" y="1006"/>
                    <a:pt x="1684" y="1012"/>
                  </a:cubicBezTo>
                  <a:cubicBezTo>
                    <a:pt x="1686" y="1017"/>
                    <a:pt x="1690" y="1021"/>
                    <a:pt x="1694" y="1025"/>
                  </a:cubicBezTo>
                  <a:cubicBezTo>
                    <a:pt x="1694" y="1025"/>
                    <a:pt x="1693" y="1026"/>
                    <a:pt x="1693" y="1027"/>
                  </a:cubicBezTo>
                  <a:moveTo>
                    <a:pt x="2092" y="993"/>
                  </a:moveTo>
                  <a:cubicBezTo>
                    <a:pt x="2091" y="993"/>
                    <a:pt x="2091" y="993"/>
                    <a:pt x="2091" y="993"/>
                  </a:cubicBezTo>
                  <a:cubicBezTo>
                    <a:pt x="2065" y="1014"/>
                    <a:pt x="2039" y="1033"/>
                    <a:pt x="2014" y="1050"/>
                  </a:cubicBezTo>
                  <a:cubicBezTo>
                    <a:pt x="2000" y="1022"/>
                    <a:pt x="1990" y="1000"/>
                    <a:pt x="1987" y="994"/>
                  </a:cubicBezTo>
                  <a:cubicBezTo>
                    <a:pt x="1988" y="994"/>
                    <a:pt x="1988" y="993"/>
                    <a:pt x="1989" y="993"/>
                  </a:cubicBezTo>
                  <a:cubicBezTo>
                    <a:pt x="1969" y="993"/>
                    <a:pt x="1969" y="993"/>
                    <a:pt x="1969" y="993"/>
                  </a:cubicBezTo>
                  <a:cubicBezTo>
                    <a:pt x="1968" y="993"/>
                    <a:pt x="1968" y="994"/>
                    <a:pt x="1967" y="994"/>
                  </a:cubicBezTo>
                  <a:cubicBezTo>
                    <a:pt x="1960" y="1000"/>
                    <a:pt x="1952" y="1005"/>
                    <a:pt x="1945" y="1010"/>
                  </a:cubicBezTo>
                  <a:cubicBezTo>
                    <a:pt x="1935" y="1011"/>
                    <a:pt x="1924" y="1012"/>
                    <a:pt x="1914" y="1012"/>
                  </a:cubicBezTo>
                  <a:cubicBezTo>
                    <a:pt x="1925" y="1007"/>
                    <a:pt x="1936" y="1000"/>
                    <a:pt x="1947" y="993"/>
                  </a:cubicBezTo>
                  <a:cubicBezTo>
                    <a:pt x="1889" y="993"/>
                    <a:pt x="1889" y="993"/>
                    <a:pt x="1889" y="993"/>
                  </a:cubicBezTo>
                  <a:cubicBezTo>
                    <a:pt x="1882" y="998"/>
                    <a:pt x="1875" y="1002"/>
                    <a:pt x="1867" y="1006"/>
                  </a:cubicBezTo>
                  <a:cubicBezTo>
                    <a:pt x="1874" y="1002"/>
                    <a:pt x="1880" y="998"/>
                    <a:pt x="1886" y="993"/>
                  </a:cubicBezTo>
                  <a:cubicBezTo>
                    <a:pt x="1866" y="993"/>
                    <a:pt x="1866" y="993"/>
                    <a:pt x="1866" y="993"/>
                  </a:cubicBezTo>
                  <a:cubicBezTo>
                    <a:pt x="1859" y="997"/>
                    <a:pt x="1852" y="1002"/>
                    <a:pt x="1845" y="1006"/>
                  </a:cubicBezTo>
                  <a:cubicBezTo>
                    <a:pt x="1840" y="1005"/>
                    <a:pt x="1836" y="1004"/>
                    <a:pt x="1832" y="1003"/>
                  </a:cubicBezTo>
                  <a:cubicBezTo>
                    <a:pt x="1836" y="1000"/>
                    <a:pt x="1840" y="996"/>
                    <a:pt x="1844" y="993"/>
                  </a:cubicBezTo>
                  <a:cubicBezTo>
                    <a:pt x="1826" y="993"/>
                    <a:pt x="1826" y="993"/>
                    <a:pt x="1826" y="993"/>
                  </a:cubicBezTo>
                  <a:cubicBezTo>
                    <a:pt x="1823" y="995"/>
                    <a:pt x="1821" y="997"/>
                    <a:pt x="1818" y="999"/>
                  </a:cubicBezTo>
                  <a:cubicBezTo>
                    <a:pt x="1813" y="997"/>
                    <a:pt x="1807" y="995"/>
                    <a:pt x="1802" y="993"/>
                  </a:cubicBezTo>
                  <a:cubicBezTo>
                    <a:pt x="1774" y="993"/>
                    <a:pt x="1774" y="993"/>
                    <a:pt x="1774" y="993"/>
                  </a:cubicBezTo>
                  <a:cubicBezTo>
                    <a:pt x="1783" y="997"/>
                    <a:pt x="1794" y="1002"/>
                    <a:pt x="1806" y="1006"/>
                  </a:cubicBezTo>
                  <a:cubicBezTo>
                    <a:pt x="1803" y="1008"/>
                    <a:pt x="1801" y="1009"/>
                    <a:pt x="1798" y="1011"/>
                  </a:cubicBezTo>
                  <a:cubicBezTo>
                    <a:pt x="1791" y="1014"/>
                    <a:pt x="1784" y="1017"/>
                    <a:pt x="1777" y="1019"/>
                  </a:cubicBezTo>
                  <a:cubicBezTo>
                    <a:pt x="1773" y="1010"/>
                    <a:pt x="1769" y="1001"/>
                    <a:pt x="1767" y="993"/>
                  </a:cubicBezTo>
                  <a:cubicBezTo>
                    <a:pt x="1756" y="993"/>
                    <a:pt x="1756" y="993"/>
                    <a:pt x="1756" y="993"/>
                  </a:cubicBezTo>
                  <a:cubicBezTo>
                    <a:pt x="1758" y="1002"/>
                    <a:pt x="1761" y="1012"/>
                    <a:pt x="1766" y="1023"/>
                  </a:cubicBezTo>
                  <a:cubicBezTo>
                    <a:pt x="1762" y="1024"/>
                    <a:pt x="1758" y="1025"/>
                    <a:pt x="1754" y="1025"/>
                  </a:cubicBezTo>
                  <a:cubicBezTo>
                    <a:pt x="1748" y="1026"/>
                    <a:pt x="1742" y="1027"/>
                    <a:pt x="1737" y="1027"/>
                  </a:cubicBezTo>
                  <a:cubicBezTo>
                    <a:pt x="1726" y="1027"/>
                    <a:pt x="1716" y="1024"/>
                    <a:pt x="1708" y="1021"/>
                  </a:cubicBezTo>
                  <a:cubicBezTo>
                    <a:pt x="1714" y="1011"/>
                    <a:pt x="1722" y="1001"/>
                    <a:pt x="1731" y="993"/>
                  </a:cubicBezTo>
                  <a:cubicBezTo>
                    <a:pt x="1714" y="993"/>
                    <a:pt x="1714" y="993"/>
                    <a:pt x="1714" y="993"/>
                  </a:cubicBezTo>
                  <a:cubicBezTo>
                    <a:pt x="1709" y="999"/>
                    <a:pt x="1703" y="1006"/>
                    <a:pt x="1699" y="1013"/>
                  </a:cubicBezTo>
                  <a:cubicBezTo>
                    <a:pt x="1697" y="1011"/>
                    <a:pt x="1695" y="1009"/>
                    <a:pt x="1694" y="1006"/>
                  </a:cubicBezTo>
                  <a:cubicBezTo>
                    <a:pt x="1693" y="1003"/>
                    <a:pt x="1692" y="999"/>
                    <a:pt x="1692" y="995"/>
                  </a:cubicBezTo>
                  <a:cubicBezTo>
                    <a:pt x="1692" y="994"/>
                    <a:pt x="1692" y="994"/>
                    <a:pt x="1692" y="993"/>
                  </a:cubicBezTo>
                  <a:cubicBezTo>
                    <a:pt x="1553" y="993"/>
                    <a:pt x="1553" y="993"/>
                    <a:pt x="1553" y="993"/>
                  </a:cubicBezTo>
                  <a:cubicBezTo>
                    <a:pt x="1571" y="1006"/>
                    <a:pt x="1590" y="1017"/>
                    <a:pt x="1612" y="1027"/>
                  </a:cubicBezTo>
                  <a:cubicBezTo>
                    <a:pt x="1614" y="1028"/>
                    <a:pt x="1617" y="1030"/>
                    <a:pt x="1620" y="1031"/>
                  </a:cubicBezTo>
                  <a:cubicBezTo>
                    <a:pt x="1645" y="1050"/>
                    <a:pt x="1679" y="1060"/>
                    <a:pt x="1719" y="1060"/>
                  </a:cubicBezTo>
                  <a:cubicBezTo>
                    <a:pt x="1719" y="1060"/>
                    <a:pt x="1719" y="1060"/>
                    <a:pt x="1719" y="1060"/>
                  </a:cubicBezTo>
                  <a:cubicBezTo>
                    <a:pt x="1729" y="1061"/>
                    <a:pt x="1738" y="1063"/>
                    <a:pt x="1747" y="1064"/>
                  </a:cubicBezTo>
                  <a:cubicBezTo>
                    <a:pt x="1760" y="1124"/>
                    <a:pt x="1824" y="1197"/>
                    <a:pt x="1891" y="1274"/>
                  </a:cubicBezTo>
                  <a:cubicBezTo>
                    <a:pt x="1903" y="1288"/>
                    <a:pt x="1915" y="1302"/>
                    <a:pt x="1927" y="1316"/>
                  </a:cubicBezTo>
                  <a:cubicBezTo>
                    <a:pt x="1928" y="1322"/>
                    <a:pt x="1928" y="1322"/>
                    <a:pt x="1928" y="1322"/>
                  </a:cubicBezTo>
                  <a:cubicBezTo>
                    <a:pt x="1929" y="1322"/>
                    <a:pt x="1930" y="1321"/>
                    <a:pt x="1931" y="1321"/>
                  </a:cubicBezTo>
                  <a:cubicBezTo>
                    <a:pt x="1966" y="1362"/>
                    <a:pt x="1998" y="1403"/>
                    <a:pt x="2017" y="1439"/>
                  </a:cubicBezTo>
                  <a:cubicBezTo>
                    <a:pt x="2027" y="1457"/>
                    <a:pt x="2037" y="1473"/>
                    <a:pt x="2049" y="1489"/>
                  </a:cubicBezTo>
                  <a:cubicBezTo>
                    <a:pt x="2063" y="1489"/>
                    <a:pt x="2063" y="1489"/>
                    <a:pt x="2063" y="1489"/>
                  </a:cubicBezTo>
                  <a:cubicBezTo>
                    <a:pt x="2055" y="1478"/>
                    <a:pt x="2047" y="1467"/>
                    <a:pt x="2040" y="1455"/>
                  </a:cubicBezTo>
                  <a:cubicBezTo>
                    <a:pt x="2043" y="1454"/>
                    <a:pt x="2048" y="1453"/>
                    <a:pt x="2053" y="1452"/>
                  </a:cubicBezTo>
                  <a:cubicBezTo>
                    <a:pt x="2062" y="1465"/>
                    <a:pt x="2070" y="1477"/>
                    <a:pt x="2079" y="1489"/>
                  </a:cubicBezTo>
                  <a:cubicBezTo>
                    <a:pt x="2092" y="1489"/>
                    <a:pt x="2092" y="1489"/>
                    <a:pt x="2092" y="1489"/>
                  </a:cubicBezTo>
                  <a:cubicBezTo>
                    <a:pt x="2092" y="1488"/>
                    <a:pt x="2092" y="1488"/>
                    <a:pt x="2092" y="1488"/>
                  </a:cubicBezTo>
                  <a:cubicBezTo>
                    <a:pt x="2083" y="1476"/>
                    <a:pt x="2074" y="1463"/>
                    <a:pt x="2065" y="1450"/>
                  </a:cubicBezTo>
                  <a:cubicBezTo>
                    <a:pt x="2072" y="1448"/>
                    <a:pt x="2080" y="1446"/>
                    <a:pt x="2089" y="1444"/>
                  </a:cubicBezTo>
                  <a:cubicBezTo>
                    <a:pt x="2090" y="1445"/>
                    <a:pt x="2091" y="1447"/>
                    <a:pt x="2092" y="1448"/>
                  </a:cubicBezTo>
                  <a:cubicBezTo>
                    <a:pt x="2092" y="1430"/>
                    <a:pt x="2092" y="1430"/>
                    <a:pt x="2092" y="1430"/>
                  </a:cubicBezTo>
                  <a:cubicBezTo>
                    <a:pt x="2079" y="1415"/>
                    <a:pt x="2068" y="1404"/>
                    <a:pt x="2059" y="1395"/>
                  </a:cubicBezTo>
                  <a:cubicBezTo>
                    <a:pt x="2066" y="1393"/>
                    <a:pt x="2074" y="1391"/>
                    <a:pt x="2082" y="1388"/>
                  </a:cubicBezTo>
                  <a:cubicBezTo>
                    <a:pt x="2086" y="1392"/>
                    <a:pt x="2089" y="1396"/>
                    <a:pt x="2092" y="1399"/>
                  </a:cubicBezTo>
                  <a:cubicBezTo>
                    <a:pt x="2092" y="1373"/>
                    <a:pt x="2092" y="1373"/>
                    <a:pt x="2092" y="1373"/>
                  </a:cubicBezTo>
                  <a:cubicBezTo>
                    <a:pt x="2090" y="1373"/>
                    <a:pt x="2088" y="1374"/>
                    <a:pt x="2086" y="1374"/>
                  </a:cubicBezTo>
                  <a:cubicBezTo>
                    <a:pt x="2077" y="1363"/>
                    <a:pt x="2067" y="1352"/>
                    <a:pt x="2058" y="1341"/>
                  </a:cubicBezTo>
                  <a:cubicBezTo>
                    <a:pt x="2065" y="1338"/>
                    <a:pt x="2072" y="1335"/>
                    <a:pt x="2080" y="1332"/>
                  </a:cubicBezTo>
                  <a:cubicBezTo>
                    <a:pt x="2084" y="1337"/>
                    <a:pt x="2088" y="1343"/>
                    <a:pt x="2092" y="1348"/>
                  </a:cubicBezTo>
                  <a:cubicBezTo>
                    <a:pt x="2092" y="1329"/>
                    <a:pt x="2092" y="1329"/>
                    <a:pt x="2092" y="1329"/>
                  </a:cubicBezTo>
                  <a:cubicBezTo>
                    <a:pt x="2091" y="1329"/>
                    <a:pt x="2091" y="1328"/>
                    <a:pt x="2091" y="1328"/>
                  </a:cubicBezTo>
                  <a:cubicBezTo>
                    <a:pt x="2091" y="1328"/>
                    <a:pt x="2091" y="1327"/>
                    <a:pt x="2092" y="1327"/>
                  </a:cubicBezTo>
                  <a:cubicBezTo>
                    <a:pt x="2092" y="1315"/>
                    <a:pt x="2092" y="1315"/>
                    <a:pt x="2092" y="1315"/>
                  </a:cubicBezTo>
                  <a:cubicBezTo>
                    <a:pt x="2089" y="1316"/>
                    <a:pt x="2086" y="1317"/>
                    <a:pt x="2083" y="1318"/>
                  </a:cubicBezTo>
                  <a:cubicBezTo>
                    <a:pt x="2072" y="1304"/>
                    <a:pt x="2061" y="1289"/>
                    <a:pt x="2049" y="1274"/>
                  </a:cubicBezTo>
                  <a:cubicBezTo>
                    <a:pt x="2063" y="1268"/>
                    <a:pt x="2077" y="1261"/>
                    <a:pt x="2092" y="1254"/>
                  </a:cubicBezTo>
                  <a:cubicBezTo>
                    <a:pt x="2092" y="1241"/>
                    <a:pt x="2092" y="1241"/>
                    <a:pt x="2092" y="1241"/>
                  </a:cubicBezTo>
                  <a:cubicBezTo>
                    <a:pt x="2074" y="1250"/>
                    <a:pt x="2058" y="1257"/>
                    <a:pt x="2042" y="1264"/>
                  </a:cubicBezTo>
                  <a:cubicBezTo>
                    <a:pt x="2031" y="1250"/>
                    <a:pt x="2021" y="1236"/>
                    <a:pt x="2010" y="1222"/>
                  </a:cubicBezTo>
                  <a:cubicBezTo>
                    <a:pt x="2032" y="1211"/>
                    <a:pt x="2055" y="1199"/>
                    <a:pt x="2080" y="1185"/>
                  </a:cubicBezTo>
                  <a:cubicBezTo>
                    <a:pt x="2084" y="1191"/>
                    <a:pt x="2088" y="1197"/>
                    <a:pt x="2092" y="1202"/>
                  </a:cubicBezTo>
                  <a:cubicBezTo>
                    <a:pt x="2092" y="1183"/>
                    <a:pt x="2092" y="1183"/>
                    <a:pt x="2092" y="1183"/>
                  </a:cubicBezTo>
                  <a:cubicBezTo>
                    <a:pt x="2091" y="1182"/>
                    <a:pt x="2090" y="1181"/>
                    <a:pt x="2090" y="1180"/>
                  </a:cubicBezTo>
                  <a:cubicBezTo>
                    <a:pt x="2090" y="1179"/>
                    <a:pt x="2091" y="1179"/>
                    <a:pt x="2092" y="1178"/>
                  </a:cubicBezTo>
                  <a:cubicBezTo>
                    <a:pt x="2092" y="1165"/>
                    <a:pt x="2092" y="1165"/>
                    <a:pt x="2092" y="1165"/>
                  </a:cubicBezTo>
                  <a:cubicBezTo>
                    <a:pt x="2089" y="1167"/>
                    <a:pt x="2086" y="1168"/>
                    <a:pt x="2083" y="1170"/>
                  </a:cubicBezTo>
                  <a:cubicBezTo>
                    <a:pt x="2072" y="1153"/>
                    <a:pt x="2061" y="1135"/>
                    <a:pt x="2051" y="1118"/>
                  </a:cubicBezTo>
                  <a:cubicBezTo>
                    <a:pt x="2065" y="1110"/>
                    <a:pt x="2078" y="1101"/>
                    <a:pt x="2092" y="1092"/>
                  </a:cubicBezTo>
                  <a:cubicBezTo>
                    <a:pt x="2092" y="1078"/>
                    <a:pt x="2092" y="1078"/>
                    <a:pt x="2092" y="1078"/>
                  </a:cubicBezTo>
                  <a:cubicBezTo>
                    <a:pt x="2076" y="1088"/>
                    <a:pt x="2061" y="1098"/>
                    <a:pt x="2045" y="1108"/>
                  </a:cubicBezTo>
                  <a:cubicBezTo>
                    <a:pt x="2036" y="1091"/>
                    <a:pt x="2027" y="1075"/>
                    <a:pt x="2020" y="1061"/>
                  </a:cubicBezTo>
                  <a:cubicBezTo>
                    <a:pt x="2043" y="1044"/>
                    <a:pt x="2068" y="1027"/>
                    <a:pt x="2092" y="1007"/>
                  </a:cubicBezTo>
                  <a:cubicBezTo>
                    <a:pt x="2092" y="993"/>
                    <a:pt x="2092" y="993"/>
                    <a:pt x="2092" y="993"/>
                  </a:cubicBezTo>
                  <a:moveTo>
                    <a:pt x="1395" y="671"/>
                  </a:moveTo>
                  <a:cubicBezTo>
                    <a:pt x="1395" y="673"/>
                    <a:pt x="1394" y="675"/>
                    <a:pt x="1394" y="675"/>
                  </a:cubicBezTo>
                  <a:cubicBezTo>
                    <a:pt x="1395" y="675"/>
                    <a:pt x="1395" y="675"/>
                    <a:pt x="1395" y="675"/>
                  </a:cubicBezTo>
                  <a:cubicBezTo>
                    <a:pt x="1395" y="671"/>
                    <a:pt x="1395" y="671"/>
                    <a:pt x="1395" y="671"/>
                  </a:cubicBezTo>
                  <a:moveTo>
                    <a:pt x="1395" y="552"/>
                  </a:moveTo>
                  <a:cubicBezTo>
                    <a:pt x="1395" y="552"/>
                    <a:pt x="1395" y="553"/>
                    <a:pt x="1395" y="553"/>
                  </a:cubicBezTo>
                  <a:cubicBezTo>
                    <a:pt x="1395" y="553"/>
                    <a:pt x="1395" y="553"/>
                    <a:pt x="1395" y="553"/>
                  </a:cubicBezTo>
                  <a:cubicBezTo>
                    <a:pt x="1395" y="552"/>
                    <a:pt x="1395" y="552"/>
                    <a:pt x="1395" y="552"/>
                  </a:cubicBezTo>
                  <a:moveTo>
                    <a:pt x="1201" y="985"/>
                  </a:moveTo>
                  <a:cubicBezTo>
                    <a:pt x="1198" y="980"/>
                    <a:pt x="1196" y="976"/>
                    <a:pt x="1193" y="971"/>
                  </a:cubicBezTo>
                  <a:cubicBezTo>
                    <a:pt x="1193" y="970"/>
                    <a:pt x="1192" y="969"/>
                    <a:pt x="1192" y="967"/>
                  </a:cubicBezTo>
                  <a:cubicBezTo>
                    <a:pt x="1210" y="957"/>
                    <a:pt x="1228" y="947"/>
                    <a:pt x="1245" y="938"/>
                  </a:cubicBezTo>
                  <a:cubicBezTo>
                    <a:pt x="1247" y="944"/>
                    <a:pt x="1249" y="949"/>
                    <a:pt x="1252" y="955"/>
                  </a:cubicBezTo>
                  <a:cubicBezTo>
                    <a:pt x="1235" y="964"/>
                    <a:pt x="1218" y="974"/>
                    <a:pt x="1201" y="985"/>
                  </a:cubicBezTo>
                  <a:moveTo>
                    <a:pt x="1276" y="974"/>
                  </a:moveTo>
                  <a:cubicBezTo>
                    <a:pt x="1273" y="969"/>
                    <a:pt x="1270" y="964"/>
                    <a:pt x="1267" y="960"/>
                  </a:cubicBezTo>
                  <a:cubicBezTo>
                    <a:pt x="1287" y="949"/>
                    <a:pt x="1306" y="939"/>
                    <a:pt x="1324" y="930"/>
                  </a:cubicBezTo>
                  <a:cubicBezTo>
                    <a:pt x="1326" y="935"/>
                    <a:pt x="1329" y="940"/>
                    <a:pt x="1332" y="946"/>
                  </a:cubicBezTo>
                  <a:cubicBezTo>
                    <a:pt x="1314" y="954"/>
                    <a:pt x="1295" y="963"/>
                    <a:pt x="1276" y="974"/>
                  </a:cubicBezTo>
                  <a:moveTo>
                    <a:pt x="1122" y="993"/>
                  </a:moveTo>
                  <a:cubicBezTo>
                    <a:pt x="1114" y="969"/>
                    <a:pt x="1112" y="954"/>
                    <a:pt x="1111" y="942"/>
                  </a:cubicBezTo>
                  <a:cubicBezTo>
                    <a:pt x="1114" y="942"/>
                    <a:pt x="1114" y="942"/>
                    <a:pt x="1114" y="942"/>
                  </a:cubicBezTo>
                  <a:cubicBezTo>
                    <a:pt x="1114" y="942"/>
                    <a:pt x="1114" y="942"/>
                    <a:pt x="1114" y="941"/>
                  </a:cubicBezTo>
                  <a:cubicBezTo>
                    <a:pt x="1135" y="932"/>
                    <a:pt x="1149" y="923"/>
                    <a:pt x="1167" y="915"/>
                  </a:cubicBezTo>
                  <a:cubicBezTo>
                    <a:pt x="1168" y="925"/>
                    <a:pt x="1170" y="942"/>
                    <a:pt x="1178" y="962"/>
                  </a:cubicBezTo>
                  <a:cubicBezTo>
                    <a:pt x="1160" y="972"/>
                    <a:pt x="1141" y="982"/>
                    <a:pt x="1122" y="993"/>
                  </a:cubicBezTo>
                  <a:moveTo>
                    <a:pt x="1262" y="949"/>
                  </a:moveTo>
                  <a:cubicBezTo>
                    <a:pt x="1260" y="945"/>
                    <a:pt x="1258" y="941"/>
                    <a:pt x="1256" y="938"/>
                  </a:cubicBezTo>
                  <a:cubicBezTo>
                    <a:pt x="1256" y="936"/>
                    <a:pt x="1255" y="934"/>
                    <a:pt x="1255" y="933"/>
                  </a:cubicBezTo>
                  <a:cubicBezTo>
                    <a:pt x="1275" y="922"/>
                    <a:pt x="1294" y="912"/>
                    <a:pt x="1312" y="903"/>
                  </a:cubicBezTo>
                  <a:cubicBezTo>
                    <a:pt x="1314" y="908"/>
                    <a:pt x="1316" y="913"/>
                    <a:pt x="1318" y="918"/>
                  </a:cubicBezTo>
                  <a:cubicBezTo>
                    <a:pt x="1318" y="919"/>
                    <a:pt x="1318" y="919"/>
                    <a:pt x="1319" y="920"/>
                  </a:cubicBezTo>
                  <a:cubicBezTo>
                    <a:pt x="1300" y="928"/>
                    <a:pt x="1281" y="939"/>
                    <a:pt x="1262" y="949"/>
                  </a:cubicBezTo>
                  <a:moveTo>
                    <a:pt x="917" y="981"/>
                  </a:moveTo>
                  <a:cubicBezTo>
                    <a:pt x="918" y="966"/>
                    <a:pt x="919" y="952"/>
                    <a:pt x="919" y="939"/>
                  </a:cubicBezTo>
                  <a:cubicBezTo>
                    <a:pt x="922" y="937"/>
                    <a:pt x="925" y="935"/>
                    <a:pt x="928" y="933"/>
                  </a:cubicBezTo>
                  <a:cubicBezTo>
                    <a:pt x="946" y="920"/>
                    <a:pt x="966" y="907"/>
                    <a:pt x="987" y="893"/>
                  </a:cubicBezTo>
                  <a:cubicBezTo>
                    <a:pt x="987" y="902"/>
                    <a:pt x="987" y="911"/>
                    <a:pt x="987" y="920"/>
                  </a:cubicBezTo>
                  <a:cubicBezTo>
                    <a:pt x="987" y="924"/>
                    <a:pt x="987" y="928"/>
                    <a:pt x="987" y="931"/>
                  </a:cubicBezTo>
                  <a:cubicBezTo>
                    <a:pt x="962" y="949"/>
                    <a:pt x="938" y="965"/>
                    <a:pt x="917" y="981"/>
                  </a:cubicBezTo>
                  <a:moveTo>
                    <a:pt x="821" y="986"/>
                  </a:moveTo>
                  <a:cubicBezTo>
                    <a:pt x="820" y="966"/>
                    <a:pt x="820" y="947"/>
                    <a:pt x="818" y="928"/>
                  </a:cubicBezTo>
                  <a:cubicBezTo>
                    <a:pt x="832" y="924"/>
                    <a:pt x="844" y="919"/>
                    <a:pt x="855" y="914"/>
                  </a:cubicBezTo>
                  <a:cubicBezTo>
                    <a:pt x="871" y="906"/>
                    <a:pt x="888" y="897"/>
                    <a:pt x="906" y="887"/>
                  </a:cubicBezTo>
                  <a:cubicBezTo>
                    <a:pt x="907" y="901"/>
                    <a:pt x="908" y="916"/>
                    <a:pt x="908" y="932"/>
                  </a:cubicBezTo>
                  <a:cubicBezTo>
                    <a:pt x="875" y="954"/>
                    <a:pt x="846" y="973"/>
                    <a:pt x="821" y="986"/>
                  </a:cubicBezTo>
                  <a:moveTo>
                    <a:pt x="1187" y="956"/>
                  </a:moveTo>
                  <a:cubicBezTo>
                    <a:pt x="1180" y="935"/>
                    <a:pt x="1178" y="917"/>
                    <a:pt x="1177" y="910"/>
                  </a:cubicBezTo>
                  <a:cubicBezTo>
                    <a:pt x="1196" y="901"/>
                    <a:pt x="1215" y="893"/>
                    <a:pt x="1233" y="885"/>
                  </a:cubicBezTo>
                  <a:cubicBezTo>
                    <a:pt x="1233" y="895"/>
                    <a:pt x="1236" y="910"/>
                    <a:pt x="1241" y="927"/>
                  </a:cubicBezTo>
                  <a:cubicBezTo>
                    <a:pt x="1224" y="936"/>
                    <a:pt x="1206" y="946"/>
                    <a:pt x="1187" y="956"/>
                  </a:cubicBezTo>
                  <a:moveTo>
                    <a:pt x="1056" y="959"/>
                  </a:moveTo>
                  <a:cubicBezTo>
                    <a:pt x="1057" y="945"/>
                    <a:pt x="1057" y="931"/>
                    <a:pt x="1057" y="916"/>
                  </a:cubicBezTo>
                  <a:cubicBezTo>
                    <a:pt x="1057" y="911"/>
                    <a:pt x="1057" y="906"/>
                    <a:pt x="1057" y="901"/>
                  </a:cubicBezTo>
                  <a:cubicBezTo>
                    <a:pt x="1071" y="893"/>
                    <a:pt x="1085" y="885"/>
                    <a:pt x="1099" y="877"/>
                  </a:cubicBezTo>
                  <a:cubicBezTo>
                    <a:pt x="1100" y="896"/>
                    <a:pt x="1101" y="915"/>
                    <a:pt x="1102" y="934"/>
                  </a:cubicBezTo>
                  <a:cubicBezTo>
                    <a:pt x="1087" y="942"/>
                    <a:pt x="1071" y="950"/>
                    <a:pt x="1056" y="959"/>
                  </a:cubicBezTo>
                  <a:moveTo>
                    <a:pt x="1329" y="915"/>
                  </a:moveTo>
                  <a:cubicBezTo>
                    <a:pt x="1326" y="909"/>
                    <a:pt x="1324" y="903"/>
                    <a:pt x="1322" y="898"/>
                  </a:cubicBezTo>
                  <a:cubicBezTo>
                    <a:pt x="1345" y="887"/>
                    <a:pt x="1365" y="879"/>
                    <a:pt x="1382" y="873"/>
                  </a:cubicBezTo>
                  <a:cubicBezTo>
                    <a:pt x="1384" y="878"/>
                    <a:pt x="1386" y="885"/>
                    <a:pt x="1389" y="891"/>
                  </a:cubicBezTo>
                  <a:cubicBezTo>
                    <a:pt x="1371" y="897"/>
                    <a:pt x="1350" y="905"/>
                    <a:pt x="1329" y="915"/>
                  </a:cubicBezTo>
                  <a:moveTo>
                    <a:pt x="719" y="940"/>
                  </a:moveTo>
                  <a:cubicBezTo>
                    <a:pt x="716" y="920"/>
                    <a:pt x="712" y="901"/>
                    <a:pt x="708" y="883"/>
                  </a:cubicBezTo>
                  <a:cubicBezTo>
                    <a:pt x="739" y="876"/>
                    <a:pt x="769" y="868"/>
                    <a:pt x="796" y="861"/>
                  </a:cubicBezTo>
                  <a:cubicBezTo>
                    <a:pt x="800" y="879"/>
                    <a:pt x="803" y="899"/>
                    <a:pt x="806" y="919"/>
                  </a:cubicBezTo>
                  <a:cubicBezTo>
                    <a:pt x="781" y="927"/>
                    <a:pt x="751" y="934"/>
                    <a:pt x="719" y="940"/>
                  </a:cubicBezTo>
                  <a:moveTo>
                    <a:pt x="999" y="924"/>
                  </a:moveTo>
                  <a:cubicBezTo>
                    <a:pt x="999" y="923"/>
                    <a:pt x="999" y="922"/>
                    <a:pt x="999" y="921"/>
                  </a:cubicBezTo>
                  <a:cubicBezTo>
                    <a:pt x="999" y="909"/>
                    <a:pt x="998" y="898"/>
                    <a:pt x="998" y="886"/>
                  </a:cubicBezTo>
                  <a:cubicBezTo>
                    <a:pt x="1012" y="877"/>
                    <a:pt x="1028" y="867"/>
                    <a:pt x="1044" y="857"/>
                  </a:cubicBezTo>
                  <a:cubicBezTo>
                    <a:pt x="1045" y="869"/>
                    <a:pt x="1045" y="882"/>
                    <a:pt x="1046" y="894"/>
                  </a:cubicBezTo>
                  <a:cubicBezTo>
                    <a:pt x="1029" y="904"/>
                    <a:pt x="1014" y="914"/>
                    <a:pt x="999" y="924"/>
                  </a:cubicBezTo>
                  <a:moveTo>
                    <a:pt x="1116" y="928"/>
                  </a:moveTo>
                  <a:cubicBezTo>
                    <a:pt x="1115" y="909"/>
                    <a:pt x="1115" y="890"/>
                    <a:pt x="1114" y="871"/>
                  </a:cubicBezTo>
                  <a:cubicBezTo>
                    <a:pt x="1129" y="863"/>
                    <a:pt x="1143" y="855"/>
                    <a:pt x="1163" y="847"/>
                  </a:cubicBezTo>
                  <a:cubicBezTo>
                    <a:pt x="1170" y="902"/>
                    <a:pt x="1170" y="902"/>
                    <a:pt x="1170" y="902"/>
                  </a:cubicBezTo>
                  <a:cubicBezTo>
                    <a:pt x="1150" y="910"/>
                    <a:pt x="1133" y="919"/>
                    <a:pt x="1116" y="928"/>
                  </a:cubicBezTo>
                  <a:moveTo>
                    <a:pt x="919" y="925"/>
                  </a:moveTo>
                  <a:cubicBezTo>
                    <a:pt x="919" y="909"/>
                    <a:pt x="918" y="895"/>
                    <a:pt x="917" y="880"/>
                  </a:cubicBezTo>
                  <a:cubicBezTo>
                    <a:pt x="931" y="872"/>
                    <a:pt x="945" y="863"/>
                    <a:pt x="961" y="854"/>
                  </a:cubicBezTo>
                  <a:cubicBezTo>
                    <a:pt x="967" y="849"/>
                    <a:pt x="975" y="845"/>
                    <a:pt x="982" y="840"/>
                  </a:cubicBezTo>
                  <a:cubicBezTo>
                    <a:pt x="984" y="853"/>
                    <a:pt x="985" y="866"/>
                    <a:pt x="986" y="880"/>
                  </a:cubicBezTo>
                  <a:cubicBezTo>
                    <a:pt x="963" y="894"/>
                    <a:pt x="942" y="909"/>
                    <a:pt x="922" y="923"/>
                  </a:cubicBezTo>
                  <a:cubicBezTo>
                    <a:pt x="921" y="923"/>
                    <a:pt x="920" y="924"/>
                    <a:pt x="919" y="925"/>
                  </a:cubicBezTo>
                  <a:moveTo>
                    <a:pt x="1057" y="888"/>
                  </a:moveTo>
                  <a:cubicBezTo>
                    <a:pt x="1056" y="875"/>
                    <a:pt x="1056" y="863"/>
                    <a:pt x="1054" y="851"/>
                  </a:cubicBezTo>
                  <a:cubicBezTo>
                    <a:pt x="1067" y="843"/>
                    <a:pt x="1081" y="836"/>
                    <a:pt x="1095" y="828"/>
                  </a:cubicBezTo>
                  <a:cubicBezTo>
                    <a:pt x="1096" y="840"/>
                    <a:pt x="1097" y="852"/>
                    <a:pt x="1098" y="864"/>
                  </a:cubicBezTo>
                  <a:cubicBezTo>
                    <a:pt x="1084" y="872"/>
                    <a:pt x="1070" y="880"/>
                    <a:pt x="1057" y="888"/>
                  </a:cubicBezTo>
                  <a:moveTo>
                    <a:pt x="816" y="916"/>
                  </a:moveTo>
                  <a:cubicBezTo>
                    <a:pt x="814" y="895"/>
                    <a:pt x="811" y="876"/>
                    <a:pt x="807" y="857"/>
                  </a:cubicBezTo>
                  <a:cubicBezTo>
                    <a:pt x="839" y="848"/>
                    <a:pt x="867" y="838"/>
                    <a:pt x="890" y="828"/>
                  </a:cubicBezTo>
                  <a:cubicBezTo>
                    <a:pt x="892" y="827"/>
                    <a:pt x="895" y="825"/>
                    <a:pt x="898" y="824"/>
                  </a:cubicBezTo>
                  <a:cubicBezTo>
                    <a:pt x="901" y="840"/>
                    <a:pt x="903" y="856"/>
                    <a:pt x="905" y="874"/>
                  </a:cubicBezTo>
                  <a:cubicBezTo>
                    <a:pt x="886" y="885"/>
                    <a:pt x="867" y="895"/>
                    <a:pt x="851" y="903"/>
                  </a:cubicBezTo>
                  <a:cubicBezTo>
                    <a:pt x="841" y="907"/>
                    <a:pt x="829" y="912"/>
                    <a:pt x="816" y="916"/>
                  </a:cubicBezTo>
                  <a:moveTo>
                    <a:pt x="1180" y="897"/>
                  </a:moveTo>
                  <a:cubicBezTo>
                    <a:pt x="1173" y="842"/>
                    <a:pt x="1173" y="842"/>
                    <a:pt x="1173" y="842"/>
                  </a:cubicBezTo>
                  <a:cubicBezTo>
                    <a:pt x="1193" y="834"/>
                    <a:pt x="1201" y="828"/>
                    <a:pt x="1217" y="822"/>
                  </a:cubicBezTo>
                  <a:cubicBezTo>
                    <a:pt x="1221" y="839"/>
                    <a:pt x="1226" y="857"/>
                    <a:pt x="1230" y="874"/>
                  </a:cubicBezTo>
                  <a:cubicBezTo>
                    <a:pt x="1213" y="881"/>
                    <a:pt x="1200" y="888"/>
                    <a:pt x="1180" y="897"/>
                  </a:cubicBezTo>
                  <a:moveTo>
                    <a:pt x="997" y="873"/>
                  </a:moveTo>
                  <a:cubicBezTo>
                    <a:pt x="996" y="860"/>
                    <a:pt x="994" y="847"/>
                    <a:pt x="992" y="834"/>
                  </a:cubicBezTo>
                  <a:cubicBezTo>
                    <a:pt x="1007" y="825"/>
                    <a:pt x="1022" y="816"/>
                    <a:pt x="1038" y="807"/>
                  </a:cubicBezTo>
                  <a:cubicBezTo>
                    <a:pt x="1040" y="819"/>
                    <a:pt x="1041" y="832"/>
                    <a:pt x="1043" y="844"/>
                  </a:cubicBezTo>
                  <a:cubicBezTo>
                    <a:pt x="1027" y="854"/>
                    <a:pt x="1011" y="863"/>
                    <a:pt x="997" y="873"/>
                  </a:cubicBezTo>
                  <a:moveTo>
                    <a:pt x="1238" y="870"/>
                  </a:moveTo>
                  <a:cubicBezTo>
                    <a:pt x="1236" y="870"/>
                    <a:pt x="1236" y="870"/>
                    <a:pt x="1236" y="870"/>
                  </a:cubicBezTo>
                  <a:cubicBezTo>
                    <a:pt x="1232" y="852"/>
                    <a:pt x="1229" y="835"/>
                    <a:pt x="1225" y="818"/>
                  </a:cubicBezTo>
                  <a:cubicBezTo>
                    <a:pt x="1241" y="812"/>
                    <a:pt x="1257" y="806"/>
                    <a:pt x="1273" y="800"/>
                  </a:cubicBezTo>
                  <a:cubicBezTo>
                    <a:pt x="1277" y="816"/>
                    <a:pt x="1282" y="833"/>
                    <a:pt x="1288" y="850"/>
                  </a:cubicBezTo>
                  <a:cubicBezTo>
                    <a:pt x="1272" y="856"/>
                    <a:pt x="1256" y="862"/>
                    <a:pt x="1238" y="870"/>
                  </a:cubicBezTo>
                  <a:moveTo>
                    <a:pt x="1112" y="858"/>
                  </a:moveTo>
                  <a:cubicBezTo>
                    <a:pt x="1111" y="846"/>
                    <a:pt x="1111" y="834"/>
                    <a:pt x="1109" y="822"/>
                  </a:cubicBezTo>
                  <a:cubicBezTo>
                    <a:pt x="1124" y="814"/>
                    <a:pt x="1147" y="805"/>
                    <a:pt x="1156" y="799"/>
                  </a:cubicBezTo>
                  <a:cubicBezTo>
                    <a:pt x="1161" y="834"/>
                    <a:pt x="1161" y="834"/>
                    <a:pt x="1161" y="834"/>
                  </a:cubicBezTo>
                  <a:cubicBezTo>
                    <a:pt x="1141" y="843"/>
                    <a:pt x="1127" y="850"/>
                    <a:pt x="1112" y="858"/>
                  </a:cubicBezTo>
                  <a:moveTo>
                    <a:pt x="915" y="867"/>
                  </a:moveTo>
                  <a:cubicBezTo>
                    <a:pt x="913" y="850"/>
                    <a:pt x="911" y="834"/>
                    <a:pt x="908" y="819"/>
                  </a:cubicBezTo>
                  <a:cubicBezTo>
                    <a:pt x="929" y="809"/>
                    <a:pt x="950" y="798"/>
                    <a:pt x="973" y="785"/>
                  </a:cubicBezTo>
                  <a:cubicBezTo>
                    <a:pt x="976" y="799"/>
                    <a:pt x="978" y="813"/>
                    <a:pt x="980" y="828"/>
                  </a:cubicBezTo>
                  <a:cubicBezTo>
                    <a:pt x="972" y="833"/>
                    <a:pt x="963" y="838"/>
                    <a:pt x="955" y="843"/>
                  </a:cubicBezTo>
                  <a:cubicBezTo>
                    <a:pt x="941" y="852"/>
                    <a:pt x="928" y="860"/>
                    <a:pt x="915" y="867"/>
                  </a:cubicBezTo>
                  <a:moveTo>
                    <a:pt x="1299" y="849"/>
                  </a:moveTo>
                  <a:cubicBezTo>
                    <a:pt x="1293" y="833"/>
                    <a:pt x="1288" y="814"/>
                    <a:pt x="1284" y="798"/>
                  </a:cubicBezTo>
                  <a:cubicBezTo>
                    <a:pt x="1300" y="793"/>
                    <a:pt x="1317" y="787"/>
                    <a:pt x="1334" y="782"/>
                  </a:cubicBezTo>
                  <a:cubicBezTo>
                    <a:pt x="1339" y="797"/>
                    <a:pt x="1344" y="819"/>
                    <a:pt x="1351" y="834"/>
                  </a:cubicBezTo>
                  <a:cubicBezTo>
                    <a:pt x="1340" y="838"/>
                    <a:pt x="1328" y="844"/>
                    <a:pt x="1315" y="852"/>
                  </a:cubicBezTo>
                  <a:cubicBezTo>
                    <a:pt x="1337" y="844"/>
                    <a:pt x="1356" y="837"/>
                    <a:pt x="1372" y="831"/>
                  </a:cubicBezTo>
                  <a:cubicBezTo>
                    <a:pt x="1373" y="839"/>
                    <a:pt x="1375" y="849"/>
                    <a:pt x="1379" y="861"/>
                  </a:cubicBezTo>
                  <a:cubicBezTo>
                    <a:pt x="1361" y="867"/>
                    <a:pt x="1341" y="876"/>
                    <a:pt x="1319" y="887"/>
                  </a:cubicBezTo>
                  <a:cubicBezTo>
                    <a:pt x="1314" y="873"/>
                    <a:pt x="1313" y="861"/>
                    <a:pt x="1312" y="854"/>
                  </a:cubicBezTo>
                  <a:cubicBezTo>
                    <a:pt x="1309" y="856"/>
                    <a:pt x="1306" y="858"/>
                    <a:pt x="1303" y="859"/>
                  </a:cubicBezTo>
                  <a:cubicBezTo>
                    <a:pt x="1301" y="859"/>
                    <a:pt x="1301" y="859"/>
                    <a:pt x="1301" y="859"/>
                  </a:cubicBezTo>
                  <a:cubicBezTo>
                    <a:pt x="1302" y="868"/>
                    <a:pt x="1304" y="879"/>
                    <a:pt x="1308" y="892"/>
                  </a:cubicBezTo>
                  <a:cubicBezTo>
                    <a:pt x="1290" y="901"/>
                    <a:pt x="1271" y="911"/>
                    <a:pt x="1251" y="921"/>
                  </a:cubicBezTo>
                  <a:cubicBezTo>
                    <a:pt x="1246" y="904"/>
                    <a:pt x="1244" y="890"/>
                    <a:pt x="1243" y="880"/>
                  </a:cubicBezTo>
                  <a:cubicBezTo>
                    <a:pt x="1263" y="872"/>
                    <a:pt x="1282" y="865"/>
                    <a:pt x="1300" y="858"/>
                  </a:cubicBezTo>
                  <a:cubicBezTo>
                    <a:pt x="1300" y="856"/>
                    <a:pt x="1300" y="853"/>
                    <a:pt x="1300" y="853"/>
                  </a:cubicBezTo>
                  <a:cubicBezTo>
                    <a:pt x="1300" y="853"/>
                    <a:pt x="1300" y="853"/>
                    <a:pt x="1300" y="853"/>
                  </a:cubicBezTo>
                  <a:cubicBezTo>
                    <a:pt x="1299" y="853"/>
                    <a:pt x="1299" y="852"/>
                    <a:pt x="1299" y="851"/>
                  </a:cubicBezTo>
                  <a:cubicBezTo>
                    <a:pt x="1299" y="850"/>
                    <a:pt x="1299" y="849"/>
                    <a:pt x="1299" y="849"/>
                  </a:cubicBezTo>
                  <a:cubicBezTo>
                    <a:pt x="1299" y="849"/>
                    <a:pt x="1299" y="849"/>
                    <a:pt x="1299" y="849"/>
                  </a:cubicBezTo>
                  <a:moveTo>
                    <a:pt x="1053" y="838"/>
                  </a:moveTo>
                  <a:cubicBezTo>
                    <a:pt x="1052" y="825"/>
                    <a:pt x="1050" y="813"/>
                    <a:pt x="1049" y="801"/>
                  </a:cubicBezTo>
                  <a:cubicBezTo>
                    <a:pt x="1062" y="793"/>
                    <a:pt x="1075" y="786"/>
                    <a:pt x="1089" y="779"/>
                  </a:cubicBezTo>
                  <a:cubicBezTo>
                    <a:pt x="1090" y="791"/>
                    <a:pt x="1092" y="803"/>
                    <a:pt x="1093" y="816"/>
                  </a:cubicBezTo>
                  <a:cubicBezTo>
                    <a:pt x="1079" y="823"/>
                    <a:pt x="1066" y="830"/>
                    <a:pt x="1053" y="838"/>
                  </a:cubicBezTo>
                  <a:moveTo>
                    <a:pt x="1171" y="830"/>
                  </a:moveTo>
                  <a:cubicBezTo>
                    <a:pt x="1166" y="794"/>
                    <a:pt x="1166" y="794"/>
                    <a:pt x="1166" y="794"/>
                  </a:cubicBezTo>
                  <a:cubicBezTo>
                    <a:pt x="1187" y="786"/>
                    <a:pt x="1193" y="781"/>
                    <a:pt x="1209" y="775"/>
                  </a:cubicBezTo>
                  <a:cubicBezTo>
                    <a:pt x="1211" y="786"/>
                    <a:pt x="1214" y="798"/>
                    <a:pt x="1216" y="810"/>
                  </a:cubicBezTo>
                  <a:cubicBezTo>
                    <a:pt x="1200" y="816"/>
                    <a:pt x="1191" y="822"/>
                    <a:pt x="1171" y="830"/>
                  </a:cubicBezTo>
                  <a:moveTo>
                    <a:pt x="805" y="846"/>
                  </a:moveTo>
                  <a:cubicBezTo>
                    <a:pt x="800" y="826"/>
                    <a:pt x="795" y="808"/>
                    <a:pt x="790" y="792"/>
                  </a:cubicBezTo>
                  <a:cubicBezTo>
                    <a:pt x="822" y="782"/>
                    <a:pt x="853" y="771"/>
                    <a:pt x="882" y="760"/>
                  </a:cubicBezTo>
                  <a:cubicBezTo>
                    <a:pt x="887" y="776"/>
                    <a:pt x="891" y="793"/>
                    <a:pt x="895" y="812"/>
                  </a:cubicBezTo>
                  <a:cubicBezTo>
                    <a:pt x="892" y="814"/>
                    <a:pt x="889" y="816"/>
                    <a:pt x="886" y="817"/>
                  </a:cubicBezTo>
                  <a:cubicBezTo>
                    <a:pt x="863" y="827"/>
                    <a:pt x="836" y="837"/>
                    <a:pt x="805" y="846"/>
                  </a:cubicBezTo>
                  <a:moveTo>
                    <a:pt x="1223" y="806"/>
                  </a:moveTo>
                  <a:cubicBezTo>
                    <a:pt x="1221" y="794"/>
                    <a:pt x="1219" y="782"/>
                    <a:pt x="1217" y="771"/>
                  </a:cubicBezTo>
                  <a:cubicBezTo>
                    <a:pt x="1232" y="765"/>
                    <a:pt x="1247" y="760"/>
                    <a:pt x="1263" y="754"/>
                  </a:cubicBezTo>
                  <a:cubicBezTo>
                    <a:pt x="1265" y="765"/>
                    <a:pt x="1268" y="777"/>
                    <a:pt x="1270" y="789"/>
                  </a:cubicBezTo>
                  <a:cubicBezTo>
                    <a:pt x="1254" y="794"/>
                    <a:pt x="1238" y="800"/>
                    <a:pt x="1223" y="806"/>
                  </a:cubicBezTo>
                  <a:moveTo>
                    <a:pt x="991" y="821"/>
                  </a:moveTo>
                  <a:cubicBezTo>
                    <a:pt x="988" y="807"/>
                    <a:pt x="986" y="793"/>
                    <a:pt x="983" y="780"/>
                  </a:cubicBezTo>
                  <a:cubicBezTo>
                    <a:pt x="984" y="779"/>
                    <a:pt x="986" y="778"/>
                    <a:pt x="987" y="777"/>
                  </a:cubicBezTo>
                  <a:cubicBezTo>
                    <a:pt x="1001" y="770"/>
                    <a:pt x="1015" y="762"/>
                    <a:pt x="1030" y="754"/>
                  </a:cubicBezTo>
                  <a:cubicBezTo>
                    <a:pt x="1032" y="767"/>
                    <a:pt x="1034" y="781"/>
                    <a:pt x="1037" y="794"/>
                  </a:cubicBezTo>
                  <a:cubicBezTo>
                    <a:pt x="1020" y="803"/>
                    <a:pt x="1005" y="812"/>
                    <a:pt x="991" y="821"/>
                  </a:cubicBezTo>
                  <a:moveTo>
                    <a:pt x="1107" y="810"/>
                  </a:moveTo>
                  <a:cubicBezTo>
                    <a:pt x="1105" y="797"/>
                    <a:pt x="1105" y="785"/>
                    <a:pt x="1103" y="773"/>
                  </a:cubicBezTo>
                  <a:cubicBezTo>
                    <a:pt x="1118" y="765"/>
                    <a:pt x="1140" y="757"/>
                    <a:pt x="1150" y="750"/>
                  </a:cubicBezTo>
                  <a:cubicBezTo>
                    <a:pt x="1155" y="787"/>
                    <a:pt x="1155" y="787"/>
                    <a:pt x="1155" y="787"/>
                  </a:cubicBezTo>
                  <a:cubicBezTo>
                    <a:pt x="1145" y="793"/>
                    <a:pt x="1121" y="802"/>
                    <a:pt x="1107" y="810"/>
                  </a:cubicBezTo>
                  <a:moveTo>
                    <a:pt x="1281" y="785"/>
                  </a:moveTo>
                  <a:cubicBezTo>
                    <a:pt x="1278" y="773"/>
                    <a:pt x="1276" y="762"/>
                    <a:pt x="1274" y="751"/>
                  </a:cubicBezTo>
                  <a:cubicBezTo>
                    <a:pt x="1289" y="746"/>
                    <a:pt x="1304" y="741"/>
                    <a:pt x="1321" y="736"/>
                  </a:cubicBezTo>
                  <a:cubicBezTo>
                    <a:pt x="1323" y="747"/>
                    <a:pt x="1326" y="758"/>
                    <a:pt x="1330" y="770"/>
                  </a:cubicBezTo>
                  <a:cubicBezTo>
                    <a:pt x="1313" y="775"/>
                    <a:pt x="1297" y="780"/>
                    <a:pt x="1281" y="785"/>
                  </a:cubicBezTo>
                  <a:moveTo>
                    <a:pt x="1047" y="788"/>
                  </a:moveTo>
                  <a:cubicBezTo>
                    <a:pt x="1045" y="775"/>
                    <a:pt x="1042" y="762"/>
                    <a:pt x="1040" y="749"/>
                  </a:cubicBezTo>
                  <a:cubicBezTo>
                    <a:pt x="1053" y="742"/>
                    <a:pt x="1067" y="734"/>
                    <a:pt x="1081" y="727"/>
                  </a:cubicBezTo>
                  <a:cubicBezTo>
                    <a:pt x="1083" y="740"/>
                    <a:pt x="1085" y="753"/>
                    <a:pt x="1087" y="766"/>
                  </a:cubicBezTo>
                  <a:cubicBezTo>
                    <a:pt x="1073" y="774"/>
                    <a:pt x="1060" y="781"/>
                    <a:pt x="1047" y="788"/>
                  </a:cubicBezTo>
                  <a:moveTo>
                    <a:pt x="1165" y="782"/>
                  </a:moveTo>
                  <a:cubicBezTo>
                    <a:pt x="1160" y="746"/>
                    <a:pt x="1160" y="746"/>
                    <a:pt x="1160" y="746"/>
                  </a:cubicBezTo>
                  <a:cubicBezTo>
                    <a:pt x="1180" y="738"/>
                    <a:pt x="1187" y="733"/>
                    <a:pt x="1202" y="727"/>
                  </a:cubicBezTo>
                  <a:cubicBezTo>
                    <a:pt x="1204" y="739"/>
                    <a:pt x="1206" y="750"/>
                    <a:pt x="1208" y="763"/>
                  </a:cubicBezTo>
                  <a:cubicBezTo>
                    <a:pt x="1193" y="769"/>
                    <a:pt x="1185" y="774"/>
                    <a:pt x="1165" y="782"/>
                  </a:cubicBezTo>
                  <a:moveTo>
                    <a:pt x="906" y="807"/>
                  </a:moveTo>
                  <a:cubicBezTo>
                    <a:pt x="902" y="789"/>
                    <a:pt x="897" y="772"/>
                    <a:pt x="892" y="756"/>
                  </a:cubicBezTo>
                  <a:cubicBezTo>
                    <a:pt x="903" y="751"/>
                    <a:pt x="914" y="747"/>
                    <a:pt x="925" y="742"/>
                  </a:cubicBezTo>
                  <a:cubicBezTo>
                    <a:pt x="936" y="737"/>
                    <a:pt x="947" y="732"/>
                    <a:pt x="959" y="727"/>
                  </a:cubicBezTo>
                  <a:cubicBezTo>
                    <a:pt x="963" y="741"/>
                    <a:pt x="967" y="757"/>
                    <a:pt x="970" y="773"/>
                  </a:cubicBezTo>
                  <a:cubicBezTo>
                    <a:pt x="948" y="786"/>
                    <a:pt x="926" y="797"/>
                    <a:pt x="906" y="807"/>
                  </a:cubicBezTo>
                  <a:moveTo>
                    <a:pt x="1215" y="759"/>
                  </a:moveTo>
                  <a:cubicBezTo>
                    <a:pt x="1213" y="747"/>
                    <a:pt x="1212" y="735"/>
                    <a:pt x="1210" y="723"/>
                  </a:cubicBezTo>
                  <a:cubicBezTo>
                    <a:pt x="1225" y="717"/>
                    <a:pt x="1240" y="712"/>
                    <a:pt x="1255" y="707"/>
                  </a:cubicBezTo>
                  <a:cubicBezTo>
                    <a:pt x="1257" y="718"/>
                    <a:pt x="1258" y="730"/>
                    <a:pt x="1261" y="742"/>
                  </a:cubicBezTo>
                  <a:cubicBezTo>
                    <a:pt x="1245" y="748"/>
                    <a:pt x="1230" y="753"/>
                    <a:pt x="1215" y="759"/>
                  </a:cubicBezTo>
                  <a:moveTo>
                    <a:pt x="1100" y="761"/>
                  </a:moveTo>
                  <a:cubicBezTo>
                    <a:pt x="1099" y="747"/>
                    <a:pt x="1098" y="734"/>
                    <a:pt x="1096" y="721"/>
                  </a:cubicBezTo>
                  <a:cubicBezTo>
                    <a:pt x="1111" y="714"/>
                    <a:pt x="1133" y="706"/>
                    <a:pt x="1143" y="700"/>
                  </a:cubicBezTo>
                  <a:cubicBezTo>
                    <a:pt x="1148" y="738"/>
                    <a:pt x="1148" y="738"/>
                    <a:pt x="1148" y="738"/>
                  </a:cubicBezTo>
                  <a:cubicBezTo>
                    <a:pt x="1138" y="744"/>
                    <a:pt x="1115" y="753"/>
                    <a:pt x="1100" y="761"/>
                  </a:cubicBezTo>
                  <a:moveTo>
                    <a:pt x="786" y="781"/>
                  </a:moveTo>
                  <a:cubicBezTo>
                    <a:pt x="780" y="764"/>
                    <a:pt x="775" y="749"/>
                    <a:pt x="769" y="737"/>
                  </a:cubicBezTo>
                  <a:cubicBezTo>
                    <a:pt x="798" y="725"/>
                    <a:pt x="828" y="712"/>
                    <a:pt x="858" y="699"/>
                  </a:cubicBezTo>
                  <a:cubicBezTo>
                    <a:pt x="865" y="713"/>
                    <a:pt x="872" y="730"/>
                    <a:pt x="878" y="749"/>
                  </a:cubicBezTo>
                  <a:cubicBezTo>
                    <a:pt x="849" y="760"/>
                    <a:pt x="818" y="771"/>
                    <a:pt x="786" y="781"/>
                  </a:cubicBezTo>
                  <a:moveTo>
                    <a:pt x="980" y="768"/>
                  </a:moveTo>
                  <a:cubicBezTo>
                    <a:pt x="977" y="752"/>
                    <a:pt x="973" y="736"/>
                    <a:pt x="969" y="722"/>
                  </a:cubicBezTo>
                  <a:cubicBezTo>
                    <a:pt x="979" y="717"/>
                    <a:pt x="990" y="712"/>
                    <a:pt x="1001" y="706"/>
                  </a:cubicBezTo>
                  <a:cubicBezTo>
                    <a:pt x="1007" y="704"/>
                    <a:pt x="1012" y="701"/>
                    <a:pt x="1018" y="698"/>
                  </a:cubicBezTo>
                  <a:cubicBezTo>
                    <a:pt x="1021" y="712"/>
                    <a:pt x="1024" y="727"/>
                    <a:pt x="1027" y="742"/>
                  </a:cubicBezTo>
                  <a:cubicBezTo>
                    <a:pt x="1012" y="750"/>
                    <a:pt x="997" y="759"/>
                    <a:pt x="982" y="767"/>
                  </a:cubicBezTo>
                  <a:cubicBezTo>
                    <a:pt x="981" y="767"/>
                    <a:pt x="981" y="767"/>
                    <a:pt x="980" y="768"/>
                  </a:cubicBezTo>
                  <a:moveTo>
                    <a:pt x="1271" y="739"/>
                  </a:moveTo>
                  <a:cubicBezTo>
                    <a:pt x="1269" y="727"/>
                    <a:pt x="1267" y="715"/>
                    <a:pt x="1266" y="703"/>
                  </a:cubicBezTo>
                  <a:cubicBezTo>
                    <a:pt x="1280" y="699"/>
                    <a:pt x="1296" y="694"/>
                    <a:pt x="1311" y="690"/>
                  </a:cubicBezTo>
                  <a:cubicBezTo>
                    <a:pt x="1313" y="701"/>
                    <a:pt x="1315" y="713"/>
                    <a:pt x="1318" y="725"/>
                  </a:cubicBezTo>
                  <a:cubicBezTo>
                    <a:pt x="1302" y="729"/>
                    <a:pt x="1286" y="734"/>
                    <a:pt x="1271" y="739"/>
                  </a:cubicBezTo>
                  <a:moveTo>
                    <a:pt x="1158" y="733"/>
                  </a:moveTo>
                  <a:cubicBezTo>
                    <a:pt x="1153" y="695"/>
                    <a:pt x="1153" y="695"/>
                    <a:pt x="1153" y="695"/>
                  </a:cubicBezTo>
                  <a:cubicBezTo>
                    <a:pt x="1173" y="688"/>
                    <a:pt x="1181" y="683"/>
                    <a:pt x="1196" y="677"/>
                  </a:cubicBezTo>
                  <a:cubicBezTo>
                    <a:pt x="1198" y="689"/>
                    <a:pt x="1200" y="701"/>
                    <a:pt x="1202" y="714"/>
                  </a:cubicBezTo>
                  <a:cubicBezTo>
                    <a:pt x="1186" y="721"/>
                    <a:pt x="1178" y="726"/>
                    <a:pt x="1158" y="733"/>
                  </a:cubicBezTo>
                  <a:moveTo>
                    <a:pt x="1038" y="737"/>
                  </a:moveTo>
                  <a:cubicBezTo>
                    <a:pt x="1034" y="721"/>
                    <a:pt x="1031" y="707"/>
                    <a:pt x="1028" y="693"/>
                  </a:cubicBezTo>
                  <a:cubicBezTo>
                    <a:pt x="1042" y="686"/>
                    <a:pt x="1057" y="680"/>
                    <a:pt x="1072" y="673"/>
                  </a:cubicBezTo>
                  <a:cubicBezTo>
                    <a:pt x="1074" y="686"/>
                    <a:pt x="1077" y="700"/>
                    <a:pt x="1079" y="715"/>
                  </a:cubicBezTo>
                  <a:cubicBezTo>
                    <a:pt x="1065" y="722"/>
                    <a:pt x="1051" y="729"/>
                    <a:pt x="1038" y="737"/>
                  </a:cubicBezTo>
                  <a:moveTo>
                    <a:pt x="888" y="745"/>
                  </a:moveTo>
                  <a:cubicBezTo>
                    <a:pt x="882" y="726"/>
                    <a:pt x="875" y="709"/>
                    <a:pt x="869" y="695"/>
                  </a:cubicBezTo>
                  <a:cubicBezTo>
                    <a:pt x="892" y="685"/>
                    <a:pt x="916" y="675"/>
                    <a:pt x="939" y="665"/>
                  </a:cubicBezTo>
                  <a:cubicBezTo>
                    <a:pt x="944" y="680"/>
                    <a:pt x="950" y="697"/>
                    <a:pt x="955" y="715"/>
                  </a:cubicBezTo>
                  <a:cubicBezTo>
                    <a:pt x="943" y="721"/>
                    <a:pt x="932" y="726"/>
                    <a:pt x="921" y="731"/>
                  </a:cubicBezTo>
                  <a:cubicBezTo>
                    <a:pt x="910" y="736"/>
                    <a:pt x="900" y="740"/>
                    <a:pt x="888" y="745"/>
                  </a:cubicBezTo>
                  <a:moveTo>
                    <a:pt x="1209" y="711"/>
                  </a:moveTo>
                  <a:cubicBezTo>
                    <a:pt x="1207" y="698"/>
                    <a:pt x="1206" y="685"/>
                    <a:pt x="1205" y="673"/>
                  </a:cubicBezTo>
                  <a:cubicBezTo>
                    <a:pt x="1220" y="667"/>
                    <a:pt x="1235" y="662"/>
                    <a:pt x="1250" y="657"/>
                  </a:cubicBezTo>
                  <a:cubicBezTo>
                    <a:pt x="1251" y="669"/>
                    <a:pt x="1252" y="682"/>
                    <a:pt x="1254" y="695"/>
                  </a:cubicBezTo>
                  <a:cubicBezTo>
                    <a:pt x="1238" y="700"/>
                    <a:pt x="1223" y="705"/>
                    <a:pt x="1209" y="711"/>
                  </a:cubicBezTo>
                  <a:moveTo>
                    <a:pt x="764" y="726"/>
                  </a:moveTo>
                  <a:cubicBezTo>
                    <a:pt x="760" y="717"/>
                    <a:pt x="757" y="710"/>
                    <a:pt x="754" y="705"/>
                  </a:cubicBezTo>
                  <a:cubicBezTo>
                    <a:pt x="763" y="696"/>
                    <a:pt x="773" y="687"/>
                    <a:pt x="782" y="678"/>
                  </a:cubicBezTo>
                  <a:cubicBezTo>
                    <a:pt x="797" y="669"/>
                    <a:pt x="814" y="660"/>
                    <a:pt x="832" y="650"/>
                  </a:cubicBezTo>
                  <a:cubicBezTo>
                    <a:pt x="837" y="658"/>
                    <a:pt x="844" y="671"/>
                    <a:pt x="853" y="689"/>
                  </a:cubicBezTo>
                  <a:cubicBezTo>
                    <a:pt x="823" y="701"/>
                    <a:pt x="793" y="714"/>
                    <a:pt x="764" y="726"/>
                  </a:cubicBezTo>
                  <a:moveTo>
                    <a:pt x="1093" y="709"/>
                  </a:moveTo>
                  <a:cubicBezTo>
                    <a:pt x="1090" y="695"/>
                    <a:pt x="1089" y="680"/>
                    <a:pt x="1087" y="667"/>
                  </a:cubicBezTo>
                  <a:cubicBezTo>
                    <a:pt x="1102" y="660"/>
                    <a:pt x="1115" y="654"/>
                    <a:pt x="1136" y="646"/>
                  </a:cubicBezTo>
                  <a:cubicBezTo>
                    <a:pt x="1141" y="687"/>
                    <a:pt x="1141" y="687"/>
                    <a:pt x="1141" y="687"/>
                  </a:cubicBezTo>
                  <a:cubicBezTo>
                    <a:pt x="1131" y="694"/>
                    <a:pt x="1107" y="702"/>
                    <a:pt x="1093" y="709"/>
                  </a:cubicBezTo>
                  <a:moveTo>
                    <a:pt x="1264" y="691"/>
                  </a:moveTo>
                  <a:cubicBezTo>
                    <a:pt x="1263" y="678"/>
                    <a:pt x="1262" y="666"/>
                    <a:pt x="1261" y="654"/>
                  </a:cubicBezTo>
                  <a:cubicBezTo>
                    <a:pt x="1276" y="650"/>
                    <a:pt x="1290" y="645"/>
                    <a:pt x="1305" y="642"/>
                  </a:cubicBezTo>
                  <a:cubicBezTo>
                    <a:pt x="1306" y="653"/>
                    <a:pt x="1307" y="665"/>
                    <a:pt x="1309" y="678"/>
                  </a:cubicBezTo>
                  <a:cubicBezTo>
                    <a:pt x="1294" y="682"/>
                    <a:pt x="1279" y="687"/>
                    <a:pt x="1264" y="691"/>
                  </a:cubicBezTo>
                  <a:moveTo>
                    <a:pt x="966" y="710"/>
                  </a:moveTo>
                  <a:cubicBezTo>
                    <a:pt x="960" y="692"/>
                    <a:pt x="955" y="675"/>
                    <a:pt x="950" y="661"/>
                  </a:cubicBezTo>
                  <a:cubicBezTo>
                    <a:pt x="953" y="659"/>
                    <a:pt x="956" y="658"/>
                    <a:pt x="960" y="656"/>
                  </a:cubicBezTo>
                  <a:cubicBezTo>
                    <a:pt x="977" y="649"/>
                    <a:pt x="977" y="649"/>
                    <a:pt x="977" y="649"/>
                  </a:cubicBezTo>
                  <a:cubicBezTo>
                    <a:pt x="985" y="645"/>
                    <a:pt x="993" y="642"/>
                    <a:pt x="1001" y="638"/>
                  </a:cubicBezTo>
                  <a:cubicBezTo>
                    <a:pt x="1006" y="653"/>
                    <a:pt x="1010" y="669"/>
                    <a:pt x="1015" y="687"/>
                  </a:cubicBezTo>
                  <a:cubicBezTo>
                    <a:pt x="1009" y="689"/>
                    <a:pt x="1002" y="692"/>
                    <a:pt x="997" y="695"/>
                  </a:cubicBezTo>
                  <a:cubicBezTo>
                    <a:pt x="986" y="700"/>
                    <a:pt x="976" y="705"/>
                    <a:pt x="966" y="710"/>
                  </a:cubicBezTo>
                  <a:moveTo>
                    <a:pt x="1151" y="683"/>
                  </a:moveTo>
                  <a:cubicBezTo>
                    <a:pt x="1146" y="642"/>
                    <a:pt x="1146" y="642"/>
                    <a:pt x="1146" y="642"/>
                  </a:cubicBezTo>
                  <a:cubicBezTo>
                    <a:pt x="1166" y="635"/>
                    <a:pt x="1175" y="630"/>
                    <a:pt x="1192" y="624"/>
                  </a:cubicBezTo>
                  <a:cubicBezTo>
                    <a:pt x="1193" y="637"/>
                    <a:pt x="1195" y="650"/>
                    <a:pt x="1197" y="664"/>
                  </a:cubicBezTo>
                  <a:cubicBezTo>
                    <a:pt x="1181" y="670"/>
                    <a:pt x="1172" y="676"/>
                    <a:pt x="1151" y="683"/>
                  </a:cubicBezTo>
                  <a:moveTo>
                    <a:pt x="1025" y="682"/>
                  </a:moveTo>
                  <a:cubicBezTo>
                    <a:pt x="1020" y="664"/>
                    <a:pt x="1016" y="648"/>
                    <a:pt x="1012" y="634"/>
                  </a:cubicBezTo>
                  <a:cubicBezTo>
                    <a:pt x="1027" y="627"/>
                    <a:pt x="1044" y="620"/>
                    <a:pt x="1060" y="613"/>
                  </a:cubicBezTo>
                  <a:cubicBezTo>
                    <a:pt x="1063" y="627"/>
                    <a:pt x="1066" y="643"/>
                    <a:pt x="1070" y="661"/>
                  </a:cubicBezTo>
                  <a:cubicBezTo>
                    <a:pt x="1054" y="668"/>
                    <a:pt x="1039" y="675"/>
                    <a:pt x="1025" y="682"/>
                  </a:cubicBezTo>
                  <a:moveTo>
                    <a:pt x="864" y="684"/>
                  </a:moveTo>
                  <a:cubicBezTo>
                    <a:pt x="855" y="666"/>
                    <a:pt x="847" y="653"/>
                    <a:pt x="842" y="645"/>
                  </a:cubicBezTo>
                  <a:cubicBezTo>
                    <a:pt x="865" y="632"/>
                    <a:pt x="890" y="619"/>
                    <a:pt x="916" y="606"/>
                  </a:cubicBezTo>
                  <a:cubicBezTo>
                    <a:pt x="919" y="612"/>
                    <a:pt x="926" y="629"/>
                    <a:pt x="935" y="654"/>
                  </a:cubicBezTo>
                  <a:cubicBezTo>
                    <a:pt x="912" y="664"/>
                    <a:pt x="888" y="674"/>
                    <a:pt x="864" y="684"/>
                  </a:cubicBezTo>
                  <a:moveTo>
                    <a:pt x="1204" y="661"/>
                  </a:moveTo>
                  <a:cubicBezTo>
                    <a:pt x="1202" y="646"/>
                    <a:pt x="1201" y="633"/>
                    <a:pt x="1201" y="620"/>
                  </a:cubicBezTo>
                  <a:cubicBezTo>
                    <a:pt x="1216" y="615"/>
                    <a:pt x="1232" y="610"/>
                    <a:pt x="1249" y="605"/>
                  </a:cubicBezTo>
                  <a:cubicBezTo>
                    <a:pt x="1249" y="607"/>
                    <a:pt x="1249" y="609"/>
                    <a:pt x="1249" y="610"/>
                  </a:cubicBezTo>
                  <a:cubicBezTo>
                    <a:pt x="1249" y="621"/>
                    <a:pt x="1249" y="633"/>
                    <a:pt x="1250" y="645"/>
                  </a:cubicBezTo>
                  <a:cubicBezTo>
                    <a:pt x="1234" y="650"/>
                    <a:pt x="1219" y="655"/>
                    <a:pt x="1204" y="661"/>
                  </a:cubicBezTo>
                  <a:moveTo>
                    <a:pt x="785" y="639"/>
                  </a:moveTo>
                  <a:cubicBezTo>
                    <a:pt x="785" y="638"/>
                    <a:pt x="802" y="624"/>
                    <a:pt x="835" y="605"/>
                  </a:cubicBezTo>
                  <a:cubicBezTo>
                    <a:pt x="815" y="627"/>
                    <a:pt x="796" y="648"/>
                    <a:pt x="775" y="669"/>
                  </a:cubicBezTo>
                  <a:cubicBezTo>
                    <a:pt x="760" y="677"/>
                    <a:pt x="746" y="686"/>
                    <a:pt x="734" y="694"/>
                  </a:cubicBezTo>
                  <a:cubicBezTo>
                    <a:pt x="743" y="685"/>
                    <a:pt x="751" y="676"/>
                    <a:pt x="761" y="665"/>
                  </a:cubicBezTo>
                  <a:cubicBezTo>
                    <a:pt x="769" y="656"/>
                    <a:pt x="777" y="647"/>
                    <a:pt x="784" y="638"/>
                  </a:cubicBezTo>
                  <a:cubicBezTo>
                    <a:pt x="785" y="639"/>
                    <a:pt x="785" y="639"/>
                    <a:pt x="785" y="639"/>
                  </a:cubicBezTo>
                  <a:moveTo>
                    <a:pt x="1261" y="642"/>
                  </a:moveTo>
                  <a:cubicBezTo>
                    <a:pt x="1260" y="631"/>
                    <a:pt x="1260" y="620"/>
                    <a:pt x="1260" y="610"/>
                  </a:cubicBezTo>
                  <a:cubicBezTo>
                    <a:pt x="1260" y="608"/>
                    <a:pt x="1260" y="605"/>
                    <a:pt x="1260" y="602"/>
                  </a:cubicBezTo>
                  <a:cubicBezTo>
                    <a:pt x="1274" y="598"/>
                    <a:pt x="1289" y="595"/>
                    <a:pt x="1304" y="591"/>
                  </a:cubicBezTo>
                  <a:cubicBezTo>
                    <a:pt x="1304" y="596"/>
                    <a:pt x="1304" y="601"/>
                    <a:pt x="1304" y="607"/>
                  </a:cubicBezTo>
                  <a:cubicBezTo>
                    <a:pt x="1304" y="614"/>
                    <a:pt x="1304" y="622"/>
                    <a:pt x="1305" y="629"/>
                  </a:cubicBezTo>
                  <a:cubicBezTo>
                    <a:pt x="1289" y="633"/>
                    <a:pt x="1275" y="637"/>
                    <a:pt x="1261" y="642"/>
                  </a:cubicBezTo>
                  <a:moveTo>
                    <a:pt x="1083" y="655"/>
                  </a:moveTo>
                  <a:cubicBezTo>
                    <a:pt x="1080" y="638"/>
                    <a:pt x="1078" y="622"/>
                    <a:pt x="1075" y="608"/>
                  </a:cubicBezTo>
                  <a:cubicBezTo>
                    <a:pt x="1092" y="602"/>
                    <a:pt x="1108" y="595"/>
                    <a:pt x="1128" y="588"/>
                  </a:cubicBezTo>
                  <a:cubicBezTo>
                    <a:pt x="1134" y="634"/>
                    <a:pt x="1134" y="634"/>
                    <a:pt x="1134" y="634"/>
                  </a:cubicBezTo>
                  <a:cubicBezTo>
                    <a:pt x="1114" y="641"/>
                    <a:pt x="1099" y="648"/>
                    <a:pt x="1083" y="655"/>
                  </a:cubicBezTo>
                  <a:moveTo>
                    <a:pt x="1316" y="627"/>
                  </a:moveTo>
                  <a:cubicBezTo>
                    <a:pt x="1315" y="620"/>
                    <a:pt x="1315" y="613"/>
                    <a:pt x="1315" y="607"/>
                  </a:cubicBezTo>
                  <a:cubicBezTo>
                    <a:pt x="1315" y="601"/>
                    <a:pt x="1315" y="595"/>
                    <a:pt x="1315" y="589"/>
                  </a:cubicBezTo>
                  <a:cubicBezTo>
                    <a:pt x="1341" y="584"/>
                    <a:pt x="1367" y="580"/>
                    <a:pt x="1395" y="577"/>
                  </a:cubicBezTo>
                  <a:cubicBezTo>
                    <a:pt x="1394" y="584"/>
                    <a:pt x="1394" y="591"/>
                    <a:pt x="1394" y="598"/>
                  </a:cubicBezTo>
                  <a:cubicBezTo>
                    <a:pt x="1394" y="603"/>
                    <a:pt x="1394" y="607"/>
                    <a:pt x="1394" y="612"/>
                  </a:cubicBezTo>
                  <a:cubicBezTo>
                    <a:pt x="1367" y="616"/>
                    <a:pt x="1341" y="621"/>
                    <a:pt x="1316" y="627"/>
                  </a:cubicBezTo>
                  <a:moveTo>
                    <a:pt x="946" y="649"/>
                  </a:moveTo>
                  <a:cubicBezTo>
                    <a:pt x="937" y="625"/>
                    <a:pt x="929" y="608"/>
                    <a:pt x="927" y="602"/>
                  </a:cubicBezTo>
                  <a:cubicBezTo>
                    <a:pt x="944" y="593"/>
                    <a:pt x="962" y="585"/>
                    <a:pt x="981" y="577"/>
                  </a:cubicBezTo>
                  <a:cubicBezTo>
                    <a:pt x="984" y="585"/>
                    <a:pt x="990" y="603"/>
                    <a:pt x="998" y="627"/>
                  </a:cubicBezTo>
                  <a:cubicBezTo>
                    <a:pt x="989" y="631"/>
                    <a:pt x="981" y="634"/>
                    <a:pt x="972" y="638"/>
                  </a:cubicBezTo>
                  <a:cubicBezTo>
                    <a:pt x="955" y="645"/>
                    <a:pt x="955" y="645"/>
                    <a:pt x="955" y="645"/>
                  </a:cubicBezTo>
                  <a:cubicBezTo>
                    <a:pt x="952" y="647"/>
                    <a:pt x="949" y="648"/>
                    <a:pt x="946" y="649"/>
                  </a:cubicBezTo>
                  <a:moveTo>
                    <a:pt x="811" y="648"/>
                  </a:moveTo>
                  <a:cubicBezTo>
                    <a:pt x="829" y="628"/>
                    <a:pt x="847" y="607"/>
                    <a:pt x="865" y="587"/>
                  </a:cubicBezTo>
                  <a:cubicBezTo>
                    <a:pt x="876" y="581"/>
                    <a:pt x="888" y="575"/>
                    <a:pt x="901" y="568"/>
                  </a:cubicBezTo>
                  <a:cubicBezTo>
                    <a:pt x="863" y="609"/>
                    <a:pt x="830" y="637"/>
                    <a:pt x="829" y="638"/>
                  </a:cubicBezTo>
                  <a:cubicBezTo>
                    <a:pt x="823" y="642"/>
                    <a:pt x="817" y="645"/>
                    <a:pt x="811" y="648"/>
                  </a:cubicBezTo>
                  <a:moveTo>
                    <a:pt x="1144" y="630"/>
                  </a:moveTo>
                  <a:cubicBezTo>
                    <a:pt x="1138" y="585"/>
                    <a:pt x="1138" y="585"/>
                    <a:pt x="1138" y="585"/>
                  </a:cubicBezTo>
                  <a:cubicBezTo>
                    <a:pt x="1158" y="578"/>
                    <a:pt x="1171" y="573"/>
                    <a:pt x="1190" y="567"/>
                  </a:cubicBezTo>
                  <a:cubicBezTo>
                    <a:pt x="1190" y="580"/>
                    <a:pt x="1192" y="595"/>
                    <a:pt x="1193" y="611"/>
                  </a:cubicBezTo>
                  <a:cubicBezTo>
                    <a:pt x="1176" y="617"/>
                    <a:pt x="1164" y="623"/>
                    <a:pt x="1144" y="630"/>
                  </a:cubicBezTo>
                  <a:moveTo>
                    <a:pt x="1042" y="553"/>
                  </a:moveTo>
                  <a:cubicBezTo>
                    <a:pt x="1042" y="553"/>
                    <a:pt x="1042" y="552"/>
                    <a:pt x="1043" y="551"/>
                  </a:cubicBezTo>
                  <a:cubicBezTo>
                    <a:pt x="1044" y="551"/>
                    <a:pt x="1045" y="551"/>
                    <a:pt x="1046" y="550"/>
                  </a:cubicBezTo>
                  <a:cubicBezTo>
                    <a:pt x="1048" y="558"/>
                    <a:pt x="1052" y="576"/>
                    <a:pt x="1058" y="601"/>
                  </a:cubicBezTo>
                  <a:cubicBezTo>
                    <a:pt x="1041" y="608"/>
                    <a:pt x="1024" y="615"/>
                    <a:pt x="1008" y="622"/>
                  </a:cubicBezTo>
                  <a:cubicBezTo>
                    <a:pt x="1001" y="598"/>
                    <a:pt x="994" y="581"/>
                    <a:pt x="991" y="572"/>
                  </a:cubicBezTo>
                  <a:cubicBezTo>
                    <a:pt x="1008" y="565"/>
                    <a:pt x="1024" y="559"/>
                    <a:pt x="1041" y="552"/>
                  </a:cubicBezTo>
                  <a:cubicBezTo>
                    <a:pt x="1042" y="553"/>
                    <a:pt x="1042" y="553"/>
                    <a:pt x="1042" y="553"/>
                  </a:cubicBezTo>
                  <a:moveTo>
                    <a:pt x="1200" y="608"/>
                  </a:moveTo>
                  <a:cubicBezTo>
                    <a:pt x="1199" y="592"/>
                    <a:pt x="1199" y="577"/>
                    <a:pt x="1198" y="564"/>
                  </a:cubicBezTo>
                  <a:cubicBezTo>
                    <a:pt x="1216" y="559"/>
                    <a:pt x="1233" y="554"/>
                    <a:pt x="1251" y="550"/>
                  </a:cubicBezTo>
                  <a:cubicBezTo>
                    <a:pt x="1250" y="563"/>
                    <a:pt x="1249" y="577"/>
                    <a:pt x="1249" y="593"/>
                  </a:cubicBezTo>
                  <a:cubicBezTo>
                    <a:pt x="1232" y="597"/>
                    <a:pt x="1216" y="603"/>
                    <a:pt x="1200" y="608"/>
                  </a:cubicBezTo>
                  <a:moveTo>
                    <a:pt x="1260" y="590"/>
                  </a:moveTo>
                  <a:cubicBezTo>
                    <a:pt x="1261" y="574"/>
                    <a:pt x="1262" y="560"/>
                    <a:pt x="1263" y="548"/>
                  </a:cubicBezTo>
                  <a:cubicBezTo>
                    <a:pt x="1278" y="544"/>
                    <a:pt x="1293" y="541"/>
                    <a:pt x="1309" y="539"/>
                  </a:cubicBezTo>
                  <a:cubicBezTo>
                    <a:pt x="1307" y="551"/>
                    <a:pt x="1306" y="564"/>
                    <a:pt x="1305" y="579"/>
                  </a:cubicBezTo>
                  <a:cubicBezTo>
                    <a:pt x="1290" y="582"/>
                    <a:pt x="1275" y="586"/>
                    <a:pt x="1260" y="590"/>
                  </a:cubicBezTo>
                  <a:moveTo>
                    <a:pt x="811" y="606"/>
                  </a:moveTo>
                  <a:cubicBezTo>
                    <a:pt x="821" y="593"/>
                    <a:pt x="831" y="580"/>
                    <a:pt x="841" y="569"/>
                  </a:cubicBezTo>
                  <a:cubicBezTo>
                    <a:pt x="842" y="567"/>
                    <a:pt x="843" y="566"/>
                    <a:pt x="844" y="565"/>
                  </a:cubicBezTo>
                  <a:cubicBezTo>
                    <a:pt x="853" y="559"/>
                    <a:pt x="869" y="549"/>
                    <a:pt x="893" y="536"/>
                  </a:cubicBezTo>
                  <a:cubicBezTo>
                    <a:pt x="886" y="545"/>
                    <a:pt x="878" y="554"/>
                    <a:pt x="871" y="563"/>
                  </a:cubicBezTo>
                  <a:cubicBezTo>
                    <a:pt x="867" y="567"/>
                    <a:pt x="863" y="572"/>
                    <a:pt x="858" y="577"/>
                  </a:cubicBezTo>
                  <a:cubicBezTo>
                    <a:pt x="839" y="588"/>
                    <a:pt x="823" y="597"/>
                    <a:pt x="811" y="606"/>
                  </a:cubicBezTo>
                  <a:moveTo>
                    <a:pt x="1071" y="597"/>
                  </a:moveTo>
                  <a:cubicBezTo>
                    <a:pt x="1066" y="571"/>
                    <a:pt x="1060" y="553"/>
                    <a:pt x="1058" y="546"/>
                  </a:cubicBezTo>
                  <a:cubicBezTo>
                    <a:pt x="1075" y="540"/>
                    <a:pt x="1091" y="534"/>
                    <a:pt x="1108" y="528"/>
                  </a:cubicBezTo>
                  <a:cubicBezTo>
                    <a:pt x="1115" y="532"/>
                    <a:pt x="1115" y="532"/>
                    <a:pt x="1115" y="532"/>
                  </a:cubicBezTo>
                  <a:cubicBezTo>
                    <a:pt x="1115" y="532"/>
                    <a:pt x="1120" y="530"/>
                    <a:pt x="1120" y="529"/>
                  </a:cubicBezTo>
                  <a:cubicBezTo>
                    <a:pt x="1120" y="529"/>
                    <a:pt x="1120" y="529"/>
                    <a:pt x="1120" y="529"/>
                  </a:cubicBezTo>
                  <a:cubicBezTo>
                    <a:pt x="1126" y="576"/>
                    <a:pt x="1126" y="576"/>
                    <a:pt x="1126" y="576"/>
                  </a:cubicBezTo>
                  <a:cubicBezTo>
                    <a:pt x="1106" y="583"/>
                    <a:pt x="1088" y="590"/>
                    <a:pt x="1071" y="597"/>
                  </a:cubicBezTo>
                  <a:moveTo>
                    <a:pt x="869" y="617"/>
                  </a:moveTo>
                  <a:cubicBezTo>
                    <a:pt x="886" y="601"/>
                    <a:pt x="907" y="579"/>
                    <a:pt x="929" y="555"/>
                  </a:cubicBezTo>
                  <a:cubicBezTo>
                    <a:pt x="936" y="552"/>
                    <a:pt x="943" y="549"/>
                    <a:pt x="950" y="546"/>
                  </a:cubicBezTo>
                  <a:cubicBezTo>
                    <a:pt x="964" y="540"/>
                    <a:pt x="979" y="534"/>
                    <a:pt x="995" y="528"/>
                  </a:cubicBezTo>
                  <a:cubicBezTo>
                    <a:pt x="971" y="557"/>
                    <a:pt x="950" y="577"/>
                    <a:pt x="949" y="578"/>
                  </a:cubicBezTo>
                  <a:cubicBezTo>
                    <a:pt x="921" y="591"/>
                    <a:pt x="894" y="604"/>
                    <a:pt x="869" y="617"/>
                  </a:cubicBezTo>
                  <a:moveTo>
                    <a:pt x="886" y="562"/>
                  </a:moveTo>
                  <a:cubicBezTo>
                    <a:pt x="898" y="549"/>
                    <a:pt x="909" y="536"/>
                    <a:pt x="920" y="523"/>
                  </a:cubicBezTo>
                  <a:cubicBezTo>
                    <a:pt x="930" y="518"/>
                    <a:pt x="941" y="514"/>
                    <a:pt x="953" y="509"/>
                  </a:cubicBezTo>
                  <a:cubicBezTo>
                    <a:pt x="943" y="521"/>
                    <a:pt x="932" y="533"/>
                    <a:pt x="922" y="545"/>
                  </a:cubicBezTo>
                  <a:cubicBezTo>
                    <a:pt x="909" y="551"/>
                    <a:pt x="897" y="557"/>
                    <a:pt x="886" y="562"/>
                  </a:cubicBezTo>
                  <a:moveTo>
                    <a:pt x="1136" y="573"/>
                  </a:moveTo>
                  <a:cubicBezTo>
                    <a:pt x="1130" y="522"/>
                    <a:pt x="1130" y="522"/>
                    <a:pt x="1130" y="522"/>
                  </a:cubicBezTo>
                  <a:cubicBezTo>
                    <a:pt x="1150" y="516"/>
                    <a:pt x="1168" y="511"/>
                    <a:pt x="1189" y="506"/>
                  </a:cubicBezTo>
                  <a:cubicBezTo>
                    <a:pt x="1188" y="507"/>
                    <a:pt x="1188" y="507"/>
                    <a:pt x="1188" y="507"/>
                  </a:cubicBezTo>
                  <a:cubicBezTo>
                    <a:pt x="1188" y="507"/>
                    <a:pt x="1188" y="508"/>
                    <a:pt x="1188" y="509"/>
                  </a:cubicBezTo>
                  <a:cubicBezTo>
                    <a:pt x="1188" y="518"/>
                    <a:pt x="1190" y="533"/>
                    <a:pt x="1190" y="555"/>
                  </a:cubicBezTo>
                  <a:cubicBezTo>
                    <a:pt x="1171" y="560"/>
                    <a:pt x="1157" y="566"/>
                    <a:pt x="1136" y="573"/>
                  </a:cubicBezTo>
                  <a:moveTo>
                    <a:pt x="977" y="566"/>
                  </a:moveTo>
                  <a:cubicBezTo>
                    <a:pt x="988" y="554"/>
                    <a:pt x="1002" y="538"/>
                    <a:pt x="1016" y="520"/>
                  </a:cubicBezTo>
                  <a:cubicBezTo>
                    <a:pt x="1033" y="515"/>
                    <a:pt x="1050" y="509"/>
                    <a:pt x="1068" y="504"/>
                  </a:cubicBezTo>
                  <a:cubicBezTo>
                    <a:pt x="1054" y="522"/>
                    <a:pt x="1042" y="536"/>
                    <a:pt x="1037" y="541"/>
                  </a:cubicBezTo>
                  <a:cubicBezTo>
                    <a:pt x="1016" y="549"/>
                    <a:pt x="997" y="557"/>
                    <a:pt x="977" y="566"/>
                  </a:cubicBezTo>
                  <a:moveTo>
                    <a:pt x="1330" y="496"/>
                  </a:moveTo>
                  <a:cubicBezTo>
                    <a:pt x="1318" y="496"/>
                    <a:pt x="1318" y="496"/>
                    <a:pt x="1318" y="496"/>
                  </a:cubicBezTo>
                  <a:cubicBezTo>
                    <a:pt x="1316" y="504"/>
                    <a:pt x="1313" y="514"/>
                    <a:pt x="1311" y="526"/>
                  </a:cubicBezTo>
                  <a:cubicBezTo>
                    <a:pt x="1295" y="529"/>
                    <a:pt x="1280" y="532"/>
                    <a:pt x="1264" y="535"/>
                  </a:cubicBezTo>
                  <a:cubicBezTo>
                    <a:pt x="1266" y="517"/>
                    <a:pt x="1269" y="503"/>
                    <a:pt x="1270" y="496"/>
                  </a:cubicBezTo>
                  <a:cubicBezTo>
                    <a:pt x="1259" y="496"/>
                    <a:pt x="1259" y="496"/>
                    <a:pt x="1259" y="496"/>
                  </a:cubicBezTo>
                  <a:cubicBezTo>
                    <a:pt x="1257" y="504"/>
                    <a:pt x="1255" y="519"/>
                    <a:pt x="1253" y="537"/>
                  </a:cubicBezTo>
                  <a:cubicBezTo>
                    <a:pt x="1234" y="542"/>
                    <a:pt x="1216" y="546"/>
                    <a:pt x="1198" y="552"/>
                  </a:cubicBezTo>
                  <a:cubicBezTo>
                    <a:pt x="1198" y="545"/>
                    <a:pt x="1198" y="539"/>
                    <a:pt x="1198" y="533"/>
                  </a:cubicBezTo>
                  <a:cubicBezTo>
                    <a:pt x="1198" y="518"/>
                    <a:pt x="1198" y="508"/>
                    <a:pt x="1198" y="503"/>
                  </a:cubicBezTo>
                  <a:cubicBezTo>
                    <a:pt x="1211" y="500"/>
                    <a:pt x="1223" y="498"/>
                    <a:pt x="1235" y="496"/>
                  </a:cubicBezTo>
                  <a:cubicBezTo>
                    <a:pt x="1179" y="496"/>
                    <a:pt x="1179" y="496"/>
                    <a:pt x="1179" y="496"/>
                  </a:cubicBezTo>
                  <a:cubicBezTo>
                    <a:pt x="1163" y="500"/>
                    <a:pt x="1148" y="504"/>
                    <a:pt x="1132" y="508"/>
                  </a:cubicBezTo>
                  <a:cubicBezTo>
                    <a:pt x="1135" y="505"/>
                    <a:pt x="1139" y="500"/>
                    <a:pt x="1142" y="496"/>
                  </a:cubicBezTo>
                  <a:cubicBezTo>
                    <a:pt x="1128" y="496"/>
                    <a:pt x="1128" y="496"/>
                    <a:pt x="1128" y="496"/>
                  </a:cubicBezTo>
                  <a:cubicBezTo>
                    <a:pt x="1122" y="503"/>
                    <a:pt x="1116" y="510"/>
                    <a:pt x="1113" y="514"/>
                  </a:cubicBezTo>
                  <a:cubicBezTo>
                    <a:pt x="1095" y="520"/>
                    <a:pt x="1077" y="526"/>
                    <a:pt x="1060" y="532"/>
                  </a:cubicBezTo>
                  <a:cubicBezTo>
                    <a:pt x="1067" y="524"/>
                    <a:pt x="1077" y="512"/>
                    <a:pt x="1087" y="499"/>
                  </a:cubicBezTo>
                  <a:cubicBezTo>
                    <a:pt x="1091" y="498"/>
                    <a:pt x="1095" y="497"/>
                    <a:pt x="1099" y="496"/>
                  </a:cubicBezTo>
                  <a:cubicBezTo>
                    <a:pt x="1054" y="496"/>
                    <a:pt x="1054" y="496"/>
                    <a:pt x="1054" y="496"/>
                  </a:cubicBezTo>
                  <a:cubicBezTo>
                    <a:pt x="1045" y="498"/>
                    <a:pt x="1037" y="501"/>
                    <a:pt x="1029" y="503"/>
                  </a:cubicBezTo>
                  <a:cubicBezTo>
                    <a:pt x="1031" y="501"/>
                    <a:pt x="1033" y="498"/>
                    <a:pt x="1035" y="496"/>
                  </a:cubicBezTo>
                  <a:cubicBezTo>
                    <a:pt x="1021" y="496"/>
                    <a:pt x="1021" y="496"/>
                    <a:pt x="1021" y="496"/>
                  </a:cubicBezTo>
                  <a:cubicBezTo>
                    <a:pt x="1017" y="500"/>
                    <a:pt x="1013" y="505"/>
                    <a:pt x="1010" y="510"/>
                  </a:cubicBezTo>
                  <a:cubicBezTo>
                    <a:pt x="987" y="518"/>
                    <a:pt x="966" y="526"/>
                    <a:pt x="947" y="534"/>
                  </a:cubicBezTo>
                  <a:cubicBezTo>
                    <a:pt x="956" y="523"/>
                    <a:pt x="965" y="512"/>
                    <a:pt x="974" y="500"/>
                  </a:cubicBezTo>
                  <a:cubicBezTo>
                    <a:pt x="978" y="499"/>
                    <a:pt x="982" y="497"/>
                    <a:pt x="986" y="496"/>
                  </a:cubicBezTo>
                  <a:cubicBezTo>
                    <a:pt x="986" y="496"/>
                    <a:pt x="986" y="496"/>
                    <a:pt x="987" y="496"/>
                  </a:cubicBezTo>
                  <a:cubicBezTo>
                    <a:pt x="954" y="496"/>
                    <a:pt x="954" y="496"/>
                    <a:pt x="954" y="496"/>
                  </a:cubicBezTo>
                  <a:cubicBezTo>
                    <a:pt x="949" y="498"/>
                    <a:pt x="944" y="499"/>
                    <a:pt x="940" y="501"/>
                  </a:cubicBezTo>
                  <a:cubicBezTo>
                    <a:pt x="942" y="499"/>
                    <a:pt x="943" y="498"/>
                    <a:pt x="945" y="496"/>
                  </a:cubicBezTo>
                  <a:cubicBezTo>
                    <a:pt x="929" y="496"/>
                    <a:pt x="929" y="496"/>
                    <a:pt x="929" y="496"/>
                  </a:cubicBezTo>
                  <a:cubicBezTo>
                    <a:pt x="924" y="501"/>
                    <a:pt x="919" y="507"/>
                    <a:pt x="914" y="513"/>
                  </a:cubicBezTo>
                  <a:cubicBezTo>
                    <a:pt x="894" y="522"/>
                    <a:pt x="878" y="530"/>
                    <a:pt x="866" y="538"/>
                  </a:cubicBezTo>
                  <a:cubicBezTo>
                    <a:pt x="878" y="523"/>
                    <a:pt x="889" y="509"/>
                    <a:pt x="901" y="496"/>
                  </a:cubicBezTo>
                  <a:cubicBezTo>
                    <a:pt x="886" y="496"/>
                    <a:pt x="886" y="496"/>
                    <a:pt x="886" y="496"/>
                  </a:cubicBezTo>
                  <a:cubicBezTo>
                    <a:pt x="869" y="514"/>
                    <a:pt x="853" y="534"/>
                    <a:pt x="837" y="555"/>
                  </a:cubicBezTo>
                  <a:cubicBezTo>
                    <a:pt x="833" y="558"/>
                    <a:pt x="831" y="559"/>
                    <a:pt x="831" y="560"/>
                  </a:cubicBezTo>
                  <a:cubicBezTo>
                    <a:pt x="832" y="561"/>
                    <a:pt x="832" y="561"/>
                    <a:pt x="832" y="561"/>
                  </a:cubicBezTo>
                  <a:cubicBezTo>
                    <a:pt x="808" y="591"/>
                    <a:pt x="783" y="623"/>
                    <a:pt x="752" y="657"/>
                  </a:cubicBezTo>
                  <a:cubicBezTo>
                    <a:pt x="734" y="678"/>
                    <a:pt x="716" y="695"/>
                    <a:pt x="697" y="711"/>
                  </a:cubicBezTo>
                  <a:cubicBezTo>
                    <a:pt x="697" y="731"/>
                    <a:pt x="697" y="731"/>
                    <a:pt x="697" y="731"/>
                  </a:cubicBezTo>
                  <a:cubicBezTo>
                    <a:pt x="706" y="725"/>
                    <a:pt x="717" y="718"/>
                    <a:pt x="730" y="709"/>
                  </a:cubicBezTo>
                  <a:cubicBezTo>
                    <a:pt x="724" y="714"/>
                    <a:pt x="718" y="719"/>
                    <a:pt x="712" y="724"/>
                  </a:cubicBezTo>
                  <a:cubicBezTo>
                    <a:pt x="707" y="727"/>
                    <a:pt x="702" y="731"/>
                    <a:pt x="697" y="735"/>
                  </a:cubicBezTo>
                  <a:cubicBezTo>
                    <a:pt x="697" y="749"/>
                    <a:pt x="697" y="749"/>
                    <a:pt x="697" y="749"/>
                  </a:cubicBezTo>
                  <a:cubicBezTo>
                    <a:pt x="705" y="744"/>
                    <a:pt x="712" y="739"/>
                    <a:pt x="718" y="734"/>
                  </a:cubicBezTo>
                  <a:cubicBezTo>
                    <a:pt x="727" y="727"/>
                    <a:pt x="736" y="720"/>
                    <a:pt x="745" y="712"/>
                  </a:cubicBezTo>
                  <a:cubicBezTo>
                    <a:pt x="748" y="717"/>
                    <a:pt x="751" y="723"/>
                    <a:pt x="754" y="730"/>
                  </a:cubicBezTo>
                  <a:cubicBezTo>
                    <a:pt x="734" y="738"/>
                    <a:pt x="715" y="746"/>
                    <a:pt x="697" y="754"/>
                  </a:cubicBezTo>
                  <a:cubicBezTo>
                    <a:pt x="697" y="766"/>
                    <a:pt x="697" y="766"/>
                    <a:pt x="697" y="766"/>
                  </a:cubicBezTo>
                  <a:cubicBezTo>
                    <a:pt x="716" y="758"/>
                    <a:pt x="737" y="750"/>
                    <a:pt x="759" y="741"/>
                  </a:cubicBezTo>
                  <a:cubicBezTo>
                    <a:pt x="764" y="753"/>
                    <a:pt x="770" y="768"/>
                    <a:pt x="776" y="784"/>
                  </a:cubicBezTo>
                  <a:cubicBezTo>
                    <a:pt x="749" y="793"/>
                    <a:pt x="723" y="801"/>
                    <a:pt x="697" y="809"/>
                  </a:cubicBezTo>
                  <a:cubicBezTo>
                    <a:pt x="697" y="821"/>
                    <a:pt x="697" y="821"/>
                    <a:pt x="697" y="821"/>
                  </a:cubicBezTo>
                  <a:cubicBezTo>
                    <a:pt x="724" y="813"/>
                    <a:pt x="752" y="805"/>
                    <a:pt x="779" y="796"/>
                  </a:cubicBezTo>
                  <a:cubicBezTo>
                    <a:pt x="785" y="812"/>
                    <a:pt x="790" y="830"/>
                    <a:pt x="794" y="849"/>
                  </a:cubicBezTo>
                  <a:cubicBezTo>
                    <a:pt x="766" y="857"/>
                    <a:pt x="736" y="864"/>
                    <a:pt x="705" y="871"/>
                  </a:cubicBezTo>
                  <a:cubicBezTo>
                    <a:pt x="703" y="860"/>
                    <a:pt x="700" y="850"/>
                    <a:pt x="697" y="841"/>
                  </a:cubicBezTo>
                  <a:cubicBezTo>
                    <a:pt x="697" y="885"/>
                    <a:pt x="697" y="885"/>
                    <a:pt x="697" y="885"/>
                  </a:cubicBezTo>
                  <a:cubicBezTo>
                    <a:pt x="697" y="885"/>
                    <a:pt x="697" y="885"/>
                    <a:pt x="697" y="885"/>
                  </a:cubicBezTo>
                  <a:cubicBezTo>
                    <a:pt x="701" y="903"/>
                    <a:pt x="705" y="922"/>
                    <a:pt x="708" y="943"/>
                  </a:cubicBezTo>
                  <a:cubicBezTo>
                    <a:pt x="704" y="943"/>
                    <a:pt x="701" y="944"/>
                    <a:pt x="697" y="945"/>
                  </a:cubicBezTo>
                  <a:cubicBezTo>
                    <a:pt x="697" y="957"/>
                    <a:pt x="697" y="957"/>
                    <a:pt x="697" y="957"/>
                  </a:cubicBezTo>
                  <a:cubicBezTo>
                    <a:pt x="701" y="956"/>
                    <a:pt x="705" y="955"/>
                    <a:pt x="709" y="955"/>
                  </a:cubicBezTo>
                  <a:cubicBezTo>
                    <a:pt x="711" y="967"/>
                    <a:pt x="712" y="980"/>
                    <a:pt x="712" y="993"/>
                  </a:cubicBezTo>
                  <a:cubicBezTo>
                    <a:pt x="724" y="993"/>
                    <a:pt x="724" y="993"/>
                    <a:pt x="724" y="993"/>
                  </a:cubicBezTo>
                  <a:cubicBezTo>
                    <a:pt x="723" y="979"/>
                    <a:pt x="722" y="965"/>
                    <a:pt x="720" y="952"/>
                  </a:cubicBezTo>
                  <a:cubicBezTo>
                    <a:pt x="752" y="946"/>
                    <a:pt x="782" y="939"/>
                    <a:pt x="807" y="931"/>
                  </a:cubicBezTo>
                  <a:cubicBezTo>
                    <a:pt x="808" y="949"/>
                    <a:pt x="809" y="968"/>
                    <a:pt x="809" y="987"/>
                  </a:cubicBezTo>
                  <a:cubicBezTo>
                    <a:pt x="809" y="988"/>
                    <a:pt x="809" y="990"/>
                    <a:pt x="809" y="992"/>
                  </a:cubicBezTo>
                  <a:cubicBezTo>
                    <a:pt x="808" y="992"/>
                    <a:pt x="807" y="993"/>
                    <a:pt x="806" y="993"/>
                  </a:cubicBezTo>
                  <a:cubicBezTo>
                    <a:pt x="833" y="993"/>
                    <a:pt x="833" y="993"/>
                    <a:pt x="833" y="993"/>
                  </a:cubicBezTo>
                  <a:cubicBezTo>
                    <a:pt x="856" y="981"/>
                    <a:pt x="880" y="965"/>
                    <a:pt x="907" y="946"/>
                  </a:cubicBezTo>
                  <a:cubicBezTo>
                    <a:pt x="907" y="960"/>
                    <a:pt x="906" y="975"/>
                    <a:pt x="905" y="990"/>
                  </a:cubicBezTo>
                  <a:cubicBezTo>
                    <a:pt x="903" y="991"/>
                    <a:pt x="902" y="992"/>
                    <a:pt x="900" y="993"/>
                  </a:cubicBezTo>
                  <a:cubicBezTo>
                    <a:pt x="920" y="993"/>
                    <a:pt x="920" y="993"/>
                    <a:pt x="920" y="993"/>
                  </a:cubicBezTo>
                  <a:cubicBezTo>
                    <a:pt x="941" y="978"/>
                    <a:pt x="963" y="962"/>
                    <a:pt x="987" y="946"/>
                  </a:cubicBezTo>
                  <a:cubicBezTo>
                    <a:pt x="986" y="962"/>
                    <a:pt x="985" y="977"/>
                    <a:pt x="982" y="993"/>
                  </a:cubicBezTo>
                  <a:cubicBezTo>
                    <a:pt x="993" y="993"/>
                    <a:pt x="993" y="993"/>
                    <a:pt x="993" y="993"/>
                  </a:cubicBezTo>
                  <a:cubicBezTo>
                    <a:pt x="996" y="975"/>
                    <a:pt x="998" y="957"/>
                    <a:pt x="998" y="938"/>
                  </a:cubicBezTo>
                  <a:cubicBezTo>
                    <a:pt x="1014" y="928"/>
                    <a:pt x="1029" y="918"/>
                    <a:pt x="1046" y="908"/>
                  </a:cubicBezTo>
                  <a:cubicBezTo>
                    <a:pt x="1046" y="911"/>
                    <a:pt x="1046" y="914"/>
                    <a:pt x="1046" y="917"/>
                  </a:cubicBezTo>
                  <a:cubicBezTo>
                    <a:pt x="1046" y="933"/>
                    <a:pt x="1046" y="950"/>
                    <a:pt x="1044" y="966"/>
                  </a:cubicBezTo>
                  <a:cubicBezTo>
                    <a:pt x="1030" y="975"/>
                    <a:pt x="1015" y="984"/>
                    <a:pt x="1001" y="993"/>
                  </a:cubicBezTo>
                  <a:cubicBezTo>
                    <a:pt x="1023" y="993"/>
                    <a:pt x="1023" y="993"/>
                    <a:pt x="1023" y="993"/>
                  </a:cubicBezTo>
                  <a:cubicBezTo>
                    <a:pt x="1027" y="991"/>
                    <a:pt x="1030" y="988"/>
                    <a:pt x="1034" y="986"/>
                  </a:cubicBezTo>
                  <a:cubicBezTo>
                    <a:pt x="1035" y="988"/>
                    <a:pt x="1035" y="990"/>
                    <a:pt x="1035" y="993"/>
                  </a:cubicBezTo>
                  <a:cubicBezTo>
                    <a:pt x="1046" y="993"/>
                    <a:pt x="1046" y="993"/>
                    <a:pt x="1046" y="993"/>
                  </a:cubicBezTo>
                  <a:cubicBezTo>
                    <a:pt x="1045" y="987"/>
                    <a:pt x="1045" y="982"/>
                    <a:pt x="1045" y="979"/>
                  </a:cubicBezTo>
                  <a:cubicBezTo>
                    <a:pt x="1063" y="968"/>
                    <a:pt x="1082" y="958"/>
                    <a:pt x="1100" y="948"/>
                  </a:cubicBezTo>
                  <a:cubicBezTo>
                    <a:pt x="1101" y="957"/>
                    <a:pt x="1104" y="973"/>
                    <a:pt x="1111" y="993"/>
                  </a:cubicBezTo>
                  <a:cubicBezTo>
                    <a:pt x="1147" y="993"/>
                    <a:pt x="1147" y="993"/>
                    <a:pt x="1147" y="993"/>
                  </a:cubicBezTo>
                  <a:cubicBezTo>
                    <a:pt x="1159" y="986"/>
                    <a:pt x="1171" y="980"/>
                    <a:pt x="1182" y="973"/>
                  </a:cubicBezTo>
                  <a:cubicBezTo>
                    <a:pt x="1185" y="979"/>
                    <a:pt x="1188" y="984"/>
                    <a:pt x="1191" y="990"/>
                  </a:cubicBezTo>
                  <a:cubicBezTo>
                    <a:pt x="1190" y="991"/>
                    <a:pt x="1188" y="992"/>
                    <a:pt x="1187" y="993"/>
                  </a:cubicBezTo>
                  <a:cubicBezTo>
                    <a:pt x="1210" y="993"/>
                    <a:pt x="1210" y="993"/>
                    <a:pt x="1210" y="993"/>
                  </a:cubicBezTo>
                  <a:cubicBezTo>
                    <a:pt x="1226" y="983"/>
                    <a:pt x="1242" y="974"/>
                    <a:pt x="1258" y="965"/>
                  </a:cubicBezTo>
                  <a:cubicBezTo>
                    <a:pt x="1260" y="970"/>
                    <a:pt x="1263" y="975"/>
                    <a:pt x="1266" y="979"/>
                  </a:cubicBezTo>
                  <a:cubicBezTo>
                    <a:pt x="1259" y="984"/>
                    <a:pt x="1251" y="988"/>
                    <a:pt x="1243" y="993"/>
                  </a:cubicBezTo>
                  <a:cubicBezTo>
                    <a:pt x="1266" y="993"/>
                    <a:pt x="1266" y="993"/>
                    <a:pt x="1266" y="993"/>
                  </a:cubicBezTo>
                  <a:cubicBezTo>
                    <a:pt x="1269" y="992"/>
                    <a:pt x="1271" y="990"/>
                    <a:pt x="1273" y="989"/>
                  </a:cubicBezTo>
                  <a:cubicBezTo>
                    <a:pt x="1274" y="990"/>
                    <a:pt x="1275" y="992"/>
                    <a:pt x="1277" y="993"/>
                  </a:cubicBezTo>
                  <a:cubicBezTo>
                    <a:pt x="1292" y="993"/>
                    <a:pt x="1292" y="993"/>
                    <a:pt x="1292" y="993"/>
                  </a:cubicBezTo>
                  <a:cubicBezTo>
                    <a:pt x="1289" y="990"/>
                    <a:pt x="1286" y="987"/>
                    <a:pt x="1283" y="983"/>
                  </a:cubicBezTo>
                  <a:cubicBezTo>
                    <a:pt x="1302" y="973"/>
                    <a:pt x="1321" y="964"/>
                    <a:pt x="1339" y="956"/>
                  </a:cubicBezTo>
                  <a:cubicBezTo>
                    <a:pt x="1342" y="960"/>
                    <a:pt x="1345" y="965"/>
                    <a:pt x="1349" y="970"/>
                  </a:cubicBezTo>
                  <a:cubicBezTo>
                    <a:pt x="1333" y="977"/>
                    <a:pt x="1316" y="985"/>
                    <a:pt x="1300" y="993"/>
                  </a:cubicBezTo>
                  <a:cubicBezTo>
                    <a:pt x="1327" y="993"/>
                    <a:pt x="1327" y="993"/>
                    <a:pt x="1327" y="993"/>
                  </a:cubicBezTo>
                  <a:cubicBezTo>
                    <a:pt x="1337" y="988"/>
                    <a:pt x="1347" y="984"/>
                    <a:pt x="1357" y="980"/>
                  </a:cubicBezTo>
                  <a:cubicBezTo>
                    <a:pt x="1361" y="984"/>
                    <a:pt x="1365" y="989"/>
                    <a:pt x="1369" y="993"/>
                  </a:cubicBezTo>
                  <a:cubicBezTo>
                    <a:pt x="1395" y="993"/>
                    <a:pt x="1395" y="993"/>
                    <a:pt x="1395" y="993"/>
                  </a:cubicBezTo>
                  <a:cubicBezTo>
                    <a:pt x="1395" y="986"/>
                    <a:pt x="1395" y="986"/>
                    <a:pt x="1395" y="986"/>
                  </a:cubicBezTo>
                  <a:cubicBezTo>
                    <a:pt x="1391" y="987"/>
                    <a:pt x="1387" y="989"/>
                    <a:pt x="1383" y="990"/>
                  </a:cubicBezTo>
                  <a:cubicBezTo>
                    <a:pt x="1378" y="985"/>
                    <a:pt x="1373" y="980"/>
                    <a:pt x="1369" y="975"/>
                  </a:cubicBezTo>
                  <a:cubicBezTo>
                    <a:pt x="1378" y="972"/>
                    <a:pt x="1387" y="969"/>
                    <a:pt x="1395" y="967"/>
                  </a:cubicBezTo>
                  <a:cubicBezTo>
                    <a:pt x="1395" y="954"/>
                    <a:pt x="1395" y="954"/>
                    <a:pt x="1395" y="954"/>
                  </a:cubicBezTo>
                  <a:cubicBezTo>
                    <a:pt x="1384" y="957"/>
                    <a:pt x="1372" y="961"/>
                    <a:pt x="1360" y="966"/>
                  </a:cubicBezTo>
                  <a:cubicBezTo>
                    <a:pt x="1357" y="961"/>
                    <a:pt x="1353" y="956"/>
                    <a:pt x="1349" y="951"/>
                  </a:cubicBezTo>
                  <a:cubicBezTo>
                    <a:pt x="1365" y="944"/>
                    <a:pt x="1381" y="938"/>
                    <a:pt x="1395" y="934"/>
                  </a:cubicBezTo>
                  <a:cubicBezTo>
                    <a:pt x="1395" y="922"/>
                    <a:pt x="1395" y="922"/>
                    <a:pt x="1395" y="922"/>
                  </a:cubicBezTo>
                  <a:cubicBezTo>
                    <a:pt x="1378" y="927"/>
                    <a:pt x="1361" y="933"/>
                    <a:pt x="1343" y="941"/>
                  </a:cubicBezTo>
                  <a:cubicBezTo>
                    <a:pt x="1340" y="936"/>
                    <a:pt x="1337" y="930"/>
                    <a:pt x="1334" y="925"/>
                  </a:cubicBezTo>
                  <a:cubicBezTo>
                    <a:pt x="1356" y="916"/>
                    <a:pt x="1376" y="907"/>
                    <a:pt x="1394" y="902"/>
                  </a:cubicBezTo>
                  <a:cubicBezTo>
                    <a:pt x="1394" y="903"/>
                    <a:pt x="1395" y="904"/>
                    <a:pt x="1395" y="905"/>
                  </a:cubicBezTo>
                  <a:cubicBezTo>
                    <a:pt x="1395" y="875"/>
                    <a:pt x="1395" y="875"/>
                    <a:pt x="1395" y="875"/>
                  </a:cubicBezTo>
                  <a:cubicBezTo>
                    <a:pt x="1395" y="873"/>
                    <a:pt x="1394" y="871"/>
                    <a:pt x="1393" y="869"/>
                  </a:cubicBezTo>
                  <a:cubicBezTo>
                    <a:pt x="1394" y="869"/>
                    <a:pt x="1395" y="868"/>
                    <a:pt x="1395" y="868"/>
                  </a:cubicBezTo>
                  <a:cubicBezTo>
                    <a:pt x="1395" y="856"/>
                    <a:pt x="1395" y="856"/>
                    <a:pt x="1395" y="856"/>
                  </a:cubicBezTo>
                  <a:cubicBezTo>
                    <a:pt x="1393" y="856"/>
                    <a:pt x="1392" y="857"/>
                    <a:pt x="1390" y="858"/>
                  </a:cubicBezTo>
                  <a:cubicBezTo>
                    <a:pt x="1386" y="845"/>
                    <a:pt x="1384" y="835"/>
                    <a:pt x="1383" y="828"/>
                  </a:cubicBezTo>
                  <a:cubicBezTo>
                    <a:pt x="1388" y="826"/>
                    <a:pt x="1392" y="825"/>
                    <a:pt x="1395" y="824"/>
                  </a:cubicBezTo>
                  <a:cubicBezTo>
                    <a:pt x="1395" y="811"/>
                    <a:pt x="1395" y="811"/>
                    <a:pt x="1395" y="811"/>
                  </a:cubicBezTo>
                  <a:cubicBezTo>
                    <a:pt x="1391" y="813"/>
                    <a:pt x="1385" y="815"/>
                    <a:pt x="1379" y="817"/>
                  </a:cubicBezTo>
                  <a:cubicBezTo>
                    <a:pt x="1371" y="817"/>
                    <a:pt x="1371" y="817"/>
                    <a:pt x="1371" y="817"/>
                  </a:cubicBezTo>
                  <a:cubicBezTo>
                    <a:pt x="1371" y="817"/>
                    <a:pt x="1371" y="818"/>
                    <a:pt x="1371" y="819"/>
                  </a:cubicBezTo>
                  <a:cubicBezTo>
                    <a:pt x="1368" y="820"/>
                    <a:pt x="1365" y="821"/>
                    <a:pt x="1362" y="822"/>
                  </a:cubicBezTo>
                  <a:cubicBezTo>
                    <a:pt x="1355" y="807"/>
                    <a:pt x="1350" y="793"/>
                    <a:pt x="1345" y="778"/>
                  </a:cubicBezTo>
                  <a:cubicBezTo>
                    <a:pt x="1361" y="774"/>
                    <a:pt x="1378" y="770"/>
                    <a:pt x="1395" y="766"/>
                  </a:cubicBezTo>
                  <a:cubicBezTo>
                    <a:pt x="1395" y="753"/>
                    <a:pt x="1395" y="753"/>
                    <a:pt x="1395" y="753"/>
                  </a:cubicBezTo>
                  <a:cubicBezTo>
                    <a:pt x="1377" y="758"/>
                    <a:pt x="1359" y="762"/>
                    <a:pt x="1341" y="767"/>
                  </a:cubicBezTo>
                  <a:cubicBezTo>
                    <a:pt x="1337" y="756"/>
                    <a:pt x="1334" y="744"/>
                    <a:pt x="1331" y="733"/>
                  </a:cubicBezTo>
                  <a:cubicBezTo>
                    <a:pt x="1352" y="728"/>
                    <a:pt x="1373" y="723"/>
                    <a:pt x="1395" y="718"/>
                  </a:cubicBezTo>
                  <a:cubicBezTo>
                    <a:pt x="1395" y="706"/>
                    <a:pt x="1395" y="706"/>
                    <a:pt x="1395" y="706"/>
                  </a:cubicBezTo>
                  <a:cubicBezTo>
                    <a:pt x="1372" y="711"/>
                    <a:pt x="1350" y="716"/>
                    <a:pt x="1328" y="722"/>
                  </a:cubicBezTo>
                  <a:cubicBezTo>
                    <a:pt x="1326" y="710"/>
                    <a:pt x="1324" y="698"/>
                    <a:pt x="1322" y="687"/>
                  </a:cubicBezTo>
                  <a:cubicBezTo>
                    <a:pt x="1345" y="681"/>
                    <a:pt x="1370" y="676"/>
                    <a:pt x="1395" y="671"/>
                  </a:cubicBezTo>
                  <a:cubicBezTo>
                    <a:pt x="1395" y="659"/>
                    <a:pt x="1395" y="659"/>
                    <a:pt x="1395" y="659"/>
                  </a:cubicBezTo>
                  <a:cubicBezTo>
                    <a:pt x="1369" y="664"/>
                    <a:pt x="1344" y="669"/>
                    <a:pt x="1320" y="675"/>
                  </a:cubicBezTo>
                  <a:cubicBezTo>
                    <a:pt x="1318" y="663"/>
                    <a:pt x="1317" y="651"/>
                    <a:pt x="1316" y="639"/>
                  </a:cubicBezTo>
                  <a:cubicBezTo>
                    <a:pt x="1341" y="633"/>
                    <a:pt x="1367" y="628"/>
                    <a:pt x="1395" y="624"/>
                  </a:cubicBezTo>
                  <a:cubicBezTo>
                    <a:pt x="1395" y="630"/>
                    <a:pt x="1395" y="636"/>
                    <a:pt x="1395" y="642"/>
                  </a:cubicBezTo>
                  <a:cubicBezTo>
                    <a:pt x="1395" y="555"/>
                    <a:pt x="1395" y="555"/>
                    <a:pt x="1395" y="555"/>
                  </a:cubicBezTo>
                  <a:cubicBezTo>
                    <a:pt x="1395" y="558"/>
                    <a:pt x="1395" y="561"/>
                    <a:pt x="1395" y="565"/>
                  </a:cubicBezTo>
                  <a:cubicBezTo>
                    <a:pt x="1368" y="567"/>
                    <a:pt x="1342" y="572"/>
                    <a:pt x="1316" y="577"/>
                  </a:cubicBezTo>
                  <a:cubicBezTo>
                    <a:pt x="1317" y="562"/>
                    <a:pt x="1319" y="549"/>
                    <a:pt x="1320" y="537"/>
                  </a:cubicBezTo>
                  <a:cubicBezTo>
                    <a:pt x="1345" y="533"/>
                    <a:pt x="1370" y="531"/>
                    <a:pt x="1395" y="530"/>
                  </a:cubicBezTo>
                  <a:cubicBezTo>
                    <a:pt x="1395" y="518"/>
                    <a:pt x="1395" y="518"/>
                    <a:pt x="1395" y="518"/>
                  </a:cubicBezTo>
                  <a:cubicBezTo>
                    <a:pt x="1371" y="519"/>
                    <a:pt x="1346" y="521"/>
                    <a:pt x="1323" y="525"/>
                  </a:cubicBezTo>
                  <a:cubicBezTo>
                    <a:pt x="1325" y="513"/>
                    <a:pt x="1327" y="503"/>
                    <a:pt x="1330" y="496"/>
                  </a:cubicBezTo>
                  <a:moveTo>
                    <a:pt x="2003" y="495"/>
                  </a:moveTo>
                  <a:cubicBezTo>
                    <a:pt x="1987" y="492"/>
                    <a:pt x="1969" y="489"/>
                    <a:pt x="1950" y="488"/>
                  </a:cubicBezTo>
                  <a:cubicBezTo>
                    <a:pt x="1954" y="462"/>
                    <a:pt x="1956" y="436"/>
                    <a:pt x="1958" y="410"/>
                  </a:cubicBezTo>
                  <a:cubicBezTo>
                    <a:pt x="1977" y="412"/>
                    <a:pt x="1995" y="415"/>
                    <a:pt x="2012" y="419"/>
                  </a:cubicBezTo>
                  <a:cubicBezTo>
                    <a:pt x="2010" y="445"/>
                    <a:pt x="2007" y="470"/>
                    <a:pt x="2003" y="495"/>
                  </a:cubicBezTo>
                  <a:moveTo>
                    <a:pt x="1885" y="488"/>
                  </a:moveTo>
                  <a:cubicBezTo>
                    <a:pt x="1889" y="461"/>
                    <a:pt x="1891" y="435"/>
                    <a:pt x="1893" y="408"/>
                  </a:cubicBezTo>
                  <a:cubicBezTo>
                    <a:pt x="1901" y="408"/>
                    <a:pt x="1908" y="408"/>
                    <a:pt x="1916" y="408"/>
                  </a:cubicBezTo>
                  <a:cubicBezTo>
                    <a:pt x="1927" y="408"/>
                    <a:pt x="1937" y="408"/>
                    <a:pt x="1947" y="409"/>
                  </a:cubicBezTo>
                  <a:cubicBezTo>
                    <a:pt x="1945" y="435"/>
                    <a:pt x="1943" y="461"/>
                    <a:pt x="1939" y="487"/>
                  </a:cubicBezTo>
                  <a:cubicBezTo>
                    <a:pt x="1933" y="487"/>
                    <a:pt x="1926" y="487"/>
                    <a:pt x="1919" y="487"/>
                  </a:cubicBezTo>
                  <a:cubicBezTo>
                    <a:pt x="1908" y="487"/>
                    <a:pt x="1897" y="487"/>
                    <a:pt x="1885" y="488"/>
                  </a:cubicBezTo>
                  <a:moveTo>
                    <a:pt x="1410" y="403"/>
                  </a:moveTo>
                  <a:cubicBezTo>
                    <a:pt x="1409" y="402"/>
                    <a:pt x="1408" y="402"/>
                    <a:pt x="1406" y="402"/>
                  </a:cubicBezTo>
                  <a:cubicBezTo>
                    <a:pt x="1408" y="402"/>
                    <a:pt x="1409" y="402"/>
                    <a:pt x="1411" y="401"/>
                  </a:cubicBezTo>
                  <a:cubicBezTo>
                    <a:pt x="1410" y="402"/>
                    <a:pt x="1410" y="402"/>
                    <a:pt x="1410" y="403"/>
                  </a:cubicBezTo>
                  <a:moveTo>
                    <a:pt x="1626" y="482"/>
                  </a:moveTo>
                  <a:cubicBezTo>
                    <a:pt x="1626" y="472"/>
                    <a:pt x="1627" y="462"/>
                    <a:pt x="1628" y="451"/>
                  </a:cubicBezTo>
                  <a:cubicBezTo>
                    <a:pt x="1629" y="436"/>
                    <a:pt x="1630" y="420"/>
                    <a:pt x="1632" y="405"/>
                  </a:cubicBezTo>
                  <a:cubicBezTo>
                    <a:pt x="1649" y="394"/>
                    <a:pt x="1668" y="383"/>
                    <a:pt x="1688" y="373"/>
                  </a:cubicBezTo>
                  <a:cubicBezTo>
                    <a:pt x="1686" y="400"/>
                    <a:pt x="1684" y="426"/>
                    <a:pt x="1682" y="451"/>
                  </a:cubicBezTo>
                  <a:cubicBezTo>
                    <a:pt x="1662" y="461"/>
                    <a:pt x="1643" y="471"/>
                    <a:pt x="1626" y="482"/>
                  </a:cubicBezTo>
                  <a:moveTo>
                    <a:pt x="1455" y="464"/>
                  </a:moveTo>
                  <a:cubicBezTo>
                    <a:pt x="1456" y="447"/>
                    <a:pt x="1458" y="430"/>
                    <a:pt x="1459" y="413"/>
                  </a:cubicBezTo>
                  <a:cubicBezTo>
                    <a:pt x="1469" y="401"/>
                    <a:pt x="1480" y="387"/>
                    <a:pt x="1492" y="372"/>
                  </a:cubicBezTo>
                  <a:cubicBezTo>
                    <a:pt x="1491" y="390"/>
                    <a:pt x="1489" y="408"/>
                    <a:pt x="1488" y="425"/>
                  </a:cubicBezTo>
                  <a:cubicBezTo>
                    <a:pt x="1476" y="438"/>
                    <a:pt x="1465" y="451"/>
                    <a:pt x="1455" y="464"/>
                  </a:cubicBezTo>
                  <a:moveTo>
                    <a:pt x="1415" y="455"/>
                  </a:moveTo>
                  <a:cubicBezTo>
                    <a:pt x="1418" y="425"/>
                    <a:pt x="1423" y="395"/>
                    <a:pt x="1427" y="366"/>
                  </a:cubicBezTo>
                  <a:cubicBezTo>
                    <a:pt x="1425" y="394"/>
                    <a:pt x="1422" y="421"/>
                    <a:pt x="1421" y="447"/>
                  </a:cubicBezTo>
                  <a:cubicBezTo>
                    <a:pt x="1419" y="449"/>
                    <a:pt x="1417" y="452"/>
                    <a:pt x="1415" y="455"/>
                  </a:cubicBezTo>
                  <a:cubicBezTo>
                    <a:pt x="1415" y="455"/>
                    <a:pt x="1415" y="455"/>
                    <a:pt x="1415" y="455"/>
                  </a:cubicBezTo>
                  <a:moveTo>
                    <a:pt x="1694" y="446"/>
                  </a:moveTo>
                  <a:cubicBezTo>
                    <a:pt x="1696" y="421"/>
                    <a:pt x="1698" y="394"/>
                    <a:pt x="1700" y="367"/>
                  </a:cubicBezTo>
                  <a:cubicBezTo>
                    <a:pt x="1717" y="359"/>
                    <a:pt x="1735" y="351"/>
                    <a:pt x="1755" y="345"/>
                  </a:cubicBezTo>
                  <a:cubicBezTo>
                    <a:pt x="1755" y="350"/>
                    <a:pt x="1754" y="356"/>
                    <a:pt x="1754" y="361"/>
                  </a:cubicBezTo>
                  <a:cubicBezTo>
                    <a:pt x="1753" y="383"/>
                    <a:pt x="1751" y="404"/>
                    <a:pt x="1750" y="424"/>
                  </a:cubicBezTo>
                  <a:cubicBezTo>
                    <a:pt x="1744" y="426"/>
                    <a:pt x="1739" y="428"/>
                    <a:pt x="1734" y="430"/>
                  </a:cubicBezTo>
                  <a:cubicBezTo>
                    <a:pt x="1720" y="435"/>
                    <a:pt x="1707" y="440"/>
                    <a:pt x="1694" y="446"/>
                  </a:cubicBezTo>
                  <a:moveTo>
                    <a:pt x="2076" y="428"/>
                  </a:moveTo>
                  <a:cubicBezTo>
                    <a:pt x="2060" y="421"/>
                    <a:pt x="2043" y="415"/>
                    <a:pt x="2023" y="410"/>
                  </a:cubicBezTo>
                  <a:cubicBezTo>
                    <a:pt x="2024" y="397"/>
                    <a:pt x="2025" y="383"/>
                    <a:pt x="2025" y="370"/>
                  </a:cubicBezTo>
                  <a:cubicBezTo>
                    <a:pt x="2025" y="355"/>
                    <a:pt x="2026" y="340"/>
                    <a:pt x="2027" y="327"/>
                  </a:cubicBezTo>
                  <a:cubicBezTo>
                    <a:pt x="2046" y="332"/>
                    <a:pt x="2064" y="338"/>
                    <a:pt x="2079" y="345"/>
                  </a:cubicBezTo>
                  <a:cubicBezTo>
                    <a:pt x="2079" y="354"/>
                    <a:pt x="2079" y="362"/>
                    <a:pt x="2079" y="371"/>
                  </a:cubicBezTo>
                  <a:cubicBezTo>
                    <a:pt x="2079" y="391"/>
                    <a:pt x="2078" y="410"/>
                    <a:pt x="2076" y="428"/>
                  </a:cubicBezTo>
                  <a:moveTo>
                    <a:pt x="1761" y="420"/>
                  </a:moveTo>
                  <a:cubicBezTo>
                    <a:pt x="1763" y="401"/>
                    <a:pt x="1764" y="382"/>
                    <a:pt x="1765" y="362"/>
                  </a:cubicBezTo>
                  <a:cubicBezTo>
                    <a:pt x="1765" y="355"/>
                    <a:pt x="1766" y="348"/>
                    <a:pt x="1766" y="341"/>
                  </a:cubicBezTo>
                  <a:cubicBezTo>
                    <a:pt x="1785" y="334"/>
                    <a:pt x="1804" y="329"/>
                    <a:pt x="1821" y="326"/>
                  </a:cubicBezTo>
                  <a:cubicBezTo>
                    <a:pt x="1820" y="338"/>
                    <a:pt x="1819" y="350"/>
                    <a:pt x="1819" y="363"/>
                  </a:cubicBezTo>
                  <a:cubicBezTo>
                    <a:pt x="1818" y="378"/>
                    <a:pt x="1817" y="392"/>
                    <a:pt x="1816" y="406"/>
                  </a:cubicBezTo>
                  <a:cubicBezTo>
                    <a:pt x="1799" y="410"/>
                    <a:pt x="1780" y="414"/>
                    <a:pt x="1761" y="420"/>
                  </a:cubicBezTo>
                  <a:moveTo>
                    <a:pt x="1563" y="441"/>
                  </a:moveTo>
                  <a:cubicBezTo>
                    <a:pt x="1565" y="416"/>
                    <a:pt x="1567" y="390"/>
                    <a:pt x="1569" y="363"/>
                  </a:cubicBezTo>
                  <a:cubicBezTo>
                    <a:pt x="1587" y="348"/>
                    <a:pt x="1606" y="333"/>
                    <a:pt x="1627" y="320"/>
                  </a:cubicBezTo>
                  <a:cubicBezTo>
                    <a:pt x="1626" y="332"/>
                    <a:pt x="1625" y="344"/>
                    <a:pt x="1624" y="357"/>
                  </a:cubicBezTo>
                  <a:cubicBezTo>
                    <a:pt x="1623" y="371"/>
                    <a:pt x="1622" y="384"/>
                    <a:pt x="1621" y="398"/>
                  </a:cubicBezTo>
                  <a:cubicBezTo>
                    <a:pt x="1600" y="412"/>
                    <a:pt x="1580" y="426"/>
                    <a:pt x="1563" y="441"/>
                  </a:cubicBezTo>
                  <a:moveTo>
                    <a:pt x="2012" y="407"/>
                  </a:moveTo>
                  <a:cubicBezTo>
                    <a:pt x="1996" y="403"/>
                    <a:pt x="1978" y="400"/>
                    <a:pt x="1959" y="398"/>
                  </a:cubicBezTo>
                  <a:cubicBezTo>
                    <a:pt x="1959" y="388"/>
                    <a:pt x="1960" y="378"/>
                    <a:pt x="1960" y="368"/>
                  </a:cubicBezTo>
                  <a:cubicBezTo>
                    <a:pt x="1960" y="349"/>
                    <a:pt x="1961" y="332"/>
                    <a:pt x="1963" y="315"/>
                  </a:cubicBezTo>
                  <a:cubicBezTo>
                    <a:pt x="1982" y="317"/>
                    <a:pt x="1999" y="320"/>
                    <a:pt x="2016" y="324"/>
                  </a:cubicBezTo>
                  <a:cubicBezTo>
                    <a:pt x="2015" y="338"/>
                    <a:pt x="2014" y="353"/>
                    <a:pt x="2014" y="369"/>
                  </a:cubicBezTo>
                  <a:cubicBezTo>
                    <a:pt x="2014" y="382"/>
                    <a:pt x="2013" y="395"/>
                    <a:pt x="2012" y="407"/>
                  </a:cubicBezTo>
                  <a:moveTo>
                    <a:pt x="1828" y="404"/>
                  </a:moveTo>
                  <a:cubicBezTo>
                    <a:pt x="1829" y="391"/>
                    <a:pt x="1829" y="378"/>
                    <a:pt x="1830" y="364"/>
                  </a:cubicBezTo>
                  <a:cubicBezTo>
                    <a:pt x="1831" y="350"/>
                    <a:pt x="1832" y="336"/>
                    <a:pt x="1833" y="323"/>
                  </a:cubicBezTo>
                  <a:cubicBezTo>
                    <a:pt x="1851" y="319"/>
                    <a:pt x="1869" y="317"/>
                    <a:pt x="1887" y="315"/>
                  </a:cubicBezTo>
                  <a:cubicBezTo>
                    <a:pt x="1885" y="331"/>
                    <a:pt x="1884" y="348"/>
                    <a:pt x="1884" y="365"/>
                  </a:cubicBezTo>
                  <a:cubicBezTo>
                    <a:pt x="1883" y="376"/>
                    <a:pt x="1883" y="386"/>
                    <a:pt x="1882" y="397"/>
                  </a:cubicBezTo>
                  <a:cubicBezTo>
                    <a:pt x="1865" y="398"/>
                    <a:pt x="1847" y="400"/>
                    <a:pt x="1828" y="404"/>
                  </a:cubicBezTo>
                  <a:moveTo>
                    <a:pt x="1894" y="396"/>
                  </a:moveTo>
                  <a:cubicBezTo>
                    <a:pt x="1894" y="386"/>
                    <a:pt x="1895" y="376"/>
                    <a:pt x="1895" y="366"/>
                  </a:cubicBezTo>
                  <a:cubicBezTo>
                    <a:pt x="1896" y="348"/>
                    <a:pt x="1897" y="331"/>
                    <a:pt x="1898" y="314"/>
                  </a:cubicBezTo>
                  <a:cubicBezTo>
                    <a:pt x="1907" y="314"/>
                    <a:pt x="1916" y="314"/>
                    <a:pt x="1924" y="314"/>
                  </a:cubicBezTo>
                  <a:cubicBezTo>
                    <a:pt x="1934" y="314"/>
                    <a:pt x="1943" y="314"/>
                    <a:pt x="1952" y="315"/>
                  </a:cubicBezTo>
                  <a:cubicBezTo>
                    <a:pt x="1950" y="331"/>
                    <a:pt x="1949" y="349"/>
                    <a:pt x="1949" y="367"/>
                  </a:cubicBezTo>
                  <a:cubicBezTo>
                    <a:pt x="1949" y="377"/>
                    <a:pt x="1948" y="387"/>
                    <a:pt x="1948" y="397"/>
                  </a:cubicBezTo>
                  <a:cubicBezTo>
                    <a:pt x="1937" y="396"/>
                    <a:pt x="1927" y="396"/>
                    <a:pt x="1916" y="396"/>
                  </a:cubicBezTo>
                  <a:cubicBezTo>
                    <a:pt x="1908" y="396"/>
                    <a:pt x="1901" y="396"/>
                    <a:pt x="1894" y="396"/>
                  </a:cubicBezTo>
                  <a:moveTo>
                    <a:pt x="1433" y="430"/>
                  </a:moveTo>
                  <a:cubicBezTo>
                    <a:pt x="1436" y="395"/>
                    <a:pt x="1439" y="359"/>
                    <a:pt x="1443" y="322"/>
                  </a:cubicBezTo>
                  <a:cubicBezTo>
                    <a:pt x="1445" y="320"/>
                    <a:pt x="1452" y="311"/>
                    <a:pt x="1463" y="297"/>
                  </a:cubicBezTo>
                  <a:cubicBezTo>
                    <a:pt x="1457" y="334"/>
                    <a:pt x="1453" y="372"/>
                    <a:pt x="1449" y="409"/>
                  </a:cubicBezTo>
                  <a:cubicBezTo>
                    <a:pt x="1444" y="416"/>
                    <a:pt x="1438" y="423"/>
                    <a:pt x="1433" y="430"/>
                  </a:cubicBezTo>
                  <a:moveTo>
                    <a:pt x="1500" y="412"/>
                  </a:moveTo>
                  <a:cubicBezTo>
                    <a:pt x="1501" y="394"/>
                    <a:pt x="1503" y="376"/>
                    <a:pt x="1505" y="358"/>
                  </a:cubicBezTo>
                  <a:cubicBezTo>
                    <a:pt x="1523" y="337"/>
                    <a:pt x="1543" y="315"/>
                    <a:pt x="1566" y="294"/>
                  </a:cubicBezTo>
                  <a:cubicBezTo>
                    <a:pt x="1563" y="314"/>
                    <a:pt x="1561" y="334"/>
                    <a:pt x="1559" y="355"/>
                  </a:cubicBezTo>
                  <a:cubicBezTo>
                    <a:pt x="1559" y="356"/>
                    <a:pt x="1559" y="356"/>
                    <a:pt x="1559" y="356"/>
                  </a:cubicBezTo>
                  <a:cubicBezTo>
                    <a:pt x="1537" y="375"/>
                    <a:pt x="1517" y="393"/>
                    <a:pt x="1500" y="412"/>
                  </a:cubicBezTo>
                  <a:moveTo>
                    <a:pt x="1633" y="390"/>
                  </a:moveTo>
                  <a:cubicBezTo>
                    <a:pt x="1633" y="380"/>
                    <a:pt x="1634" y="369"/>
                    <a:pt x="1635" y="358"/>
                  </a:cubicBezTo>
                  <a:cubicBezTo>
                    <a:pt x="1636" y="342"/>
                    <a:pt x="1638" y="327"/>
                    <a:pt x="1639" y="312"/>
                  </a:cubicBezTo>
                  <a:cubicBezTo>
                    <a:pt x="1657" y="300"/>
                    <a:pt x="1677" y="289"/>
                    <a:pt x="1697" y="279"/>
                  </a:cubicBezTo>
                  <a:cubicBezTo>
                    <a:pt x="1693" y="304"/>
                    <a:pt x="1691" y="331"/>
                    <a:pt x="1689" y="359"/>
                  </a:cubicBezTo>
                  <a:cubicBezTo>
                    <a:pt x="1669" y="369"/>
                    <a:pt x="1650" y="379"/>
                    <a:pt x="1633" y="390"/>
                  </a:cubicBezTo>
                  <a:moveTo>
                    <a:pt x="1700" y="354"/>
                  </a:moveTo>
                  <a:cubicBezTo>
                    <a:pt x="1702" y="325"/>
                    <a:pt x="1705" y="299"/>
                    <a:pt x="1709" y="274"/>
                  </a:cubicBezTo>
                  <a:cubicBezTo>
                    <a:pt x="1727" y="265"/>
                    <a:pt x="1746" y="257"/>
                    <a:pt x="1766" y="250"/>
                  </a:cubicBezTo>
                  <a:cubicBezTo>
                    <a:pt x="1762" y="275"/>
                    <a:pt x="1758" y="302"/>
                    <a:pt x="1756" y="332"/>
                  </a:cubicBezTo>
                  <a:cubicBezTo>
                    <a:pt x="1736" y="338"/>
                    <a:pt x="1718" y="346"/>
                    <a:pt x="1700" y="354"/>
                  </a:cubicBezTo>
                  <a:moveTo>
                    <a:pt x="1462" y="392"/>
                  </a:moveTo>
                  <a:cubicBezTo>
                    <a:pt x="1466" y="355"/>
                    <a:pt x="1471" y="318"/>
                    <a:pt x="1477" y="281"/>
                  </a:cubicBezTo>
                  <a:cubicBezTo>
                    <a:pt x="1485" y="271"/>
                    <a:pt x="1496" y="260"/>
                    <a:pt x="1507" y="247"/>
                  </a:cubicBezTo>
                  <a:cubicBezTo>
                    <a:pt x="1502" y="282"/>
                    <a:pt x="1497" y="317"/>
                    <a:pt x="1494" y="353"/>
                  </a:cubicBezTo>
                  <a:cubicBezTo>
                    <a:pt x="1494" y="353"/>
                    <a:pt x="1494" y="353"/>
                    <a:pt x="1494" y="353"/>
                  </a:cubicBezTo>
                  <a:cubicBezTo>
                    <a:pt x="1483" y="366"/>
                    <a:pt x="1472" y="379"/>
                    <a:pt x="1462" y="392"/>
                  </a:cubicBezTo>
                  <a:moveTo>
                    <a:pt x="2080" y="333"/>
                  </a:moveTo>
                  <a:cubicBezTo>
                    <a:pt x="2064" y="326"/>
                    <a:pt x="2047" y="320"/>
                    <a:pt x="2027" y="315"/>
                  </a:cubicBezTo>
                  <a:cubicBezTo>
                    <a:pt x="2030" y="284"/>
                    <a:pt x="2034" y="257"/>
                    <a:pt x="2038" y="233"/>
                  </a:cubicBezTo>
                  <a:cubicBezTo>
                    <a:pt x="2057" y="238"/>
                    <a:pt x="2073" y="245"/>
                    <a:pt x="2088" y="251"/>
                  </a:cubicBezTo>
                  <a:cubicBezTo>
                    <a:pt x="2084" y="275"/>
                    <a:pt x="2081" y="302"/>
                    <a:pt x="2080" y="333"/>
                  </a:cubicBezTo>
                  <a:moveTo>
                    <a:pt x="1571" y="346"/>
                  </a:moveTo>
                  <a:cubicBezTo>
                    <a:pt x="1573" y="324"/>
                    <a:pt x="1576" y="303"/>
                    <a:pt x="1579" y="282"/>
                  </a:cubicBezTo>
                  <a:cubicBezTo>
                    <a:pt x="1598" y="264"/>
                    <a:pt x="1618" y="248"/>
                    <a:pt x="1640" y="232"/>
                  </a:cubicBezTo>
                  <a:cubicBezTo>
                    <a:pt x="1636" y="255"/>
                    <a:pt x="1632" y="279"/>
                    <a:pt x="1629" y="304"/>
                  </a:cubicBezTo>
                  <a:cubicBezTo>
                    <a:pt x="1608" y="318"/>
                    <a:pt x="1589" y="332"/>
                    <a:pt x="1571" y="346"/>
                  </a:cubicBezTo>
                  <a:moveTo>
                    <a:pt x="1767" y="328"/>
                  </a:moveTo>
                  <a:cubicBezTo>
                    <a:pt x="1770" y="298"/>
                    <a:pt x="1774" y="271"/>
                    <a:pt x="1778" y="246"/>
                  </a:cubicBezTo>
                  <a:cubicBezTo>
                    <a:pt x="1781" y="245"/>
                    <a:pt x="1783" y="244"/>
                    <a:pt x="1786" y="244"/>
                  </a:cubicBezTo>
                  <a:cubicBezTo>
                    <a:pt x="1802" y="238"/>
                    <a:pt x="1818" y="234"/>
                    <a:pt x="1834" y="231"/>
                  </a:cubicBezTo>
                  <a:cubicBezTo>
                    <a:pt x="1829" y="256"/>
                    <a:pt x="1825" y="283"/>
                    <a:pt x="1822" y="313"/>
                  </a:cubicBezTo>
                  <a:cubicBezTo>
                    <a:pt x="1805" y="317"/>
                    <a:pt x="1786" y="322"/>
                    <a:pt x="1767" y="328"/>
                  </a:cubicBezTo>
                  <a:moveTo>
                    <a:pt x="2016" y="312"/>
                  </a:moveTo>
                  <a:cubicBezTo>
                    <a:pt x="2000" y="308"/>
                    <a:pt x="1983" y="305"/>
                    <a:pt x="1964" y="304"/>
                  </a:cubicBezTo>
                  <a:cubicBezTo>
                    <a:pt x="1967" y="273"/>
                    <a:pt x="1971" y="246"/>
                    <a:pt x="1976" y="221"/>
                  </a:cubicBezTo>
                  <a:cubicBezTo>
                    <a:pt x="1995" y="223"/>
                    <a:pt x="2012" y="226"/>
                    <a:pt x="2027" y="230"/>
                  </a:cubicBezTo>
                  <a:cubicBezTo>
                    <a:pt x="2023" y="254"/>
                    <a:pt x="2019" y="281"/>
                    <a:pt x="2016" y="312"/>
                  </a:cubicBezTo>
                  <a:moveTo>
                    <a:pt x="1834" y="311"/>
                  </a:moveTo>
                  <a:cubicBezTo>
                    <a:pt x="1837" y="280"/>
                    <a:pt x="1841" y="253"/>
                    <a:pt x="1846" y="228"/>
                  </a:cubicBezTo>
                  <a:cubicBezTo>
                    <a:pt x="1865" y="224"/>
                    <a:pt x="1883" y="222"/>
                    <a:pt x="1901" y="220"/>
                  </a:cubicBezTo>
                  <a:cubicBezTo>
                    <a:pt x="1895" y="245"/>
                    <a:pt x="1891" y="273"/>
                    <a:pt x="1888" y="303"/>
                  </a:cubicBezTo>
                  <a:cubicBezTo>
                    <a:pt x="1871" y="305"/>
                    <a:pt x="1853" y="307"/>
                    <a:pt x="1834" y="311"/>
                  </a:cubicBezTo>
                  <a:moveTo>
                    <a:pt x="1899" y="302"/>
                  </a:moveTo>
                  <a:cubicBezTo>
                    <a:pt x="1902" y="272"/>
                    <a:pt x="1907" y="245"/>
                    <a:pt x="1912" y="220"/>
                  </a:cubicBezTo>
                  <a:cubicBezTo>
                    <a:pt x="1920" y="219"/>
                    <a:pt x="1928" y="219"/>
                    <a:pt x="1935" y="219"/>
                  </a:cubicBezTo>
                  <a:cubicBezTo>
                    <a:pt x="1946" y="219"/>
                    <a:pt x="1956" y="220"/>
                    <a:pt x="1965" y="220"/>
                  </a:cubicBezTo>
                  <a:cubicBezTo>
                    <a:pt x="1960" y="245"/>
                    <a:pt x="1956" y="272"/>
                    <a:pt x="1953" y="303"/>
                  </a:cubicBezTo>
                  <a:cubicBezTo>
                    <a:pt x="1943" y="302"/>
                    <a:pt x="1934" y="302"/>
                    <a:pt x="1924" y="302"/>
                  </a:cubicBezTo>
                  <a:cubicBezTo>
                    <a:pt x="1916" y="302"/>
                    <a:pt x="1908" y="302"/>
                    <a:pt x="1899" y="302"/>
                  </a:cubicBezTo>
                  <a:moveTo>
                    <a:pt x="1641" y="297"/>
                  </a:moveTo>
                  <a:cubicBezTo>
                    <a:pt x="1644" y="271"/>
                    <a:pt x="1648" y="246"/>
                    <a:pt x="1653" y="222"/>
                  </a:cubicBezTo>
                  <a:cubicBezTo>
                    <a:pt x="1672" y="209"/>
                    <a:pt x="1693" y="196"/>
                    <a:pt x="1715" y="184"/>
                  </a:cubicBezTo>
                  <a:cubicBezTo>
                    <a:pt x="1709" y="210"/>
                    <a:pt x="1703" y="237"/>
                    <a:pt x="1699" y="265"/>
                  </a:cubicBezTo>
                  <a:cubicBezTo>
                    <a:pt x="1679" y="275"/>
                    <a:pt x="1659" y="286"/>
                    <a:pt x="1641" y="297"/>
                  </a:cubicBezTo>
                  <a:moveTo>
                    <a:pt x="1507" y="339"/>
                  </a:moveTo>
                  <a:cubicBezTo>
                    <a:pt x="1510" y="303"/>
                    <a:pt x="1515" y="268"/>
                    <a:pt x="1521" y="234"/>
                  </a:cubicBezTo>
                  <a:cubicBezTo>
                    <a:pt x="1540" y="215"/>
                    <a:pt x="1561" y="195"/>
                    <a:pt x="1586" y="175"/>
                  </a:cubicBezTo>
                  <a:cubicBezTo>
                    <a:pt x="1579" y="207"/>
                    <a:pt x="1573" y="241"/>
                    <a:pt x="1568" y="276"/>
                  </a:cubicBezTo>
                  <a:cubicBezTo>
                    <a:pt x="1548" y="294"/>
                    <a:pt x="1528" y="315"/>
                    <a:pt x="1507" y="339"/>
                  </a:cubicBezTo>
                  <a:moveTo>
                    <a:pt x="1446" y="300"/>
                  </a:moveTo>
                  <a:cubicBezTo>
                    <a:pt x="1451" y="264"/>
                    <a:pt x="1457" y="227"/>
                    <a:pt x="1463" y="190"/>
                  </a:cubicBezTo>
                  <a:cubicBezTo>
                    <a:pt x="1463" y="189"/>
                    <a:pt x="1463" y="189"/>
                    <a:pt x="1463" y="188"/>
                  </a:cubicBezTo>
                  <a:cubicBezTo>
                    <a:pt x="1467" y="184"/>
                    <a:pt x="1475" y="176"/>
                    <a:pt x="1486" y="164"/>
                  </a:cubicBezTo>
                  <a:cubicBezTo>
                    <a:pt x="1479" y="201"/>
                    <a:pt x="1472" y="238"/>
                    <a:pt x="1466" y="275"/>
                  </a:cubicBezTo>
                  <a:cubicBezTo>
                    <a:pt x="1458" y="285"/>
                    <a:pt x="1451" y="293"/>
                    <a:pt x="1446" y="300"/>
                  </a:cubicBezTo>
                  <a:moveTo>
                    <a:pt x="1711" y="259"/>
                  </a:moveTo>
                  <a:cubicBezTo>
                    <a:pt x="1716" y="230"/>
                    <a:pt x="1721" y="203"/>
                    <a:pt x="1728" y="178"/>
                  </a:cubicBezTo>
                  <a:cubicBezTo>
                    <a:pt x="1747" y="168"/>
                    <a:pt x="1767" y="159"/>
                    <a:pt x="1788" y="152"/>
                  </a:cubicBezTo>
                  <a:cubicBezTo>
                    <a:pt x="1781" y="178"/>
                    <a:pt x="1774" y="206"/>
                    <a:pt x="1768" y="237"/>
                  </a:cubicBezTo>
                  <a:cubicBezTo>
                    <a:pt x="1748" y="244"/>
                    <a:pt x="1729" y="251"/>
                    <a:pt x="1711" y="259"/>
                  </a:cubicBezTo>
                  <a:moveTo>
                    <a:pt x="1780" y="233"/>
                  </a:moveTo>
                  <a:cubicBezTo>
                    <a:pt x="1786" y="202"/>
                    <a:pt x="1794" y="174"/>
                    <a:pt x="1801" y="148"/>
                  </a:cubicBezTo>
                  <a:cubicBezTo>
                    <a:pt x="1804" y="147"/>
                    <a:pt x="1807" y="146"/>
                    <a:pt x="1810" y="145"/>
                  </a:cubicBezTo>
                  <a:cubicBezTo>
                    <a:pt x="1827" y="140"/>
                    <a:pt x="1844" y="136"/>
                    <a:pt x="1860" y="133"/>
                  </a:cubicBezTo>
                  <a:cubicBezTo>
                    <a:pt x="1851" y="159"/>
                    <a:pt x="1843" y="187"/>
                    <a:pt x="1837" y="218"/>
                  </a:cubicBezTo>
                  <a:cubicBezTo>
                    <a:pt x="1819" y="222"/>
                    <a:pt x="1801" y="226"/>
                    <a:pt x="1782" y="232"/>
                  </a:cubicBezTo>
                  <a:cubicBezTo>
                    <a:pt x="1782" y="232"/>
                    <a:pt x="1781" y="232"/>
                    <a:pt x="1780" y="233"/>
                  </a:cubicBezTo>
                  <a:moveTo>
                    <a:pt x="2030" y="219"/>
                  </a:moveTo>
                  <a:cubicBezTo>
                    <a:pt x="2014" y="215"/>
                    <a:pt x="1997" y="211"/>
                    <a:pt x="1979" y="210"/>
                  </a:cubicBezTo>
                  <a:cubicBezTo>
                    <a:pt x="1986" y="180"/>
                    <a:pt x="1994" y="155"/>
                    <a:pt x="2003" y="132"/>
                  </a:cubicBezTo>
                  <a:cubicBezTo>
                    <a:pt x="2020" y="136"/>
                    <a:pt x="2036" y="140"/>
                    <a:pt x="2052" y="145"/>
                  </a:cubicBezTo>
                  <a:cubicBezTo>
                    <a:pt x="2043" y="166"/>
                    <a:pt x="2036" y="191"/>
                    <a:pt x="2030" y="219"/>
                  </a:cubicBezTo>
                  <a:moveTo>
                    <a:pt x="1849" y="216"/>
                  </a:moveTo>
                  <a:cubicBezTo>
                    <a:pt x="1855" y="184"/>
                    <a:pt x="1864" y="157"/>
                    <a:pt x="1872" y="131"/>
                  </a:cubicBezTo>
                  <a:cubicBezTo>
                    <a:pt x="1892" y="128"/>
                    <a:pt x="1910" y="126"/>
                    <a:pt x="1928" y="126"/>
                  </a:cubicBezTo>
                  <a:cubicBezTo>
                    <a:pt x="1919" y="151"/>
                    <a:pt x="1911" y="178"/>
                    <a:pt x="1903" y="208"/>
                  </a:cubicBezTo>
                  <a:cubicBezTo>
                    <a:pt x="1886" y="210"/>
                    <a:pt x="1868" y="212"/>
                    <a:pt x="1849" y="216"/>
                  </a:cubicBezTo>
                  <a:moveTo>
                    <a:pt x="1915" y="208"/>
                  </a:moveTo>
                  <a:cubicBezTo>
                    <a:pt x="1922" y="177"/>
                    <a:pt x="1931" y="150"/>
                    <a:pt x="1940" y="126"/>
                  </a:cubicBezTo>
                  <a:cubicBezTo>
                    <a:pt x="1958" y="126"/>
                    <a:pt x="1975" y="128"/>
                    <a:pt x="1992" y="130"/>
                  </a:cubicBezTo>
                  <a:cubicBezTo>
                    <a:pt x="1983" y="153"/>
                    <a:pt x="1975" y="179"/>
                    <a:pt x="1968" y="209"/>
                  </a:cubicBezTo>
                  <a:cubicBezTo>
                    <a:pt x="1957" y="208"/>
                    <a:pt x="1946" y="207"/>
                    <a:pt x="1935" y="207"/>
                  </a:cubicBezTo>
                  <a:cubicBezTo>
                    <a:pt x="1928" y="207"/>
                    <a:pt x="1922" y="207"/>
                    <a:pt x="1915" y="208"/>
                  </a:cubicBezTo>
                  <a:moveTo>
                    <a:pt x="1480" y="260"/>
                  </a:moveTo>
                  <a:cubicBezTo>
                    <a:pt x="1486" y="223"/>
                    <a:pt x="1493" y="187"/>
                    <a:pt x="1500" y="151"/>
                  </a:cubicBezTo>
                  <a:cubicBezTo>
                    <a:pt x="1509" y="142"/>
                    <a:pt x="1519" y="133"/>
                    <a:pt x="1531" y="123"/>
                  </a:cubicBezTo>
                  <a:cubicBezTo>
                    <a:pt x="1523" y="158"/>
                    <a:pt x="1517" y="193"/>
                    <a:pt x="1511" y="228"/>
                  </a:cubicBezTo>
                  <a:cubicBezTo>
                    <a:pt x="1499" y="239"/>
                    <a:pt x="1489" y="250"/>
                    <a:pt x="1480" y="260"/>
                  </a:cubicBezTo>
                  <a:moveTo>
                    <a:pt x="1581" y="264"/>
                  </a:moveTo>
                  <a:cubicBezTo>
                    <a:pt x="1587" y="229"/>
                    <a:pt x="1593" y="196"/>
                    <a:pt x="1600" y="164"/>
                  </a:cubicBezTo>
                  <a:cubicBezTo>
                    <a:pt x="1620" y="149"/>
                    <a:pt x="1642" y="133"/>
                    <a:pt x="1665" y="119"/>
                  </a:cubicBezTo>
                  <a:cubicBezTo>
                    <a:pt x="1657" y="150"/>
                    <a:pt x="1650" y="181"/>
                    <a:pt x="1643" y="214"/>
                  </a:cubicBezTo>
                  <a:cubicBezTo>
                    <a:pt x="1624" y="228"/>
                    <a:pt x="1603" y="245"/>
                    <a:pt x="1581" y="264"/>
                  </a:cubicBezTo>
                  <a:moveTo>
                    <a:pt x="1656" y="205"/>
                  </a:moveTo>
                  <a:cubicBezTo>
                    <a:pt x="1663" y="172"/>
                    <a:pt x="1671" y="141"/>
                    <a:pt x="1679" y="111"/>
                  </a:cubicBezTo>
                  <a:cubicBezTo>
                    <a:pt x="1700" y="99"/>
                    <a:pt x="1721" y="87"/>
                    <a:pt x="1744" y="77"/>
                  </a:cubicBezTo>
                  <a:cubicBezTo>
                    <a:pt x="1735" y="106"/>
                    <a:pt x="1726" y="136"/>
                    <a:pt x="1719" y="168"/>
                  </a:cubicBezTo>
                  <a:cubicBezTo>
                    <a:pt x="1700" y="178"/>
                    <a:pt x="1679" y="190"/>
                    <a:pt x="1656" y="205"/>
                  </a:cubicBezTo>
                  <a:moveTo>
                    <a:pt x="1524" y="214"/>
                  </a:moveTo>
                  <a:cubicBezTo>
                    <a:pt x="1530" y="180"/>
                    <a:pt x="1537" y="145"/>
                    <a:pt x="1545" y="111"/>
                  </a:cubicBezTo>
                  <a:cubicBezTo>
                    <a:pt x="1565" y="94"/>
                    <a:pt x="1588" y="76"/>
                    <a:pt x="1613" y="59"/>
                  </a:cubicBezTo>
                  <a:cubicBezTo>
                    <a:pt x="1605" y="91"/>
                    <a:pt x="1597" y="123"/>
                    <a:pt x="1590" y="157"/>
                  </a:cubicBezTo>
                  <a:cubicBezTo>
                    <a:pt x="1565" y="176"/>
                    <a:pt x="1543" y="196"/>
                    <a:pt x="1524" y="214"/>
                  </a:cubicBezTo>
                  <a:moveTo>
                    <a:pt x="1732" y="162"/>
                  </a:moveTo>
                  <a:cubicBezTo>
                    <a:pt x="1740" y="130"/>
                    <a:pt x="1749" y="101"/>
                    <a:pt x="1758" y="72"/>
                  </a:cubicBezTo>
                  <a:cubicBezTo>
                    <a:pt x="1778" y="63"/>
                    <a:pt x="1799" y="56"/>
                    <a:pt x="1821" y="50"/>
                  </a:cubicBezTo>
                  <a:cubicBezTo>
                    <a:pt x="1819" y="55"/>
                    <a:pt x="1817" y="60"/>
                    <a:pt x="1816" y="65"/>
                  </a:cubicBezTo>
                  <a:cubicBezTo>
                    <a:pt x="1808" y="89"/>
                    <a:pt x="1800" y="113"/>
                    <a:pt x="1792" y="138"/>
                  </a:cubicBezTo>
                  <a:cubicBezTo>
                    <a:pt x="1777" y="143"/>
                    <a:pt x="1756" y="150"/>
                    <a:pt x="1732" y="162"/>
                  </a:cubicBezTo>
                  <a:moveTo>
                    <a:pt x="2056" y="134"/>
                  </a:moveTo>
                  <a:cubicBezTo>
                    <a:pt x="2041" y="129"/>
                    <a:pt x="2025" y="124"/>
                    <a:pt x="2008" y="121"/>
                  </a:cubicBezTo>
                  <a:cubicBezTo>
                    <a:pt x="2014" y="105"/>
                    <a:pt x="2021" y="90"/>
                    <a:pt x="2027" y="76"/>
                  </a:cubicBezTo>
                  <a:cubicBezTo>
                    <a:pt x="2031" y="67"/>
                    <a:pt x="2035" y="58"/>
                    <a:pt x="2039" y="49"/>
                  </a:cubicBezTo>
                  <a:cubicBezTo>
                    <a:pt x="2056" y="54"/>
                    <a:pt x="2072" y="60"/>
                    <a:pt x="2087" y="66"/>
                  </a:cubicBezTo>
                  <a:cubicBezTo>
                    <a:pt x="2086" y="68"/>
                    <a:pt x="2085" y="69"/>
                    <a:pt x="2085" y="70"/>
                  </a:cubicBezTo>
                  <a:cubicBezTo>
                    <a:pt x="2075" y="90"/>
                    <a:pt x="2065" y="111"/>
                    <a:pt x="2056" y="134"/>
                  </a:cubicBezTo>
                  <a:moveTo>
                    <a:pt x="1468" y="166"/>
                  </a:moveTo>
                  <a:cubicBezTo>
                    <a:pt x="1469" y="162"/>
                    <a:pt x="1470" y="159"/>
                    <a:pt x="1471" y="155"/>
                  </a:cubicBezTo>
                  <a:cubicBezTo>
                    <a:pt x="1479" y="121"/>
                    <a:pt x="1485" y="92"/>
                    <a:pt x="1490" y="68"/>
                  </a:cubicBezTo>
                  <a:cubicBezTo>
                    <a:pt x="1491" y="64"/>
                    <a:pt x="1491" y="60"/>
                    <a:pt x="1492" y="56"/>
                  </a:cubicBezTo>
                  <a:cubicBezTo>
                    <a:pt x="1496" y="52"/>
                    <a:pt x="1504" y="45"/>
                    <a:pt x="1514" y="36"/>
                  </a:cubicBezTo>
                  <a:cubicBezTo>
                    <a:pt x="1506" y="72"/>
                    <a:pt x="1498" y="108"/>
                    <a:pt x="1490" y="144"/>
                  </a:cubicBezTo>
                  <a:cubicBezTo>
                    <a:pt x="1481" y="153"/>
                    <a:pt x="1474" y="160"/>
                    <a:pt x="1468" y="166"/>
                  </a:cubicBezTo>
                  <a:moveTo>
                    <a:pt x="1996" y="119"/>
                  </a:moveTo>
                  <a:cubicBezTo>
                    <a:pt x="1980" y="116"/>
                    <a:pt x="1963" y="115"/>
                    <a:pt x="1944" y="114"/>
                  </a:cubicBezTo>
                  <a:cubicBezTo>
                    <a:pt x="1949" y="101"/>
                    <a:pt x="1955" y="88"/>
                    <a:pt x="1960" y="75"/>
                  </a:cubicBezTo>
                  <a:cubicBezTo>
                    <a:pt x="1965" y="62"/>
                    <a:pt x="1970" y="49"/>
                    <a:pt x="1975" y="36"/>
                  </a:cubicBezTo>
                  <a:cubicBezTo>
                    <a:pt x="1994" y="38"/>
                    <a:pt x="2011" y="41"/>
                    <a:pt x="2028" y="46"/>
                  </a:cubicBezTo>
                  <a:cubicBezTo>
                    <a:pt x="2024" y="54"/>
                    <a:pt x="2021" y="62"/>
                    <a:pt x="2017" y="71"/>
                  </a:cubicBezTo>
                  <a:cubicBezTo>
                    <a:pt x="2010" y="86"/>
                    <a:pt x="2003" y="102"/>
                    <a:pt x="1996" y="119"/>
                  </a:cubicBezTo>
                  <a:moveTo>
                    <a:pt x="1805" y="134"/>
                  </a:moveTo>
                  <a:cubicBezTo>
                    <a:pt x="1812" y="112"/>
                    <a:pt x="1819" y="90"/>
                    <a:pt x="1826" y="69"/>
                  </a:cubicBezTo>
                  <a:cubicBezTo>
                    <a:pt x="1829" y="62"/>
                    <a:pt x="1831" y="54"/>
                    <a:pt x="1834" y="46"/>
                  </a:cubicBezTo>
                  <a:cubicBezTo>
                    <a:pt x="1834" y="46"/>
                    <a:pt x="1834" y="46"/>
                    <a:pt x="1834" y="46"/>
                  </a:cubicBezTo>
                  <a:cubicBezTo>
                    <a:pt x="1855" y="41"/>
                    <a:pt x="1875" y="38"/>
                    <a:pt x="1894" y="36"/>
                  </a:cubicBezTo>
                  <a:cubicBezTo>
                    <a:pt x="1890" y="47"/>
                    <a:pt x="1886" y="58"/>
                    <a:pt x="1882" y="69"/>
                  </a:cubicBezTo>
                  <a:cubicBezTo>
                    <a:pt x="1876" y="86"/>
                    <a:pt x="1870" y="102"/>
                    <a:pt x="1864" y="120"/>
                  </a:cubicBezTo>
                  <a:cubicBezTo>
                    <a:pt x="1846" y="123"/>
                    <a:pt x="1827" y="127"/>
                    <a:pt x="1807" y="133"/>
                  </a:cubicBezTo>
                  <a:cubicBezTo>
                    <a:pt x="1806" y="133"/>
                    <a:pt x="1806" y="134"/>
                    <a:pt x="1805" y="134"/>
                  </a:cubicBezTo>
                  <a:moveTo>
                    <a:pt x="1877" y="118"/>
                  </a:moveTo>
                  <a:cubicBezTo>
                    <a:pt x="1882" y="103"/>
                    <a:pt x="1887" y="88"/>
                    <a:pt x="1893" y="73"/>
                  </a:cubicBezTo>
                  <a:cubicBezTo>
                    <a:pt x="1897" y="60"/>
                    <a:pt x="1902" y="47"/>
                    <a:pt x="1907" y="35"/>
                  </a:cubicBezTo>
                  <a:cubicBezTo>
                    <a:pt x="1916" y="34"/>
                    <a:pt x="1925" y="34"/>
                    <a:pt x="1933" y="34"/>
                  </a:cubicBezTo>
                  <a:cubicBezTo>
                    <a:pt x="1944" y="34"/>
                    <a:pt x="1954" y="34"/>
                    <a:pt x="1963" y="35"/>
                  </a:cubicBezTo>
                  <a:cubicBezTo>
                    <a:pt x="1959" y="47"/>
                    <a:pt x="1954" y="58"/>
                    <a:pt x="1949" y="70"/>
                  </a:cubicBezTo>
                  <a:cubicBezTo>
                    <a:pt x="1944" y="84"/>
                    <a:pt x="1938" y="99"/>
                    <a:pt x="1932" y="114"/>
                  </a:cubicBezTo>
                  <a:cubicBezTo>
                    <a:pt x="1915" y="114"/>
                    <a:pt x="1896" y="115"/>
                    <a:pt x="1877" y="118"/>
                  </a:cubicBezTo>
                  <a:moveTo>
                    <a:pt x="1604" y="147"/>
                  </a:moveTo>
                  <a:cubicBezTo>
                    <a:pt x="1611" y="113"/>
                    <a:pt x="1619" y="81"/>
                    <a:pt x="1627" y="49"/>
                  </a:cubicBezTo>
                  <a:cubicBezTo>
                    <a:pt x="1648" y="35"/>
                    <a:pt x="1671" y="21"/>
                    <a:pt x="1696" y="8"/>
                  </a:cubicBezTo>
                  <a:cubicBezTo>
                    <a:pt x="1692" y="20"/>
                    <a:pt x="1689" y="32"/>
                    <a:pt x="1686" y="44"/>
                  </a:cubicBezTo>
                  <a:cubicBezTo>
                    <a:pt x="1680" y="63"/>
                    <a:pt x="1675" y="83"/>
                    <a:pt x="1669" y="103"/>
                  </a:cubicBezTo>
                  <a:cubicBezTo>
                    <a:pt x="1646" y="117"/>
                    <a:pt x="1624" y="132"/>
                    <a:pt x="1604" y="147"/>
                  </a:cubicBezTo>
                  <a:moveTo>
                    <a:pt x="1504" y="131"/>
                  </a:moveTo>
                  <a:cubicBezTo>
                    <a:pt x="1512" y="95"/>
                    <a:pt x="1520" y="59"/>
                    <a:pt x="1528" y="24"/>
                  </a:cubicBezTo>
                  <a:cubicBezTo>
                    <a:pt x="1537" y="17"/>
                    <a:pt x="1548" y="9"/>
                    <a:pt x="1559" y="0"/>
                  </a:cubicBezTo>
                  <a:cubicBezTo>
                    <a:pt x="1551" y="35"/>
                    <a:pt x="1542" y="69"/>
                    <a:pt x="1535" y="104"/>
                  </a:cubicBezTo>
                  <a:cubicBezTo>
                    <a:pt x="1524" y="114"/>
                    <a:pt x="1513" y="123"/>
                    <a:pt x="1504" y="131"/>
                  </a:cubicBezTo>
                  <a:moveTo>
                    <a:pt x="2057" y="0"/>
                  </a:moveTo>
                  <a:cubicBezTo>
                    <a:pt x="2046" y="0"/>
                    <a:pt x="2046" y="0"/>
                    <a:pt x="2046" y="0"/>
                  </a:cubicBezTo>
                  <a:cubicBezTo>
                    <a:pt x="2042" y="12"/>
                    <a:pt x="2037" y="23"/>
                    <a:pt x="2032" y="35"/>
                  </a:cubicBezTo>
                  <a:cubicBezTo>
                    <a:pt x="2015" y="30"/>
                    <a:pt x="1998" y="27"/>
                    <a:pt x="1979" y="25"/>
                  </a:cubicBezTo>
                  <a:cubicBezTo>
                    <a:pt x="1982" y="16"/>
                    <a:pt x="1985" y="8"/>
                    <a:pt x="1988" y="0"/>
                  </a:cubicBezTo>
                  <a:cubicBezTo>
                    <a:pt x="1976" y="0"/>
                    <a:pt x="1976" y="0"/>
                    <a:pt x="1976" y="0"/>
                  </a:cubicBezTo>
                  <a:cubicBezTo>
                    <a:pt x="1973" y="8"/>
                    <a:pt x="1971" y="16"/>
                    <a:pt x="1968" y="23"/>
                  </a:cubicBezTo>
                  <a:cubicBezTo>
                    <a:pt x="1956" y="22"/>
                    <a:pt x="1944" y="22"/>
                    <a:pt x="1932" y="22"/>
                  </a:cubicBezTo>
                  <a:cubicBezTo>
                    <a:pt x="1925" y="22"/>
                    <a:pt x="1918" y="22"/>
                    <a:pt x="1911" y="22"/>
                  </a:cubicBezTo>
                  <a:cubicBezTo>
                    <a:pt x="1913" y="15"/>
                    <a:pt x="1916" y="7"/>
                    <a:pt x="1918" y="0"/>
                  </a:cubicBezTo>
                  <a:cubicBezTo>
                    <a:pt x="1906" y="0"/>
                    <a:pt x="1906" y="0"/>
                    <a:pt x="1906" y="0"/>
                  </a:cubicBezTo>
                  <a:cubicBezTo>
                    <a:pt x="1904" y="8"/>
                    <a:pt x="1901" y="15"/>
                    <a:pt x="1899" y="23"/>
                  </a:cubicBezTo>
                  <a:cubicBezTo>
                    <a:pt x="1879" y="25"/>
                    <a:pt x="1859" y="28"/>
                    <a:pt x="1838" y="33"/>
                  </a:cubicBezTo>
                  <a:cubicBezTo>
                    <a:pt x="1842" y="22"/>
                    <a:pt x="1845" y="11"/>
                    <a:pt x="1849" y="0"/>
                  </a:cubicBezTo>
                  <a:cubicBezTo>
                    <a:pt x="1837" y="0"/>
                    <a:pt x="1837" y="0"/>
                    <a:pt x="1837" y="0"/>
                  </a:cubicBezTo>
                  <a:cubicBezTo>
                    <a:pt x="1833" y="12"/>
                    <a:pt x="1829" y="24"/>
                    <a:pt x="1825" y="36"/>
                  </a:cubicBezTo>
                  <a:cubicBezTo>
                    <a:pt x="1803" y="42"/>
                    <a:pt x="1782" y="49"/>
                    <a:pt x="1762" y="57"/>
                  </a:cubicBezTo>
                  <a:cubicBezTo>
                    <a:pt x="1768" y="38"/>
                    <a:pt x="1773" y="19"/>
                    <a:pt x="1779" y="0"/>
                  </a:cubicBezTo>
                  <a:cubicBezTo>
                    <a:pt x="1767" y="0"/>
                    <a:pt x="1767" y="0"/>
                    <a:pt x="1767" y="0"/>
                  </a:cubicBezTo>
                  <a:cubicBezTo>
                    <a:pt x="1762" y="19"/>
                    <a:pt x="1756" y="39"/>
                    <a:pt x="1750" y="58"/>
                  </a:cubicBezTo>
                  <a:cubicBezTo>
                    <a:pt x="1749" y="60"/>
                    <a:pt x="1749" y="61"/>
                    <a:pt x="1749" y="62"/>
                  </a:cubicBezTo>
                  <a:cubicBezTo>
                    <a:pt x="1726" y="72"/>
                    <a:pt x="1704" y="83"/>
                    <a:pt x="1683" y="95"/>
                  </a:cubicBezTo>
                  <a:cubicBezTo>
                    <a:pt x="1688" y="79"/>
                    <a:pt x="1692" y="63"/>
                    <a:pt x="1696" y="47"/>
                  </a:cubicBezTo>
                  <a:cubicBezTo>
                    <a:pt x="1701" y="32"/>
                    <a:pt x="1705" y="17"/>
                    <a:pt x="1709" y="1"/>
                  </a:cubicBezTo>
                  <a:cubicBezTo>
                    <a:pt x="1710" y="1"/>
                    <a:pt x="1711" y="0"/>
                    <a:pt x="1712" y="0"/>
                  </a:cubicBezTo>
                  <a:cubicBezTo>
                    <a:pt x="1687" y="0"/>
                    <a:pt x="1687" y="0"/>
                    <a:pt x="1687" y="0"/>
                  </a:cubicBezTo>
                  <a:cubicBezTo>
                    <a:pt x="1667" y="10"/>
                    <a:pt x="1649" y="21"/>
                    <a:pt x="1631" y="32"/>
                  </a:cubicBezTo>
                  <a:cubicBezTo>
                    <a:pt x="1634" y="23"/>
                    <a:pt x="1636" y="14"/>
                    <a:pt x="1639" y="5"/>
                  </a:cubicBezTo>
                  <a:cubicBezTo>
                    <a:pt x="1639" y="3"/>
                    <a:pt x="1640" y="1"/>
                    <a:pt x="1640" y="0"/>
                  </a:cubicBezTo>
                  <a:cubicBezTo>
                    <a:pt x="1628" y="0"/>
                    <a:pt x="1628" y="0"/>
                    <a:pt x="1628" y="0"/>
                  </a:cubicBezTo>
                  <a:cubicBezTo>
                    <a:pt x="1628" y="0"/>
                    <a:pt x="1628" y="1"/>
                    <a:pt x="1628" y="2"/>
                  </a:cubicBezTo>
                  <a:cubicBezTo>
                    <a:pt x="1624" y="15"/>
                    <a:pt x="1621" y="28"/>
                    <a:pt x="1617" y="42"/>
                  </a:cubicBezTo>
                  <a:cubicBezTo>
                    <a:pt x="1592" y="59"/>
                    <a:pt x="1569" y="76"/>
                    <a:pt x="1549" y="92"/>
                  </a:cubicBezTo>
                  <a:cubicBezTo>
                    <a:pt x="1556" y="62"/>
                    <a:pt x="1563" y="31"/>
                    <a:pt x="1571" y="0"/>
                  </a:cubicBezTo>
                  <a:cubicBezTo>
                    <a:pt x="1540" y="0"/>
                    <a:pt x="1540" y="0"/>
                    <a:pt x="1540" y="0"/>
                  </a:cubicBezTo>
                  <a:cubicBezTo>
                    <a:pt x="1538" y="2"/>
                    <a:pt x="1535" y="4"/>
                    <a:pt x="1533" y="6"/>
                  </a:cubicBezTo>
                  <a:cubicBezTo>
                    <a:pt x="1533" y="4"/>
                    <a:pt x="1534" y="2"/>
                    <a:pt x="1534" y="0"/>
                  </a:cubicBezTo>
                  <a:cubicBezTo>
                    <a:pt x="1523" y="0"/>
                    <a:pt x="1523" y="0"/>
                    <a:pt x="1523" y="0"/>
                  </a:cubicBezTo>
                  <a:cubicBezTo>
                    <a:pt x="1521" y="6"/>
                    <a:pt x="1520" y="11"/>
                    <a:pt x="1519" y="17"/>
                  </a:cubicBezTo>
                  <a:cubicBezTo>
                    <a:pt x="1509" y="25"/>
                    <a:pt x="1502" y="31"/>
                    <a:pt x="1496" y="37"/>
                  </a:cubicBezTo>
                  <a:cubicBezTo>
                    <a:pt x="1498" y="25"/>
                    <a:pt x="1501" y="12"/>
                    <a:pt x="1503" y="0"/>
                  </a:cubicBezTo>
                  <a:cubicBezTo>
                    <a:pt x="1490" y="0"/>
                    <a:pt x="1490" y="0"/>
                    <a:pt x="1490" y="0"/>
                  </a:cubicBezTo>
                  <a:cubicBezTo>
                    <a:pt x="1475" y="63"/>
                    <a:pt x="1463" y="125"/>
                    <a:pt x="1452" y="186"/>
                  </a:cubicBezTo>
                  <a:cubicBezTo>
                    <a:pt x="1440" y="239"/>
                    <a:pt x="1427" y="299"/>
                    <a:pt x="1417" y="363"/>
                  </a:cubicBezTo>
                  <a:cubicBezTo>
                    <a:pt x="1416" y="362"/>
                    <a:pt x="1416" y="362"/>
                    <a:pt x="1416" y="362"/>
                  </a:cubicBezTo>
                  <a:cubicBezTo>
                    <a:pt x="1410" y="363"/>
                    <a:pt x="1403" y="365"/>
                    <a:pt x="1395" y="366"/>
                  </a:cubicBezTo>
                  <a:cubicBezTo>
                    <a:pt x="1395" y="378"/>
                    <a:pt x="1395" y="378"/>
                    <a:pt x="1395" y="378"/>
                  </a:cubicBezTo>
                  <a:cubicBezTo>
                    <a:pt x="1402" y="377"/>
                    <a:pt x="1409" y="376"/>
                    <a:pt x="1415" y="374"/>
                  </a:cubicBezTo>
                  <a:cubicBezTo>
                    <a:pt x="1414" y="379"/>
                    <a:pt x="1413" y="383"/>
                    <a:pt x="1413" y="388"/>
                  </a:cubicBezTo>
                  <a:cubicBezTo>
                    <a:pt x="1408" y="390"/>
                    <a:pt x="1402" y="391"/>
                    <a:pt x="1395" y="393"/>
                  </a:cubicBezTo>
                  <a:cubicBezTo>
                    <a:pt x="1395" y="414"/>
                    <a:pt x="1395" y="414"/>
                    <a:pt x="1395" y="414"/>
                  </a:cubicBezTo>
                  <a:cubicBezTo>
                    <a:pt x="1400" y="414"/>
                    <a:pt x="1404" y="414"/>
                    <a:pt x="1409" y="414"/>
                  </a:cubicBezTo>
                  <a:cubicBezTo>
                    <a:pt x="1408" y="417"/>
                    <a:pt x="1408" y="420"/>
                    <a:pt x="1407" y="423"/>
                  </a:cubicBezTo>
                  <a:cubicBezTo>
                    <a:pt x="1403" y="423"/>
                    <a:pt x="1399" y="422"/>
                    <a:pt x="1395" y="422"/>
                  </a:cubicBezTo>
                  <a:cubicBezTo>
                    <a:pt x="1395" y="434"/>
                    <a:pt x="1395" y="434"/>
                    <a:pt x="1395" y="434"/>
                  </a:cubicBezTo>
                  <a:cubicBezTo>
                    <a:pt x="1399" y="434"/>
                    <a:pt x="1402" y="435"/>
                    <a:pt x="1406" y="435"/>
                  </a:cubicBezTo>
                  <a:cubicBezTo>
                    <a:pt x="1405" y="440"/>
                    <a:pt x="1404" y="446"/>
                    <a:pt x="1404" y="451"/>
                  </a:cubicBezTo>
                  <a:cubicBezTo>
                    <a:pt x="1401" y="451"/>
                    <a:pt x="1398" y="451"/>
                    <a:pt x="1395" y="451"/>
                  </a:cubicBezTo>
                  <a:cubicBezTo>
                    <a:pt x="1395" y="463"/>
                    <a:pt x="1395" y="463"/>
                    <a:pt x="1395" y="463"/>
                  </a:cubicBezTo>
                  <a:cubicBezTo>
                    <a:pt x="1398" y="463"/>
                    <a:pt x="1400" y="463"/>
                    <a:pt x="1403" y="463"/>
                  </a:cubicBezTo>
                  <a:cubicBezTo>
                    <a:pt x="1401" y="474"/>
                    <a:pt x="1400" y="485"/>
                    <a:pt x="1399" y="496"/>
                  </a:cubicBezTo>
                  <a:cubicBezTo>
                    <a:pt x="1410" y="496"/>
                    <a:pt x="1410" y="496"/>
                    <a:pt x="1410" y="496"/>
                  </a:cubicBezTo>
                  <a:cubicBezTo>
                    <a:pt x="1411" y="490"/>
                    <a:pt x="1412" y="484"/>
                    <a:pt x="1412" y="478"/>
                  </a:cubicBezTo>
                  <a:cubicBezTo>
                    <a:pt x="1414" y="476"/>
                    <a:pt x="1416" y="473"/>
                    <a:pt x="1420" y="468"/>
                  </a:cubicBezTo>
                  <a:cubicBezTo>
                    <a:pt x="1419" y="477"/>
                    <a:pt x="1419" y="486"/>
                    <a:pt x="1419" y="496"/>
                  </a:cubicBezTo>
                  <a:cubicBezTo>
                    <a:pt x="1430" y="496"/>
                    <a:pt x="1430" y="496"/>
                    <a:pt x="1430" y="496"/>
                  </a:cubicBezTo>
                  <a:cubicBezTo>
                    <a:pt x="1430" y="481"/>
                    <a:pt x="1431" y="466"/>
                    <a:pt x="1432" y="451"/>
                  </a:cubicBezTo>
                  <a:cubicBezTo>
                    <a:pt x="1436" y="445"/>
                    <a:pt x="1441" y="438"/>
                    <a:pt x="1447" y="430"/>
                  </a:cubicBezTo>
                  <a:cubicBezTo>
                    <a:pt x="1445" y="447"/>
                    <a:pt x="1444" y="463"/>
                    <a:pt x="1442" y="480"/>
                  </a:cubicBezTo>
                  <a:cubicBezTo>
                    <a:pt x="1438" y="485"/>
                    <a:pt x="1434" y="491"/>
                    <a:pt x="1431" y="496"/>
                  </a:cubicBezTo>
                  <a:cubicBezTo>
                    <a:pt x="1452" y="496"/>
                    <a:pt x="1452" y="496"/>
                    <a:pt x="1452" y="496"/>
                  </a:cubicBezTo>
                  <a:cubicBezTo>
                    <a:pt x="1453" y="492"/>
                    <a:pt x="1453" y="488"/>
                    <a:pt x="1453" y="484"/>
                  </a:cubicBezTo>
                  <a:cubicBezTo>
                    <a:pt x="1463" y="472"/>
                    <a:pt x="1474" y="458"/>
                    <a:pt x="1487" y="443"/>
                  </a:cubicBezTo>
                  <a:cubicBezTo>
                    <a:pt x="1485" y="462"/>
                    <a:pt x="1484" y="479"/>
                    <a:pt x="1484" y="496"/>
                  </a:cubicBezTo>
                  <a:cubicBezTo>
                    <a:pt x="1495" y="496"/>
                    <a:pt x="1495" y="496"/>
                    <a:pt x="1495" y="496"/>
                  </a:cubicBezTo>
                  <a:cubicBezTo>
                    <a:pt x="1496" y="475"/>
                    <a:pt x="1497" y="453"/>
                    <a:pt x="1499" y="430"/>
                  </a:cubicBezTo>
                  <a:cubicBezTo>
                    <a:pt x="1516" y="411"/>
                    <a:pt x="1535" y="392"/>
                    <a:pt x="1557" y="373"/>
                  </a:cubicBezTo>
                  <a:cubicBezTo>
                    <a:pt x="1555" y="401"/>
                    <a:pt x="1553" y="427"/>
                    <a:pt x="1551" y="452"/>
                  </a:cubicBezTo>
                  <a:cubicBezTo>
                    <a:pt x="1535" y="466"/>
                    <a:pt x="1520" y="481"/>
                    <a:pt x="1507" y="496"/>
                  </a:cubicBezTo>
                  <a:cubicBezTo>
                    <a:pt x="1522" y="496"/>
                    <a:pt x="1522" y="496"/>
                    <a:pt x="1522" y="496"/>
                  </a:cubicBezTo>
                  <a:cubicBezTo>
                    <a:pt x="1531" y="487"/>
                    <a:pt x="1540" y="478"/>
                    <a:pt x="1550" y="469"/>
                  </a:cubicBezTo>
                  <a:cubicBezTo>
                    <a:pt x="1549" y="478"/>
                    <a:pt x="1549" y="487"/>
                    <a:pt x="1548" y="496"/>
                  </a:cubicBezTo>
                  <a:cubicBezTo>
                    <a:pt x="1559" y="496"/>
                    <a:pt x="1559" y="496"/>
                    <a:pt x="1559" y="496"/>
                  </a:cubicBezTo>
                  <a:cubicBezTo>
                    <a:pt x="1560" y="483"/>
                    <a:pt x="1561" y="471"/>
                    <a:pt x="1562" y="458"/>
                  </a:cubicBezTo>
                  <a:cubicBezTo>
                    <a:pt x="1579" y="442"/>
                    <a:pt x="1599" y="427"/>
                    <a:pt x="1620" y="413"/>
                  </a:cubicBezTo>
                  <a:cubicBezTo>
                    <a:pt x="1619" y="425"/>
                    <a:pt x="1618" y="438"/>
                    <a:pt x="1617" y="450"/>
                  </a:cubicBezTo>
                  <a:cubicBezTo>
                    <a:pt x="1616" y="463"/>
                    <a:pt x="1615" y="477"/>
                    <a:pt x="1614" y="490"/>
                  </a:cubicBezTo>
                  <a:cubicBezTo>
                    <a:pt x="1611" y="492"/>
                    <a:pt x="1608" y="494"/>
                    <a:pt x="1606" y="496"/>
                  </a:cubicBezTo>
                  <a:cubicBezTo>
                    <a:pt x="1627" y="496"/>
                    <a:pt x="1627" y="496"/>
                    <a:pt x="1627" y="496"/>
                  </a:cubicBezTo>
                  <a:cubicBezTo>
                    <a:pt x="1643" y="485"/>
                    <a:pt x="1661" y="474"/>
                    <a:pt x="1681" y="465"/>
                  </a:cubicBezTo>
                  <a:cubicBezTo>
                    <a:pt x="1680" y="475"/>
                    <a:pt x="1679" y="486"/>
                    <a:pt x="1678" y="496"/>
                  </a:cubicBezTo>
                  <a:cubicBezTo>
                    <a:pt x="1690" y="496"/>
                    <a:pt x="1690" y="496"/>
                    <a:pt x="1690" y="496"/>
                  </a:cubicBezTo>
                  <a:cubicBezTo>
                    <a:pt x="1691" y="484"/>
                    <a:pt x="1692" y="472"/>
                    <a:pt x="1693" y="459"/>
                  </a:cubicBezTo>
                  <a:cubicBezTo>
                    <a:pt x="1707" y="453"/>
                    <a:pt x="1722" y="447"/>
                    <a:pt x="1737" y="441"/>
                  </a:cubicBezTo>
                  <a:cubicBezTo>
                    <a:pt x="1741" y="440"/>
                    <a:pt x="1745" y="438"/>
                    <a:pt x="1749" y="437"/>
                  </a:cubicBezTo>
                  <a:cubicBezTo>
                    <a:pt x="1747" y="457"/>
                    <a:pt x="1745" y="477"/>
                    <a:pt x="1743" y="496"/>
                  </a:cubicBezTo>
                  <a:cubicBezTo>
                    <a:pt x="1754" y="496"/>
                    <a:pt x="1754" y="496"/>
                    <a:pt x="1754" y="496"/>
                  </a:cubicBezTo>
                  <a:cubicBezTo>
                    <a:pt x="1757" y="475"/>
                    <a:pt x="1758" y="455"/>
                    <a:pt x="1760" y="433"/>
                  </a:cubicBezTo>
                  <a:cubicBezTo>
                    <a:pt x="1779" y="427"/>
                    <a:pt x="1798" y="422"/>
                    <a:pt x="1816" y="418"/>
                  </a:cubicBezTo>
                  <a:cubicBezTo>
                    <a:pt x="1814" y="445"/>
                    <a:pt x="1811" y="471"/>
                    <a:pt x="1808" y="496"/>
                  </a:cubicBezTo>
                  <a:cubicBezTo>
                    <a:pt x="1819" y="496"/>
                    <a:pt x="1819" y="496"/>
                    <a:pt x="1819" y="496"/>
                  </a:cubicBezTo>
                  <a:cubicBezTo>
                    <a:pt x="1822" y="470"/>
                    <a:pt x="1825" y="444"/>
                    <a:pt x="1827" y="416"/>
                  </a:cubicBezTo>
                  <a:cubicBezTo>
                    <a:pt x="1846" y="413"/>
                    <a:pt x="1864" y="410"/>
                    <a:pt x="1882" y="409"/>
                  </a:cubicBezTo>
                  <a:cubicBezTo>
                    <a:pt x="1880" y="436"/>
                    <a:pt x="1877" y="462"/>
                    <a:pt x="1874" y="489"/>
                  </a:cubicBezTo>
                  <a:cubicBezTo>
                    <a:pt x="1858" y="490"/>
                    <a:pt x="1841" y="492"/>
                    <a:pt x="1824" y="496"/>
                  </a:cubicBezTo>
                  <a:cubicBezTo>
                    <a:pt x="2014" y="496"/>
                    <a:pt x="2014" y="496"/>
                    <a:pt x="2014" y="496"/>
                  </a:cubicBezTo>
                  <a:cubicBezTo>
                    <a:pt x="2018" y="471"/>
                    <a:pt x="2021" y="447"/>
                    <a:pt x="2023" y="422"/>
                  </a:cubicBezTo>
                  <a:cubicBezTo>
                    <a:pt x="2042" y="427"/>
                    <a:pt x="2059" y="434"/>
                    <a:pt x="2075" y="441"/>
                  </a:cubicBezTo>
                  <a:cubicBezTo>
                    <a:pt x="2074" y="459"/>
                    <a:pt x="2071" y="478"/>
                    <a:pt x="2068" y="496"/>
                  </a:cubicBezTo>
                  <a:cubicBezTo>
                    <a:pt x="2079" y="496"/>
                    <a:pt x="2079" y="496"/>
                    <a:pt x="2079" y="496"/>
                  </a:cubicBezTo>
                  <a:cubicBezTo>
                    <a:pt x="2082" y="479"/>
                    <a:pt x="2084" y="462"/>
                    <a:pt x="2086" y="446"/>
                  </a:cubicBezTo>
                  <a:cubicBezTo>
                    <a:pt x="2088" y="446"/>
                    <a:pt x="2090" y="447"/>
                    <a:pt x="2092" y="448"/>
                  </a:cubicBezTo>
                  <a:cubicBezTo>
                    <a:pt x="2092" y="435"/>
                    <a:pt x="2092" y="435"/>
                    <a:pt x="2092" y="435"/>
                  </a:cubicBezTo>
                  <a:cubicBezTo>
                    <a:pt x="2090" y="435"/>
                    <a:pt x="2089" y="434"/>
                    <a:pt x="2087" y="433"/>
                  </a:cubicBezTo>
                  <a:cubicBezTo>
                    <a:pt x="2089" y="413"/>
                    <a:pt x="2090" y="392"/>
                    <a:pt x="2090" y="372"/>
                  </a:cubicBezTo>
                  <a:cubicBezTo>
                    <a:pt x="2090" y="364"/>
                    <a:pt x="2090" y="357"/>
                    <a:pt x="2090" y="350"/>
                  </a:cubicBezTo>
                  <a:cubicBezTo>
                    <a:pt x="2091" y="350"/>
                    <a:pt x="2091" y="351"/>
                    <a:pt x="2092" y="351"/>
                  </a:cubicBezTo>
                  <a:cubicBezTo>
                    <a:pt x="2092" y="338"/>
                    <a:pt x="2092" y="338"/>
                    <a:pt x="2092" y="338"/>
                  </a:cubicBezTo>
                  <a:cubicBezTo>
                    <a:pt x="2091" y="338"/>
                    <a:pt x="2091" y="338"/>
                    <a:pt x="2091" y="338"/>
                  </a:cubicBezTo>
                  <a:cubicBezTo>
                    <a:pt x="2091" y="332"/>
                    <a:pt x="2091" y="327"/>
                    <a:pt x="2092" y="322"/>
                  </a:cubicBezTo>
                  <a:cubicBezTo>
                    <a:pt x="2092" y="229"/>
                    <a:pt x="2092" y="229"/>
                    <a:pt x="2092" y="229"/>
                  </a:cubicBezTo>
                  <a:cubicBezTo>
                    <a:pt x="2091" y="233"/>
                    <a:pt x="2090" y="236"/>
                    <a:pt x="2090" y="239"/>
                  </a:cubicBezTo>
                  <a:cubicBezTo>
                    <a:pt x="2075" y="233"/>
                    <a:pt x="2059" y="227"/>
                    <a:pt x="2041" y="222"/>
                  </a:cubicBezTo>
                  <a:cubicBezTo>
                    <a:pt x="2047" y="194"/>
                    <a:pt x="2054" y="170"/>
                    <a:pt x="2062" y="149"/>
                  </a:cubicBezTo>
                  <a:cubicBezTo>
                    <a:pt x="2073" y="153"/>
                    <a:pt x="2082" y="157"/>
                    <a:pt x="2092" y="161"/>
                  </a:cubicBezTo>
                  <a:cubicBezTo>
                    <a:pt x="2092" y="148"/>
                    <a:pt x="2092" y="148"/>
                    <a:pt x="2092" y="148"/>
                  </a:cubicBezTo>
                  <a:cubicBezTo>
                    <a:pt x="2084" y="145"/>
                    <a:pt x="2075" y="141"/>
                    <a:pt x="2066" y="138"/>
                  </a:cubicBezTo>
                  <a:cubicBezTo>
                    <a:pt x="2075" y="117"/>
                    <a:pt x="2083" y="99"/>
                    <a:pt x="2092" y="82"/>
                  </a:cubicBezTo>
                  <a:cubicBezTo>
                    <a:pt x="2092" y="55"/>
                    <a:pt x="2092" y="55"/>
                    <a:pt x="2092" y="55"/>
                  </a:cubicBezTo>
                  <a:cubicBezTo>
                    <a:pt x="2076" y="49"/>
                    <a:pt x="2060" y="43"/>
                    <a:pt x="2043" y="38"/>
                  </a:cubicBezTo>
                  <a:cubicBezTo>
                    <a:pt x="2048" y="25"/>
                    <a:pt x="2053" y="13"/>
                    <a:pt x="2057"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80" name="Freeform 686"/>
            <p:cNvSpPr>
              <a:spLocks noEditPoints="1"/>
            </p:cNvSpPr>
            <p:nvPr/>
          </p:nvSpPr>
          <p:spPr bwMode="auto">
            <a:xfrm>
              <a:off x="1822" y="2396"/>
              <a:ext cx="1121" cy="587"/>
            </a:xfrm>
            <a:custGeom>
              <a:avLst/>
              <a:gdLst>
                <a:gd name="T0" fmla="*/ 471 w 1818"/>
                <a:gd name="T1" fmla="*/ 792 h 953"/>
                <a:gd name="T2" fmla="*/ 467 w 1818"/>
                <a:gd name="T3" fmla="*/ 781 h 953"/>
                <a:gd name="T4" fmla="*/ 653 w 1818"/>
                <a:gd name="T5" fmla="*/ 756 h 953"/>
                <a:gd name="T6" fmla="*/ 621 w 1818"/>
                <a:gd name="T7" fmla="*/ 730 h 953"/>
                <a:gd name="T8" fmla="*/ 564 w 1818"/>
                <a:gd name="T9" fmla="*/ 664 h 953"/>
                <a:gd name="T10" fmla="*/ 852 w 1818"/>
                <a:gd name="T11" fmla="*/ 682 h 953"/>
                <a:gd name="T12" fmla="*/ 589 w 1818"/>
                <a:gd name="T13" fmla="*/ 674 h 953"/>
                <a:gd name="T14" fmla="*/ 760 w 1818"/>
                <a:gd name="T15" fmla="*/ 642 h 953"/>
                <a:gd name="T16" fmla="*/ 864 w 1818"/>
                <a:gd name="T17" fmla="*/ 629 h 953"/>
                <a:gd name="T18" fmla="*/ 860 w 1818"/>
                <a:gd name="T19" fmla="*/ 579 h 953"/>
                <a:gd name="T20" fmla="*/ 974 w 1818"/>
                <a:gd name="T21" fmla="*/ 556 h 953"/>
                <a:gd name="T22" fmla="*/ 901 w 1818"/>
                <a:gd name="T23" fmla="*/ 572 h 953"/>
                <a:gd name="T24" fmla="*/ 619 w 1818"/>
                <a:gd name="T25" fmla="*/ 517 h 953"/>
                <a:gd name="T26" fmla="*/ 1042 w 1818"/>
                <a:gd name="T27" fmla="*/ 520 h 953"/>
                <a:gd name="T28" fmla="*/ 837 w 1818"/>
                <a:gd name="T29" fmla="*/ 497 h 953"/>
                <a:gd name="T30" fmla="*/ 631 w 1818"/>
                <a:gd name="T31" fmla="*/ 568 h 953"/>
                <a:gd name="T32" fmla="*/ 433 w 1818"/>
                <a:gd name="T33" fmla="*/ 611 h 953"/>
                <a:gd name="T34" fmla="*/ 449 w 1818"/>
                <a:gd name="T35" fmla="*/ 766 h 953"/>
                <a:gd name="T36" fmla="*/ 521 w 1818"/>
                <a:gd name="T37" fmla="*/ 864 h 953"/>
                <a:gd name="T38" fmla="*/ 1106 w 1818"/>
                <a:gd name="T39" fmla="*/ 507 h 953"/>
                <a:gd name="T40" fmla="*/ 1121 w 1818"/>
                <a:gd name="T41" fmla="*/ 328 h 953"/>
                <a:gd name="T42" fmla="*/ 148 w 1818"/>
                <a:gd name="T43" fmla="*/ 486 h 953"/>
                <a:gd name="T44" fmla="*/ 204 w 1818"/>
                <a:gd name="T45" fmla="*/ 383 h 953"/>
                <a:gd name="T46" fmla="*/ 303 w 1818"/>
                <a:gd name="T47" fmla="*/ 346 h 953"/>
                <a:gd name="T48" fmla="*/ 322 w 1818"/>
                <a:gd name="T49" fmla="*/ 312 h 953"/>
                <a:gd name="T50" fmla="*/ 26 w 1818"/>
                <a:gd name="T51" fmla="*/ 495 h 953"/>
                <a:gd name="T52" fmla="*/ 417 w 1818"/>
                <a:gd name="T53" fmla="*/ 327 h 953"/>
                <a:gd name="T54" fmla="*/ 1455 w 1818"/>
                <a:gd name="T55" fmla="*/ 476 h 953"/>
                <a:gd name="T56" fmla="*/ 1320 w 1818"/>
                <a:gd name="T57" fmla="*/ 486 h 953"/>
                <a:gd name="T58" fmla="*/ 1161 w 1818"/>
                <a:gd name="T59" fmla="*/ 450 h 953"/>
                <a:gd name="T60" fmla="*/ 1276 w 1818"/>
                <a:gd name="T61" fmla="*/ 419 h 953"/>
                <a:gd name="T62" fmla="*/ 1518 w 1818"/>
                <a:gd name="T63" fmla="*/ 409 h 953"/>
                <a:gd name="T64" fmla="*/ 1184 w 1818"/>
                <a:gd name="T65" fmla="*/ 399 h 953"/>
                <a:gd name="T66" fmla="*/ 1303 w 1818"/>
                <a:gd name="T67" fmla="*/ 424 h 953"/>
                <a:gd name="T68" fmla="*/ 1270 w 1818"/>
                <a:gd name="T69" fmla="*/ 474 h 953"/>
                <a:gd name="T70" fmla="*/ 1667 w 1818"/>
                <a:gd name="T71" fmla="*/ 439 h 953"/>
                <a:gd name="T72" fmla="*/ 1458 w 1818"/>
                <a:gd name="T73" fmla="*/ 349 h 953"/>
                <a:gd name="T74" fmla="*/ 1186 w 1818"/>
                <a:gd name="T75" fmla="*/ 372 h 953"/>
                <a:gd name="T76" fmla="*/ 1264 w 1818"/>
                <a:gd name="T77" fmla="*/ 399 h 953"/>
                <a:gd name="T78" fmla="*/ 1799 w 1818"/>
                <a:gd name="T79" fmla="*/ 283 h 953"/>
                <a:gd name="T80" fmla="*/ 1194 w 1818"/>
                <a:gd name="T81" fmla="*/ 335 h 953"/>
                <a:gd name="T82" fmla="*/ 1211 w 1818"/>
                <a:gd name="T83" fmla="*/ 286 h 953"/>
                <a:gd name="T84" fmla="*/ 1627 w 1818"/>
                <a:gd name="T85" fmla="*/ 300 h 953"/>
                <a:gd name="T86" fmla="*/ 1404 w 1818"/>
                <a:gd name="T87" fmla="*/ 276 h 953"/>
                <a:gd name="T88" fmla="*/ 1177 w 1818"/>
                <a:gd name="T89" fmla="*/ 210 h 953"/>
                <a:gd name="T90" fmla="*/ 1677 w 1818"/>
                <a:gd name="T91" fmla="*/ 222 h 953"/>
                <a:gd name="T92" fmla="*/ 1667 w 1818"/>
                <a:gd name="T93" fmla="*/ 218 h 953"/>
                <a:gd name="T94" fmla="*/ 1331 w 1818"/>
                <a:gd name="T95" fmla="*/ 142 h 953"/>
                <a:gd name="T96" fmla="*/ 1346 w 1818"/>
                <a:gd name="T97" fmla="*/ 228 h 953"/>
                <a:gd name="T98" fmla="*/ 1147 w 1818"/>
                <a:gd name="T99" fmla="*/ 121 h 953"/>
                <a:gd name="T100" fmla="*/ 1736 w 1818"/>
                <a:gd name="T101" fmla="*/ 27 h 953"/>
                <a:gd name="T102" fmla="*/ 1528 w 1818"/>
                <a:gd name="T103" fmla="*/ 119 h 953"/>
                <a:gd name="T104" fmla="*/ 1805 w 1818"/>
                <a:gd name="T105" fmla="*/ 0 h 953"/>
                <a:gd name="T106" fmla="*/ 1400 w 1818"/>
                <a:gd name="T107" fmla="*/ 48 h 953"/>
                <a:gd name="T108" fmla="*/ 1178 w 1818"/>
                <a:gd name="T109" fmla="*/ 0 h 953"/>
                <a:gd name="T110" fmla="*/ 1121 w 1818"/>
                <a:gd name="T111" fmla="*/ 146 h 953"/>
                <a:gd name="T112" fmla="*/ 1143 w 1818"/>
                <a:gd name="T113" fmla="*/ 290 h 953"/>
                <a:gd name="T114" fmla="*/ 1144 w 1818"/>
                <a:gd name="T115" fmla="*/ 497 h 953"/>
                <a:gd name="T116" fmla="*/ 1457 w 1818"/>
                <a:gd name="T117" fmla="*/ 497 h 953"/>
                <a:gd name="T118" fmla="*/ 1615 w 1818"/>
                <a:gd name="T119" fmla="*/ 497 h 953"/>
                <a:gd name="T120" fmla="*/ 1759 w 1818"/>
                <a:gd name="T121" fmla="*/ 401 h 953"/>
                <a:gd name="T122" fmla="*/ 1802 w 1818"/>
                <a:gd name="T123" fmla="*/ 20 h 9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18" h="953">
                  <a:moveTo>
                    <a:pt x="511" y="858"/>
                  </a:moveTo>
                  <a:cubicBezTo>
                    <a:pt x="501" y="847"/>
                    <a:pt x="492" y="834"/>
                    <a:pt x="485" y="821"/>
                  </a:cubicBezTo>
                  <a:cubicBezTo>
                    <a:pt x="506" y="805"/>
                    <a:pt x="527" y="793"/>
                    <a:pt x="548" y="784"/>
                  </a:cubicBezTo>
                  <a:cubicBezTo>
                    <a:pt x="553" y="792"/>
                    <a:pt x="559" y="800"/>
                    <a:pt x="566" y="808"/>
                  </a:cubicBezTo>
                  <a:cubicBezTo>
                    <a:pt x="551" y="818"/>
                    <a:pt x="534" y="835"/>
                    <a:pt x="514" y="855"/>
                  </a:cubicBezTo>
                  <a:cubicBezTo>
                    <a:pt x="513" y="856"/>
                    <a:pt x="512" y="857"/>
                    <a:pt x="511" y="858"/>
                  </a:cubicBezTo>
                  <a:moveTo>
                    <a:pt x="630" y="771"/>
                  </a:moveTo>
                  <a:cubicBezTo>
                    <a:pt x="637" y="771"/>
                    <a:pt x="644" y="770"/>
                    <a:pt x="651" y="769"/>
                  </a:cubicBezTo>
                  <a:cubicBezTo>
                    <a:pt x="665" y="776"/>
                    <a:pt x="680" y="782"/>
                    <a:pt x="698" y="784"/>
                  </a:cubicBezTo>
                  <a:cubicBezTo>
                    <a:pt x="679" y="790"/>
                    <a:pt x="663" y="792"/>
                    <a:pt x="649" y="792"/>
                  </a:cubicBezTo>
                  <a:cubicBezTo>
                    <a:pt x="645" y="792"/>
                    <a:pt x="641" y="791"/>
                    <a:pt x="637" y="791"/>
                  </a:cubicBezTo>
                  <a:cubicBezTo>
                    <a:pt x="634" y="791"/>
                    <a:pt x="630" y="791"/>
                    <a:pt x="626" y="791"/>
                  </a:cubicBezTo>
                  <a:cubicBezTo>
                    <a:pt x="611" y="791"/>
                    <a:pt x="595" y="793"/>
                    <a:pt x="576" y="802"/>
                  </a:cubicBezTo>
                  <a:cubicBezTo>
                    <a:pt x="570" y="795"/>
                    <a:pt x="564" y="787"/>
                    <a:pt x="559" y="779"/>
                  </a:cubicBezTo>
                  <a:cubicBezTo>
                    <a:pt x="575" y="773"/>
                    <a:pt x="592" y="770"/>
                    <a:pt x="610" y="770"/>
                  </a:cubicBezTo>
                  <a:cubicBezTo>
                    <a:pt x="614" y="770"/>
                    <a:pt x="619" y="770"/>
                    <a:pt x="623" y="771"/>
                  </a:cubicBezTo>
                  <a:cubicBezTo>
                    <a:pt x="626" y="771"/>
                    <a:pt x="628" y="771"/>
                    <a:pt x="630" y="771"/>
                  </a:cubicBezTo>
                  <a:moveTo>
                    <a:pt x="479" y="810"/>
                  </a:moveTo>
                  <a:cubicBezTo>
                    <a:pt x="476" y="805"/>
                    <a:pt x="473" y="798"/>
                    <a:pt x="471" y="792"/>
                  </a:cubicBezTo>
                  <a:cubicBezTo>
                    <a:pt x="493" y="780"/>
                    <a:pt x="515" y="768"/>
                    <a:pt x="536" y="760"/>
                  </a:cubicBezTo>
                  <a:cubicBezTo>
                    <a:pt x="538" y="764"/>
                    <a:pt x="540" y="769"/>
                    <a:pt x="542" y="773"/>
                  </a:cubicBezTo>
                  <a:cubicBezTo>
                    <a:pt x="521" y="782"/>
                    <a:pt x="500" y="795"/>
                    <a:pt x="479" y="810"/>
                  </a:cubicBezTo>
                  <a:moveTo>
                    <a:pt x="553" y="769"/>
                  </a:moveTo>
                  <a:cubicBezTo>
                    <a:pt x="550" y="765"/>
                    <a:pt x="548" y="760"/>
                    <a:pt x="547" y="756"/>
                  </a:cubicBezTo>
                  <a:cubicBezTo>
                    <a:pt x="564" y="750"/>
                    <a:pt x="581" y="745"/>
                    <a:pt x="599" y="744"/>
                  </a:cubicBezTo>
                  <a:cubicBezTo>
                    <a:pt x="601" y="743"/>
                    <a:pt x="604" y="743"/>
                    <a:pt x="607" y="743"/>
                  </a:cubicBezTo>
                  <a:cubicBezTo>
                    <a:pt x="612" y="743"/>
                    <a:pt x="612" y="743"/>
                    <a:pt x="612" y="743"/>
                  </a:cubicBezTo>
                  <a:cubicBezTo>
                    <a:pt x="613" y="743"/>
                    <a:pt x="615" y="742"/>
                    <a:pt x="617" y="742"/>
                  </a:cubicBezTo>
                  <a:cubicBezTo>
                    <a:pt x="623" y="748"/>
                    <a:pt x="629" y="754"/>
                    <a:pt x="636" y="759"/>
                  </a:cubicBezTo>
                  <a:cubicBezTo>
                    <a:pt x="634" y="759"/>
                    <a:pt x="632" y="759"/>
                    <a:pt x="630" y="759"/>
                  </a:cubicBezTo>
                  <a:cubicBezTo>
                    <a:pt x="628" y="759"/>
                    <a:pt x="626" y="759"/>
                    <a:pt x="624" y="759"/>
                  </a:cubicBezTo>
                  <a:cubicBezTo>
                    <a:pt x="619" y="758"/>
                    <a:pt x="615" y="758"/>
                    <a:pt x="610" y="758"/>
                  </a:cubicBezTo>
                  <a:cubicBezTo>
                    <a:pt x="590" y="758"/>
                    <a:pt x="571" y="762"/>
                    <a:pt x="553" y="769"/>
                  </a:cubicBezTo>
                  <a:moveTo>
                    <a:pt x="467" y="781"/>
                  </a:moveTo>
                  <a:cubicBezTo>
                    <a:pt x="464" y="775"/>
                    <a:pt x="462" y="768"/>
                    <a:pt x="460" y="762"/>
                  </a:cubicBezTo>
                  <a:cubicBezTo>
                    <a:pt x="483" y="752"/>
                    <a:pt x="506" y="742"/>
                    <a:pt x="527" y="735"/>
                  </a:cubicBezTo>
                  <a:cubicBezTo>
                    <a:pt x="528" y="739"/>
                    <a:pt x="530" y="744"/>
                    <a:pt x="531" y="749"/>
                  </a:cubicBezTo>
                  <a:cubicBezTo>
                    <a:pt x="510" y="757"/>
                    <a:pt x="489" y="769"/>
                    <a:pt x="467" y="781"/>
                  </a:cubicBezTo>
                  <a:moveTo>
                    <a:pt x="723" y="774"/>
                  </a:moveTo>
                  <a:cubicBezTo>
                    <a:pt x="703" y="774"/>
                    <a:pt x="685" y="771"/>
                    <a:pt x="669" y="764"/>
                  </a:cubicBezTo>
                  <a:cubicBezTo>
                    <a:pt x="690" y="757"/>
                    <a:pt x="713" y="745"/>
                    <a:pt x="738" y="730"/>
                  </a:cubicBezTo>
                  <a:cubicBezTo>
                    <a:pt x="750" y="735"/>
                    <a:pt x="763" y="739"/>
                    <a:pt x="777" y="741"/>
                  </a:cubicBezTo>
                  <a:cubicBezTo>
                    <a:pt x="756" y="756"/>
                    <a:pt x="739" y="767"/>
                    <a:pt x="723" y="774"/>
                  </a:cubicBezTo>
                  <a:moveTo>
                    <a:pt x="542" y="745"/>
                  </a:moveTo>
                  <a:cubicBezTo>
                    <a:pt x="540" y="740"/>
                    <a:pt x="539" y="736"/>
                    <a:pt x="538" y="731"/>
                  </a:cubicBezTo>
                  <a:cubicBezTo>
                    <a:pt x="555" y="725"/>
                    <a:pt x="571" y="720"/>
                    <a:pt x="587" y="717"/>
                  </a:cubicBezTo>
                  <a:cubicBezTo>
                    <a:pt x="593" y="716"/>
                    <a:pt x="593" y="716"/>
                    <a:pt x="593" y="716"/>
                  </a:cubicBezTo>
                  <a:cubicBezTo>
                    <a:pt x="594" y="716"/>
                    <a:pt x="596" y="716"/>
                    <a:pt x="597" y="715"/>
                  </a:cubicBezTo>
                  <a:cubicBezTo>
                    <a:pt x="600" y="721"/>
                    <a:pt x="604" y="726"/>
                    <a:pt x="608" y="731"/>
                  </a:cubicBezTo>
                  <a:cubicBezTo>
                    <a:pt x="607" y="731"/>
                    <a:pt x="607" y="731"/>
                    <a:pt x="607" y="731"/>
                  </a:cubicBezTo>
                  <a:cubicBezTo>
                    <a:pt x="604" y="731"/>
                    <a:pt x="601" y="731"/>
                    <a:pt x="598" y="732"/>
                  </a:cubicBezTo>
                  <a:cubicBezTo>
                    <a:pt x="579" y="733"/>
                    <a:pt x="561" y="738"/>
                    <a:pt x="542" y="745"/>
                  </a:cubicBezTo>
                  <a:moveTo>
                    <a:pt x="653" y="756"/>
                  </a:moveTo>
                  <a:cubicBezTo>
                    <a:pt x="645" y="752"/>
                    <a:pt x="638" y="746"/>
                    <a:pt x="632" y="740"/>
                  </a:cubicBezTo>
                  <a:cubicBezTo>
                    <a:pt x="654" y="735"/>
                    <a:pt x="679" y="725"/>
                    <a:pt x="705" y="712"/>
                  </a:cubicBezTo>
                  <a:cubicBezTo>
                    <a:pt x="711" y="716"/>
                    <a:pt x="718" y="720"/>
                    <a:pt x="725" y="724"/>
                  </a:cubicBezTo>
                  <a:cubicBezTo>
                    <a:pt x="699" y="740"/>
                    <a:pt x="674" y="751"/>
                    <a:pt x="653" y="756"/>
                  </a:cubicBezTo>
                  <a:moveTo>
                    <a:pt x="457" y="750"/>
                  </a:moveTo>
                  <a:cubicBezTo>
                    <a:pt x="455" y="743"/>
                    <a:pt x="453" y="737"/>
                    <a:pt x="452" y="730"/>
                  </a:cubicBezTo>
                  <a:cubicBezTo>
                    <a:pt x="476" y="723"/>
                    <a:pt x="499" y="716"/>
                    <a:pt x="520" y="709"/>
                  </a:cubicBezTo>
                  <a:cubicBezTo>
                    <a:pt x="521" y="713"/>
                    <a:pt x="522" y="718"/>
                    <a:pt x="524" y="723"/>
                  </a:cubicBezTo>
                  <a:cubicBezTo>
                    <a:pt x="502" y="731"/>
                    <a:pt x="480" y="740"/>
                    <a:pt x="457" y="750"/>
                  </a:cubicBezTo>
                  <a:moveTo>
                    <a:pt x="534" y="720"/>
                  </a:moveTo>
                  <a:cubicBezTo>
                    <a:pt x="533" y="715"/>
                    <a:pt x="532" y="710"/>
                    <a:pt x="531" y="705"/>
                  </a:cubicBezTo>
                  <a:cubicBezTo>
                    <a:pt x="534" y="704"/>
                    <a:pt x="538" y="703"/>
                    <a:pt x="541" y="702"/>
                  </a:cubicBezTo>
                  <a:cubicBezTo>
                    <a:pt x="553" y="698"/>
                    <a:pt x="565" y="694"/>
                    <a:pt x="576" y="691"/>
                  </a:cubicBezTo>
                  <a:cubicBezTo>
                    <a:pt x="580" y="690"/>
                    <a:pt x="580" y="690"/>
                    <a:pt x="580" y="690"/>
                  </a:cubicBezTo>
                  <a:cubicBezTo>
                    <a:pt x="581" y="689"/>
                    <a:pt x="582" y="689"/>
                    <a:pt x="583" y="689"/>
                  </a:cubicBezTo>
                  <a:cubicBezTo>
                    <a:pt x="585" y="694"/>
                    <a:pt x="588" y="699"/>
                    <a:pt x="591" y="704"/>
                  </a:cubicBezTo>
                  <a:cubicBezTo>
                    <a:pt x="585" y="705"/>
                    <a:pt x="585" y="705"/>
                    <a:pt x="585" y="705"/>
                  </a:cubicBezTo>
                  <a:cubicBezTo>
                    <a:pt x="569" y="709"/>
                    <a:pt x="552" y="714"/>
                    <a:pt x="534" y="720"/>
                  </a:cubicBezTo>
                  <a:moveTo>
                    <a:pt x="621" y="730"/>
                  </a:moveTo>
                  <a:cubicBezTo>
                    <a:pt x="617" y="724"/>
                    <a:pt x="613" y="719"/>
                    <a:pt x="609" y="713"/>
                  </a:cubicBezTo>
                  <a:cubicBezTo>
                    <a:pt x="630" y="707"/>
                    <a:pt x="653" y="699"/>
                    <a:pt x="677" y="687"/>
                  </a:cubicBezTo>
                  <a:cubicBezTo>
                    <a:pt x="683" y="693"/>
                    <a:pt x="688" y="698"/>
                    <a:pt x="694" y="704"/>
                  </a:cubicBezTo>
                  <a:cubicBezTo>
                    <a:pt x="668" y="717"/>
                    <a:pt x="643" y="726"/>
                    <a:pt x="621" y="730"/>
                  </a:cubicBezTo>
                  <a:moveTo>
                    <a:pt x="791" y="731"/>
                  </a:moveTo>
                  <a:cubicBezTo>
                    <a:pt x="776" y="729"/>
                    <a:pt x="763" y="726"/>
                    <a:pt x="750" y="722"/>
                  </a:cubicBezTo>
                  <a:cubicBezTo>
                    <a:pt x="769" y="711"/>
                    <a:pt x="788" y="697"/>
                    <a:pt x="807" y="683"/>
                  </a:cubicBezTo>
                  <a:cubicBezTo>
                    <a:pt x="818" y="687"/>
                    <a:pt x="829" y="690"/>
                    <a:pt x="841" y="692"/>
                  </a:cubicBezTo>
                  <a:cubicBezTo>
                    <a:pt x="826" y="703"/>
                    <a:pt x="811" y="714"/>
                    <a:pt x="796" y="726"/>
                  </a:cubicBezTo>
                  <a:cubicBezTo>
                    <a:pt x="794" y="728"/>
                    <a:pt x="793" y="729"/>
                    <a:pt x="791" y="731"/>
                  </a:cubicBezTo>
                  <a:moveTo>
                    <a:pt x="449" y="719"/>
                  </a:moveTo>
                  <a:cubicBezTo>
                    <a:pt x="448" y="712"/>
                    <a:pt x="447" y="706"/>
                    <a:pt x="446" y="699"/>
                  </a:cubicBezTo>
                  <a:cubicBezTo>
                    <a:pt x="471" y="694"/>
                    <a:pt x="495" y="688"/>
                    <a:pt x="516" y="682"/>
                  </a:cubicBezTo>
                  <a:cubicBezTo>
                    <a:pt x="517" y="687"/>
                    <a:pt x="517" y="692"/>
                    <a:pt x="518" y="697"/>
                  </a:cubicBezTo>
                  <a:cubicBezTo>
                    <a:pt x="497" y="704"/>
                    <a:pt x="474" y="711"/>
                    <a:pt x="449" y="719"/>
                  </a:cubicBezTo>
                  <a:moveTo>
                    <a:pt x="737" y="717"/>
                  </a:moveTo>
                  <a:cubicBezTo>
                    <a:pt x="729" y="714"/>
                    <a:pt x="722" y="710"/>
                    <a:pt x="716" y="706"/>
                  </a:cubicBezTo>
                  <a:cubicBezTo>
                    <a:pt x="736" y="695"/>
                    <a:pt x="756" y="682"/>
                    <a:pt x="777" y="669"/>
                  </a:cubicBezTo>
                  <a:cubicBezTo>
                    <a:pt x="783" y="672"/>
                    <a:pt x="788" y="675"/>
                    <a:pt x="795" y="678"/>
                  </a:cubicBezTo>
                  <a:cubicBezTo>
                    <a:pt x="774" y="692"/>
                    <a:pt x="755" y="705"/>
                    <a:pt x="737" y="717"/>
                  </a:cubicBezTo>
                  <a:moveTo>
                    <a:pt x="529" y="693"/>
                  </a:moveTo>
                  <a:cubicBezTo>
                    <a:pt x="528" y="688"/>
                    <a:pt x="528" y="683"/>
                    <a:pt x="527" y="679"/>
                  </a:cubicBezTo>
                  <a:cubicBezTo>
                    <a:pt x="541" y="674"/>
                    <a:pt x="553" y="669"/>
                    <a:pt x="564" y="664"/>
                  </a:cubicBezTo>
                  <a:cubicBezTo>
                    <a:pt x="567" y="663"/>
                    <a:pt x="570" y="662"/>
                    <a:pt x="573" y="660"/>
                  </a:cubicBezTo>
                  <a:cubicBezTo>
                    <a:pt x="574" y="666"/>
                    <a:pt x="576" y="672"/>
                    <a:pt x="578" y="677"/>
                  </a:cubicBezTo>
                  <a:cubicBezTo>
                    <a:pt x="578" y="678"/>
                    <a:pt x="577" y="678"/>
                    <a:pt x="577" y="678"/>
                  </a:cubicBezTo>
                  <a:cubicBezTo>
                    <a:pt x="573" y="679"/>
                    <a:pt x="573" y="679"/>
                    <a:pt x="573" y="679"/>
                  </a:cubicBezTo>
                  <a:cubicBezTo>
                    <a:pt x="562" y="683"/>
                    <a:pt x="550" y="687"/>
                    <a:pt x="538" y="691"/>
                  </a:cubicBezTo>
                  <a:cubicBezTo>
                    <a:pt x="535" y="691"/>
                    <a:pt x="532" y="692"/>
                    <a:pt x="529" y="693"/>
                  </a:cubicBezTo>
                  <a:moveTo>
                    <a:pt x="602" y="702"/>
                  </a:moveTo>
                  <a:cubicBezTo>
                    <a:pt x="601" y="700"/>
                    <a:pt x="600" y="698"/>
                    <a:pt x="598" y="695"/>
                  </a:cubicBezTo>
                  <a:cubicBezTo>
                    <a:pt x="597" y="692"/>
                    <a:pt x="595" y="688"/>
                    <a:pt x="593" y="685"/>
                  </a:cubicBezTo>
                  <a:cubicBezTo>
                    <a:pt x="613" y="678"/>
                    <a:pt x="634" y="669"/>
                    <a:pt x="656" y="658"/>
                  </a:cubicBezTo>
                  <a:cubicBezTo>
                    <a:pt x="660" y="665"/>
                    <a:pt x="665" y="671"/>
                    <a:pt x="670" y="678"/>
                  </a:cubicBezTo>
                  <a:cubicBezTo>
                    <a:pt x="646" y="689"/>
                    <a:pt x="623" y="697"/>
                    <a:pt x="602" y="702"/>
                  </a:cubicBezTo>
                  <a:moveTo>
                    <a:pt x="705" y="698"/>
                  </a:moveTo>
                  <a:cubicBezTo>
                    <a:pt x="699" y="693"/>
                    <a:pt x="693" y="688"/>
                    <a:pt x="688" y="682"/>
                  </a:cubicBezTo>
                  <a:cubicBezTo>
                    <a:pt x="708" y="672"/>
                    <a:pt x="729" y="660"/>
                    <a:pt x="750" y="648"/>
                  </a:cubicBezTo>
                  <a:cubicBezTo>
                    <a:pt x="755" y="653"/>
                    <a:pt x="761" y="657"/>
                    <a:pt x="767" y="662"/>
                  </a:cubicBezTo>
                  <a:cubicBezTo>
                    <a:pt x="745" y="675"/>
                    <a:pt x="725" y="687"/>
                    <a:pt x="705" y="698"/>
                  </a:cubicBezTo>
                  <a:moveTo>
                    <a:pt x="852" y="685"/>
                  </a:moveTo>
                  <a:cubicBezTo>
                    <a:pt x="852" y="682"/>
                    <a:pt x="852" y="682"/>
                    <a:pt x="852" y="682"/>
                  </a:cubicBezTo>
                  <a:cubicBezTo>
                    <a:pt x="840" y="680"/>
                    <a:pt x="829" y="678"/>
                    <a:pt x="819" y="675"/>
                  </a:cubicBezTo>
                  <a:cubicBezTo>
                    <a:pt x="826" y="670"/>
                    <a:pt x="832" y="666"/>
                    <a:pt x="839" y="661"/>
                  </a:cubicBezTo>
                  <a:cubicBezTo>
                    <a:pt x="847" y="655"/>
                    <a:pt x="856" y="649"/>
                    <a:pt x="865" y="642"/>
                  </a:cubicBezTo>
                  <a:cubicBezTo>
                    <a:pt x="875" y="647"/>
                    <a:pt x="885" y="651"/>
                    <a:pt x="897" y="654"/>
                  </a:cubicBezTo>
                  <a:cubicBezTo>
                    <a:pt x="882" y="663"/>
                    <a:pt x="867" y="674"/>
                    <a:pt x="852" y="685"/>
                  </a:cubicBezTo>
                  <a:moveTo>
                    <a:pt x="444" y="687"/>
                  </a:moveTo>
                  <a:cubicBezTo>
                    <a:pt x="441" y="669"/>
                    <a:pt x="440" y="654"/>
                    <a:pt x="440" y="645"/>
                  </a:cubicBezTo>
                  <a:cubicBezTo>
                    <a:pt x="444" y="644"/>
                    <a:pt x="448" y="644"/>
                    <a:pt x="452" y="643"/>
                  </a:cubicBezTo>
                  <a:cubicBezTo>
                    <a:pt x="473" y="640"/>
                    <a:pt x="494" y="636"/>
                    <a:pt x="514" y="631"/>
                  </a:cubicBezTo>
                  <a:cubicBezTo>
                    <a:pt x="514" y="632"/>
                    <a:pt x="514" y="635"/>
                    <a:pt x="514" y="639"/>
                  </a:cubicBezTo>
                  <a:cubicBezTo>
                    <a:pt x="514" y="646"/>
                    <a:pt x="514" y="657"/>
                    <a:pt x="515" y="670"/>
                  </a:cubicBezTo>
                  <a:cubicBezTo>
                    <a:pt x="493" y="676"/>
                    <a:pt x="470" y="682"/>
                    <a:pt x="444" y="687"/>
                  </a:cubicBezTo>
                  <a:moveTo>
                    <a:pt x="806" y="670"/>
                  </a:moveTo>
                  <a:cubicBezTo>
                    <a:pt x="799" y="668"/>
                    <a:pt x="794" y="665"/>
                    <a:pt x="788" y="662"/>
                  </a:cubicBezTo>
                  <a:cubicBezTo>
                    <a:pt x="805" y="651"/>
                    <a:pt x="821" y="639"/>
                    <a:pt x="839" y="628"/>
                  </a:cubicBezTo>
                  <a:cubicBezTo>
                    <a:pt x="843" y="631"/>
                    <a:pt x="848" y="634"/>
                    <a:pt x="853" y="636"/>
                  </a:cubicBezTo>
                  <a:cubicBezTo>
                    <a:pt x="846" y="641"/>
                    <a:pt x="839" y="646"/>
                    <a:pt x="832" y="651"/>
                  </a:cubicBezTo>
                  <a:cubicBezTo>
                    <a:pt x="823" y="658"/>
                    <a:pt x="815" y="664"/>
                    <a:pt x="806" y="670"/>
                  </a:cubicBezTo>
                  <a:moveTo>
                    <a:pt x="589" y="674"/>
                  </a:moveTo>
                  <a:cubicBezTo>
                    <a:pt x="587" y="668"/>
                    <a:pt x="585" y="661"/>
                    <a:pt x="583" y="656"/>
                  </a:cubicBezTo>
                  <a:cubicBezTo>
                    <a:pt x="601" y="647"/>
                    <a:pt x="620" y="637"/>
                    <a:pt x="640" y="627"/>
                  </a:cubicBezTo>
                  <a:cubicBezTo>
                    <a:pt x="643" y="634"/>
                    <a:pt x="646" y="641"/>
                    <a:pt x="650" y="648"/>
                  </a:cubicBezTo>
                  <a:cubicBezTo>
                    <a:pt x="629" y="658"/>
                    <a:pt x="608" y="667"/>
                    <a:pt x="589" y="674"/>
                  </a:cubicBezTo>
                  <a:moveTo>
                    <a:pt x="680" y="673"/>
                  </a:moveTo>
                  <a:cubicBezTo>
                    <a:pt x="674" y="667"/>
                    <a:pt x="670" y="660"/>
                    <a:pt x="666" y="654"/>
                  </a:cubicBezTo>
                  <a:cubicBezTo>
                    <a:pt x="686" y="644"/>
                    <a:pt x="707" y="633"/>
                    <a:pt x="728" y="621"/>
                  </a:cubicBezTo>
                  <a:cubicBezTo>
                    <a:pt x="732" y="627"/>
                    <a:pt x="737" y="633"/>
                    <a:pt x="742" y="639"/>
                  </a:cubicBezTo>
                  <a:cubicBezTo>
                    <a:pt x="721" y="652"/>
                    <a:pt x="700" y="663"/>
                    <a:pt x="680" y="673"/>
                  </a:cubicBezTo>
                  <a:moveTo>
                    <a:pt x="526" y="666"/>
                  </a:moveTo>
                  <a:cubicBezTo>
                    <a:pt x="525" y="654"/>
                    <a:pt x="525" y="644"/>
                    <a:pt x="525" y="637"/>
                  </a:cubicBezTo>
                  <a:cubicBezTo>
                    <a:pt x="525" y="632"/>
                    <a:pt x="525" y="629"/>
                    <a:pt x="525" y="629"/>
                  </a:cubicBezTo>
                  <a:cubicBezTo>
                    <a:pt x="521" y="629"/>
                    <a:pt x="521" y="629"/>
                    <a:pt x="521" y="629"/>
                  </a:cubicBezTo>
                  <a:cubicBezTo>
                    <a:pt x="536" y="625"/>
                    <a:pt x="550" y="621"/>
                    <a:pt x="563" y="616"/>
                  </a:cubicBezTo>
                  <a:cubicBezTo>
                    <a:pt x="564" y="621"/>
                    <a:pt x="566" y="633"/>
                    <a:pt x="569" y="649"/>
                  </a:cubicBezTo>
                  <a:cubicBezTo>
                    <a:pt x="566" y="650"/>
                    <a:pt x="563" y="652"/>
                    <a:pt x="560" y="653"/>
                  </a:cubicBezTo>
                  <a:cubicBezTo>
                    <a:pt x="550" y="658"/>
                    <a:pt x="538" y="662"/>
                    <a:pt x="526" y="666"/>
                  </a:cubicBezTo>
                  <a:moveTo>
                    <a:pt x="777" y="655"/>
                  </a:moveTo>
                  <a:cubicBezTo>
                    <a:pt x="771" y="651"/>
                    <a:pt x="765" y="646"/>
                    <a:pt x="760" y="642"/>
                  </a:cubicBezTo>
                  <a:cubicBezTo>
                    <a:pt x="778" y="631"/>
                    <a:pt x="796" y="620"/>
                    <a:pt x="815" y="608"/>
                  </a:cubicBezTo>
                  <a:cubicBezTo>
                    <a:pt x="819" y="612"/>
                    <a:pt x="824" y="616"/>
                    <a:pt x="829" y="620"/>
                  </a:cubicBezTo>
                  <a:cubicBezTo>
                    <a:pt x="811" y="632"/>
                    <a:pt x="794" y="644"/>
                    <a:pt x="777" y="655"/>
                  </a:cubicBezTo>
                  <a:moveTo>
                    <a:pt x="911" y="645"/>
                  </a:moveTo>
                  <a:cubicBezTo>
                    <a:pt x="898" y="642"/>
                    <a:pt x="887" y="639"/>
                    <a:pt x="876" y="634"/>
                  </a:cubicBezTo>
                  <a:cubicBezTo>
                    <a:pt x="892" y="624"/>
                    <a:pt x="907" y="613"/>
                    <a:pt x="924" y="602"/>
                  </a:cubicBezTo>
                  <a:cubicBezTo>
                    <a:pt x="934" y="608"/>
                    <a:pt x="945" y="613"/>
                    <a:pt x="957" y="617"/>
                  </a:cubicBezTo>
                  <a:cubicBezTo>
                    <a:pt x="942" y="626"/>
                    <a:pt x="927" y="635"/>
                    <a:pt x="911" y="645"/>
                  </a:cubicBezTo>
                  <a:moveTo>
                    <a:pt x="660" y="644"/>
                  </a:moveTo>
                  <a:cubicBezTo>
                    <a:pt x="656" y="636"/>
                    <a:pt x="652" y="629"/>
                    <a:pt x="649" y="622"/>
                  </a:cubicBezTo>
                  <a:cubicBezTo>
                    <a:pt x="670" y="612"/>
                    <a:pt x="690" y="600"/>
                    <a:pt x="711" y="589"/>
                  </a:cubicBezTo>
                  <a:cubicBezTo>
                    <a:pt x="714" y="596"/>
                    <a:pt x="718" y="603"/>
                    <a:pt x="722" y="611"/>
                  </a:cubicBezTo>
                  <a:cubicBezTo>
                    <a:pt x="701" y="623"/>
                    <a:pt x="680" y="634"/>
                    <a:pt x="660" y="644"/>
                  </a:cubicBezTo>
                  <a:moveTo>
                    <a:pt x="864" y="629"/>
                  </a:moveTo>
                  <a:cubicBezTo>
                    <a:pt x="859" y="626"/>
                    <a:pt x="854" y="624"/>
                    <a:pt x="849" y="621"/>
                  </a:cubicBezTo>
                  <a:cubicBezTo>
                    <a:pt x="849" y="620"/>
                    <a:pt x="850" y="620"/>
                    <a:pt x="850" y="620"/>
                  </a:cubicBezTo>
                  <a:cubicBezTo>
                    <a:pt x="867" y="609"/>
                    <a:pt x="883" y="597"/>
                    <a:pt x="900" y="586"/>
                  </a:cubicBezTo>
                  <a:cubicBezTo>
                    <a:pt x="904" y="589"/>
                    <a:pt x="908" y="592"/>
                    <a:pt x="913" y="595"/>
                  </a:cubicBezTo>
                  <a:cubicBezTo>
                    <a:pt x="896" y="606"/>
                    <a:pt x="880" y="618"/>
                    <a:pt x="864" y="629"/>
                  </a:cubicBezTo>
                  <a:moveTo>
                    <a:pt x="580" y="644"/>
                  </a:moveTo>
                  <a:cubicBezTo>
                    <a:pt x="575" y="625"/>
                    <a:pt x="574" y="612"/>
                    <a:pt x="574" y="611"/>
                  </a:cubicBezTo>
                  <a:cubicBezTo>
                    <a:pt x="593" y="604"/>
                    <a:pt x="610" y="595"/>
                    <a:pt x="626" y="585"/>
                  </a:cubicBezTo>
                  <a:cubicBezTo>
                    <a:pt x="628" y="593"/>
                    <a:pt x="631" y="604"/>
                    <a:pt x="635" y="616"/>
                  </a:cubicBezTo>
                  <a:cubicBezTo>
                    <a:pt x="616" y="626"/>
                    <a:pt x="598" y="636"/>
                    <a:pt x="580" y="644"/>
                  </a:cubicBezTo>
                  <a:moveTo>
                    <a:pt x="752" y="633"/>
                  </a:moveTo>
                  <a:cubicBezTo>
                    <a:pt x="747" y="627"/>
                    <a:pt x="742" y="621"/>
                    <a:pt x="738" y="615"/>
                  </a:cubicBezTo>
                  <a:cubicBezTo>
                    <a:pt x="756" y="605"/>
                    <a:pt x="775" y="594"/>
                    <a:pt x="793" y="583"/>
                  </a:cubicBezTo>
                  <a:cubicBezTo>
                    <a:pt x="797" y="588"/>
                    <a:pt x="802" y="594"/>
                    <a:pt x="806" y="599"/>
                  </a:cubicBezTo>
                  <a:cubicBezTo>
                    <a:pt x="788" y="611"/>
                    <a:pt x="770" y="623"/>
                    <a:pt x="752" y="633"/>
                  </a:cubicBezTo>
                  <a:moveTo>
                    <a:pt x="440" y="633"/>
                  </a:moveTo>
                  <a:cubicBezTo>
                    <a:pt x="442" y="624"/>
                    <a:pt x="443" y="617"/>
                    <a:pt x="444" y="609"/>
                  </a:cubicBezTo>
                  <a:cubicBezTo>
                    <a:pt x="473" y="603"/>
                    <a:pt x="496" y="597"/>
                    <a:pt x="511" y="589"/>
                  </a:cubicBezTo>
                  <a:cubicBezTo>
                    <a:pt x="517" y="587"/>
                    <a:pt x="523" y="583"/>
                    <a:pt x="529" y="580"/>
                  </a:cubicBezTo>
                  <a:cubicBezTo>
                    <a:pt x="527" y="592"/>
                    <a:pt x="525" y="604"/>
                    <a:pt x="523" y="616"/>
                  </a:cubicBezTo>
                  <a:cubicBezTo>
                    <a:pt x="497" y="623"/>
                    <a:pt x="469" y="628"/>
                    <a:pt x="440" y="633"/>
                  </a:cubicBezTo>
                  <a:moveTo>
                    <a:pt x="839" y="614"/>
                  </a:moveTo>
                  <a:cubicBezTo>
                    <a:pt x="833" y="610"/>
                    <a:pt x="829" y="606"/>
                    <a:pt x="824" y="602"/>
                  </a:cubicBezTo>
                  <a:cubicBezTo>
                    <a:pt x="836" y="594"/>
                    <a:pt x="848" y="587"/>
                    <a:pt x="860" y="579"/>
                  </a:cubicBezTo>
                  <a:cubicBezTo>
                    <a:pt x="866" y="575"/>
                    <a:pt x="873" y="571"/>
                    <a:pt x="879" y="567"/>
                  </a:cubicBezTo>
                  <a:cubicBezTo>
                    <a:pt x="883" y="571"/>
                    <a:pt x="886" y="575"/>
                    <a:pt x="891" y="578"/>
                  </a:cubicBezTo>
                  <a:cubicBezTo>
                    <a:pt x="875" y="589"/>
                    <a:pt x="860" y="599"/>
                    <a:pt x="844" y="610"/>
                  </a:cubicBezTo>
                  <a:cubicBezTo>
                    <a:pt x="842" y="611"/>
                    <a:pt x="840" y="612"/>
                    <a:pt x="839" y="614"/>
                  </a:cubicBezTo>
                  <a:moveTo>
                    <a:pt x="970" y="609"/>
                  </a:moveTo>
                  <a:cubicBezTo>
                    <a:pt x="957" y="605"/>
                    <a:pt x="945" y="600"/>
                    <a:pt x="935" y="595"/>
                  </a:cubicBezTo>
                  <a:cubicBezTo>
                    <a:pt x="951" y="584"/>
                    <a:pt x="968" y="573"/>
                    <a:pt x="985" y="564"/>
                  </a:cubicBezTo>
                  <a:cubicBezTo>
                    <a:pt x="996" y="571"/>
                    <a:pt x="1008" y="577"/>
                    <a:pt x="1022" y="583"/>
                  </a:cubicBezTo>
                  <a:cubicBezTo>
                    <a:pt x="1006" y="591"/>
                    <a:pt x="989" y="600"/>
                    <a:pt x="970" y="609"/>
                  </a:cubicBezTo>
                  <a:moveTo>
                    <a:pt x="731" y="605"/>
                  </a:moveTo>
                  <a:cubicBezTo>
                    <a:pt x="727" y="598"/>
                    <a:pt x="724" y="591"/>
                    <a:pt x="721" y="584"/>
                  </a:cubicBezTo>
                  <a:cubicBezTo>
                    <a:pt x="739" y="573"/>
                    <a:pt x="758" y="563"/>
                    <a:pt x="776" y="552"/>
                  </a:cubicBezTo>
                  <a:cubicBezTo>
                    <a:pt x="777" y="554"/>
                    <a:pt x="778" y="556"/>
                    <a:pt x="779" y="558"/>
                  </a:cubicBezTo>
                  <a:cubicBezTo>
                    <a:pt x="781" y="563"/>
                    <a:pt x="784" y="568"/>
                    <a:pt x="787" y="573"/>
                  </a:cubicBezTo>
                  <a:cubicBezTo>
                    <a:pt x="768" y="584"/>
                    <a:pt x="750" y="595"/>
                    <a:pt x="731" y="605"/>
                  </a:cubicBezTo>
                  <a:moveTo>
                    <a:pt x="923" y="588"/>
                  </a:moveTo>
                  <a:cubicBezTo>
                    <a:pt x="919" y="585"/>
                    <a:pt x="914" y="582"/>
                    <a:pt x="910" y="579"/>
                  </a:cubicBezTo>
                  <a:cubicBezTo>
                    <a:pt x="927" y="568"/>
                    <a:pt x="944" y="557"/>
                    <a:pt x="961" y="547"/>
                  </a:cubicBezTo>
                  <a:cubicBezTo>
                    <a:pt x="965" y="550"/>
                    <a:pt x="969" y="553"/>
                    <a:pt x="974" y="556"/>
                  </a:cubicBezTo>
                  <a:cubicBezTo>
                    <a:pt x="957" y="566"/>
                    <a:pt x="940" y="577"/>
                    <a:pt x="923" y="588"/>
                  </a:cubicBezTo>
                  <a:moveTo>
                    <a:pt x="816" y="593"/>
                  </a:moveTo>
                  <a:cubicBezTo>
                    <a:pt x="811" y="588"/>
                    <a:pt x="807" y="583"/>
                    <a:pt x="803" y="577"/>
                  </a:cubicBezTo>
                  <a:cubicBezTo>
                    <a:pt x="822" y="566"/>
                    <a:pt x="841" y="554"/>
                    <a:pt x="860" y="543"/>
                  </a:cubicBezTo>
                  <a:cubicBezTo>
                    <a:pt x="863" y="548"/>
                    <a:pt x="867" y="553"/>
                    <a:pt x="871" y="558"/>
                  </a:cubicBezTo>
                  <a:cubicBezTo>
                    <a:pt x="865" y="562"/>
                    <a:pt x="860" y="565"/>
                    <a:pt x="854" y="569"/>
                  </a:cubicBezTo>
                  <a:cubicBezTo>
                    <a:pt x="841" y="577"/>
                    <a:pt x="828" y="585"/>
                    <a:pt x="816" y="593"/>
                  </a:cubicBezTo>
                  <a:moveTo>
                    <a:pt x="1037" y="576"/>
                  </a:moveTo>
                  <a:cubicBezTo>
                    <a:pt x="1023" y="571"/>
                    <a:pt x="1009" y="564"/>
                    <a:pt x="996" y="557"/>
                  </a:cubicBezTo>
                  <a:cubicBezTo>
                    <a:pt x="1011" y="549"/>
                    <a:pt x="1026" y="541"/>
                    <a:pt x="1041" y="534"/>
                  </a:cubicBezTo>
                  <a:cubicBezTo>
                    <a:pt x="1052" y="542"/>
                    <a:pt x="1066" y="551"/>
                    <a:pt x="1081" y="558"/>
                  </a:cubicBezTo>
                  <a:cubicBezTo>
                    <a:pt x="1067" y="563"/>
                    <a:pt x="1053" y="569"/>
                    <a:pt x="1037" y="576"/>
                  </a:cubicBezTo>
                  <a:moveTo>
                    <a:pt x="645" y="611"/>
                  </a:moveTo>
                  <a:cubicBezTo>
                    <a:pt x="640" y="597"/>
                    <a:pt x="637" y="586"/>
                    <a:pt x="636" y="579"/>
                  </a:cubicBezTo>
                  <a:cubicBezTo>
                    <a:pt x="641" y="575"/>
                    <a:pt x="646" y="571"/>
                    <a:pt x="651" y="567"/>
                  </a:cubicBezTo>
                  <a:cubicBezTo>
                    <a:pt x="665" y="555"/>
                    <a:pt x="680" y="544"/>
                    <a:pt x="695" y="533"/>
                  </a:cubicBezTo>
                  <a:cubicBezTo>
                    <a:pt x="697" y="544"/>
                    <a:pt x="700" y="560"/>
                    <a:pt x="707" y="578"/>
                  </a:cubicBezTo>
                  <a:cubicBezTo>
                    <a:pt x="686" y="589"/>
                    <a:pt x="665" y="601"/>
                    <a:pt x="645" y="611"/>
                  </a:cubicBezTo>
                  <a:moveTo>
                    <a:pt x="901" y="572"/>
                  </a:moveTo>
                  <a:cubicBezTo>
                    <a:pt x="896" y="568"/>
                    <a:pt x="892" y="564"/>
                    <a:pt x="889" y="561"/>
                  </a:cubicBezTo>
                  <a:cubicBezTo>
                    <a:pt x="906" y="549"/>
                    <a:pt x="924" y="538"/>
                    <a:pt x="941" y="527"/>
                  </a:cubicBezTo>
                  <a:cubicBezTo>
                    <a:pt x="945" y="531"/>
                    <a:pt x="948" y="535"/>
                    <a:pt x="952" y="539"/>
                  </a:cubicBezTo>
                  <a:cubicBezTo>
                    <a:pt x="935" y="549"/>
                    <a:pt x="918" y="560"/>
                    <a:pt x="901" y="572"/>
                  </a:cubicBezTo>
                  <a:moveTo>
                    <a:pt x="985" y="550"/>
                  </a:moveTo>
                  <a:cubicBezTo>
                    <a:pt x="981" y="547"/>
                    <a:pt x="976" y="544"/>
                    <a:pt x="972" y="540"/>
                  </a:cubicBezTo>
                  <a:cubicBezTo>
                    <a:pt x="987" y="531"/>
                    <a:pt x="1003" y="522"/>
                    <a:pt x="1018" y="514"/>
                  </a:cubicBezTo>
                  <a:cubicBezTo>
                    <a:pt x="1022" y="518"/>
                    <a:pt x="1026" y="522"/>
                    <a:pt x="1030" y="525"/>
                  </a:cubicBezTo>
                  <a:cubicBezTo>
                    <a:pt x="1015" y="533"/>
                    <a:pt x="1000" y="541"/>
                    <a:pt x="985" y="550"/>
                  </a:cubicBezTo>
                  <a:moveTo>
                    <a:pt x="797" y="567"/>
                  </a:moveTo>
                  <a:cubicBezTo>
                    <a:pt x="792" y="560"/>
                    <a:pt x="789" y="553"/>
                    <a:pt x="786" y="547"/>
                  </a:cubicBezTo>
                  <a:cubicBezTo>
                    <a:pt x="802" y="538"/>
                    <a:pt x="817" y="529"/>
                    <a:pt x="833" y="520"/>
                  </a:cubicBezTo>
                  <a:cubicBezTo>
                    <a:pt x="836" y="518"/>
                    <a:pt x="840" y="516"/>
                    <a:pt x="843" y="514"/>
                  </a:cubicBezTo>
                  <a:cubicBezTo>
                    <a:pt x="844" y="516"/>
                    <a:pt x="845" y="518"/>
                    <a:pt x="846" y="520"/>
                  </a:cubicBezTo>
                  <a:cubicBezTo>
                    <a:pt x="848" y="524"/>
                    <a:pt x="851" y="528"/>
                    <a:pt x="853" y="533"/>
                  </a:cubicBezTo>
                  <a:cubicBezTo>
                    <a:pt x="834" y="544"/>
                    <a:pt x="815" y="556"/>
                    <a:pt x="797" y="567"/>
                  </a:cubicBezTo>
                  <a:moveTo>
                    <a:pt x="535" y="612"/>
                  </a:moveTo>
                  <a:cubicBezTo>
                    <a:pt x="537" y="599"/>
                    <a:pt x="540" y="585"/>
                    <a:pt x="541" y="572"/>
                  </a:cubicBezTo>
                  <a:cubicBezTo>
                    <a:pt x="565" y="557"/>
                    <a:pt x="590" y="538"/>
                    <a:pt x="619" y="517"/>
                  </a:cubicBezTo>
                  <a:cubicBezTo>
                    <a:pt x="622" y="515"/>
                    <a:pt x="626" y="512"/>
                    <a:pt x="629" y="510"/>
                  </a:cubicBezTo>
                  <a:cubicBezTo>
                    <a:pt x="627" y="530"/>
                    <a:pt x="623" y="552"/>
                    <a:pt x="618" y="574"/>
                  </a:cubicBezTo>
                  <a:cubicBezTo>
                    <a:pt x="621" y="575"/>
                    <a:pt x="621" y="575"/>
                    <a:pt x="621" y="575"/>
                  </a:cubicBezTo>
                  <a:cubicBezTo>
                    <a:pt x="596" y="591"/>
                    <a:pt x="567" y="603"/>
                    <a:pt x="535" y="612"/>
                  </a:cubicBezTo>
                  <a:moveTo>
                    <a:pt x="446" y="596"/>
                  </a:moveTo>
                  <a:cubicBezTo>
                    <a:pt x="449" y="573"/>
                    <a:pt x="450" y="552"/>
                    <a:pt x="450" y="530"/>
                  </a:cubicBezTo>
                  <a:cubicBezTo>
                    <a:pt x="484" y="524"/>
                    <a:pt x="514" y="517"/>
                    <a:pt x="535" y="508"/>
                  </a:cubicBezTo>
                  <a:cubicBezTo>
                    <a:pt x="535" y="527"/>
                    <a:pt x="533" y="546"/>
                    <a:pt x="531" y="565"/>
                  </a:cubicBezTo>
                  <a:cubicBezTo>
                    <a:pt x="522" y="570"/>
                    <a:pt x="514" y="575"/>
                    <a:pt x="507" y="579"/>
                  </a:cubicBezTo>
                  <a:cubicBezTo>
                    <a:pt x="493" y="585"/>
                    <a:pt x="472" y="591"/>
                    <a:pt x="446" y="596"/>
                  </a:cubicBezTo>
                  <a:moveTo>
                    <a:pt x="880" y="552"/>
                  </a:moveTo>
                  <a:cubicBezTo>
                    <a:pt x="876" y="547"/>
                    <a:pt x="873" y="542"/>
                    <a:pt x="869" y="537"/>
                  </a:cubicBezTo>
                  <a:cubicBezTo>
                    <a:pt x="887" y="526"/>
                    <a:pt x="905" y="515"/>
                    <a:pt x="923" y="504"/>
                  </a:cubicBezTo>
                  <a:cubicBezTo>
                    <a:pt x="926" y="509"/>
                    <a:pt x="930" y="514"/>
                    <a:pt x="933" y="518"/>
                  </a:cubicBezTo>
                  <a:cubicBezTo>
                    <a:pt x="916" y="529"/>
                    <a:pt x="898" y="540"/>
                    <a:pt x="880" y="552"/>
                  </a:cubicBezTo>
                  <a:moveTo>
                    <a:pt x="1121" y="497"/>
                  </a:moveTo>
                  <a:cubicBezTo>
                    <a:pt x="1095" y="497"/>
                    <a:pt x="1095" y="497"/>
                    <a:pt x="1095" y="497"/>
                  </a:cubicBezTo>
                  <a:cubicBezTo>
                    <a:pt x="1096" y="497"/>
                    <a:pt x="1096" y="498"/>
                    <a:pt x="1096" y="498"/>
                  </a:cubicBezTo>
                  <a:cubicBezTo>
                    <a:pt x="1078" y="504"/>
                    <a:pt x="1060" y="512"/>
                    <a:pt x="1042" y="520"/>
                  </a:cubicBezTo>
                  <a:cubicBezTo>
                    <a:pt x="1037" y="516"/>
                    <a:pt x="1033" y="512"/>
                    <a:pt x="1029" y="509"/>
                  </a:cubicBezTo>
                  <a:cubicBezTo>
                    <a:pt x="1037" y="505"/>
                    <a:pt x="1045" y="501"/>
                    <a:pt x="1053" y="497"/>
                  </a:cubicBezTo>
                  <a:cubicBezTo>
                    <a:pt x="1026" y="497"/>
                    <a:pt x="1026" y="497"/>
                    <a:pt x="1026" y="497"/>
                  </a:cubicBezTo>
                  <a:cubicBezTo>
                    <a:pt x="1024" y="498"/>
                    <a:pt x="1022" y="499"/>
                    <a:pt x="1020" y="500"/>
                  </a:cubicBezTo>
                  <a:cubicBezTo>
                    <a:pt x="1019" y="499"/>
                    <a:pt x="1018" y="498"/>
                    <a:pt x="1018" y="497"/>
                  </a:cubicBezTo>
                  <a:cubicBezTo>
                    <a:pt x="1003" y="497"/>
                    <a:pt x="1003" y="497"/>
                    <a:pt x="1003" y="497"/>
                  </a:cubicBezTo>
                  <a:cubicBezTo>
                    <a:pt x="1005" y="500"/>
                    <a:pt x="1007" y="503"/>
                    <a:pt x="1010" y="505"/>
                  </a:cubicBezTo>
                  <a:cubicBezTo>
                    <a:pt x="994" y="514"/>
                    <a:pt x="978" y="523"/>
                    <a:pt x="963" y="532"/>
                  </a:cubicBezTo>
                  <a:cubicBezTo>
                    <a:pt x="959" y="529"/>
                    <a:pt x="955" y="525"/>
                    <a:pt x="951" y="521"/>
                  </a:cubicBezTo>
                  <a:cubicBezTo>
                    <a:pt x="965" y="513"/>
                    <a:pt x="979" y="505"/>
                    <a:pt x="992" y="497"/>
                  </a:cubicBezTo>
                  <a:cubicBezTo>
                    <a:pt x="969" y="497"/>
                    <a:pt x="969" y="497"/>
                    <a:pt x="969" y="497"/>
                  </a:cubicBezTo>
                  <a:cubicBezTo>
                    <a:pt x="960" y="502"/>
                    <a:pt x="952" y="507"/>
                    <a:pt x="943" y="512"/>
                  </a:cubicBezTo>
                  <a:cubicBezTo>
                    <a:pt x="940" y="508"/>
                    <a:pt x="936" y="503"/>
                    <a:pt x="933" y="499"/>
                  </a:cubicBezTo>
                  <a:cubicBezTo>
                    <a:pt x="934" y="498"/>
                    <a:pt x="935" y="498"/>
                    <a:pt x="936" y="497"/>
                  </a:cubicBezTo>
                  <a:cubicBezTo>
                    <a:pt x="913" y="497"/>
                    <a:pt x="913" y="497"/>
                    <a:pt x="913" y="497"/>
                  </a:cubicBezTo>
                  <a:cubicBezTo>
                    <a:pt x="896" y="507"/>
                    <a:pt x="880" y="517"/>
                    <a:pt x="863" y="527"/>
                  </a:cubicBezTo>
                  <a:cubicBezTo>
                    <a:pt x="859" y="521"/>
                    <a:pt x="856" y="515"/>
                    <a:pt x="853" y="508"/>
                  </a:cubicBezTo>
                  <a:cubicBezTo>
                    <a:pt x="860" y="505"/>
                    <a:pt x="866" y="501"/>
                    <a:pt x="873" y="497"/>
                  </a:cubicBezTo>
                  <a:cubicBezTo>
                    <a:pt x="837" y="497"/>
                    <a:pt x="837" y="497"/>
                    <a:pt x="837" y="497"/>
                  </a:cubicBezTo>
                  <a:cubicBezTo>
                    <a:pt x="837" y="499"/>
                    <a:pt x="838" y="501"/>
                    <a:pt x="839" y="503"/>
                  </a:cubicBezTo>
                  <a:cubicBezTo>
                    <a:pt x="835" y="505"/>
                    <a:pt x="831" y="507"/>
                    <a:pt x="828" y="509"/>
                  </a:cubicBezTo>
                  <a:cubicBezTo>
                    <a:pt x="812" y="518"/>
                    <a:pt x="797" y="527"/>
                    <a:pt x="782" y="536"/>
                  </a:cubicBezTo>
                  <a:cubicBezTo>
                    <a:pt x="776" y="521"/>
                    <a:pt x="774" y="507"/>
                    <a:pt x="772" y="497"/>
                  </a:cubicBezTo>
                  <a:cubicBezTo>
                    <a:pt x="761" y="497"/>
                    <a:pt x="761" y="497"/>
                    <a:pt x="761" y="497"/>
                  </a:cubicBezTo>
                  <a:cubicBezTo>
                    <a:pt x="763" y="508"/>
                    <a:pt x="766" y="524"/>
                    <a:pt x="772" y="541"/>
                  </a:cubicBezTo>
                  <a:cubicBezTo>
                    <a:pt x="753" y="552"/>
                    <a:pt x="735" y="562"/>
                    <a:pt x="716" y="573"/>
                  </a:cubicBezTo>
                  <a:cubicBezTo>
                    <a:pt x="709" y="553"/>
                    <a:pt x="707" y="536"/>
                    <a:pt x="706" y="526"/>
                  </a:cubicBezTo>
                  <a:cubicBezTo>
                    <a:pt x="720" y="516"/>
                    <a:pt x="734" y="506"/>
                    <a:pt x="749" y="497"/>
                  </a:cubicBezTo>
                  <a:cubicBezTo>
                    <a:pt x="727" y="497"/>
                    <a:pt x="727" y="497"/>
                    <a:pt x="727" y="497"/>
                  </a:cubicBezTo>
                  <a:cubicBezTo>
                    <a:pt x="724" y="499"/>
                    <a:pt x="721" y="501"/>
                    <a:pt x="718" y="503"/>
                  </a:cubicBezTo>
                  <a:cubicBezTo>
                    <a:pt x="719" y="501"/>
                    <a:pt x="719" y="499"/>
                    <a:pt x="719" y="497"/>
                  </a:cubicBezTo>
                  <a:cubicBezTo>
                    <a:pt x="708" y="497"/>
                    <a:pt x="708" y="497"/>
                    <a:pt x="708" y="497"/>
                  </a:cubicBezTo>
                  <a:cubicBezTo>
                    <a:pt x="707" y="502"/>
                    <a:pt x="706" y="507"/>
                    <a:pt x="706" y="511"/>
                  </a:cubicBezTo>
                  <a:cubicBezTo>
                    <a:pt x="703" y="513"/>
                    <a:pt x="701" y="515"/>
                    <a:pt x="698" y="516"/>
                  </a:cubicBezTo>
                  <a:cubicBezTo>
                    <a:pt x="694" y="517"/>
                    <a:pt x="694" y="517"/>
                    <a:pt x="694" y="517"/>
                  </a:cubicBezTo>
                  <a:cubicBezTo>
                    <a:pt x="694" y="517"/>
                    <a:pt x="694" y="518"/>
                    <a:pt x="694" y="520"/>
                  </a:cubicBezTo>
                  <a:cubicBezTo>
                    <a:pt x="677" y="532"/>
                    <a:pt x="660" y="545"/>
                    <a:pt x="645" y="558"/>
                  </a:cubicBezTo>
                  <a:cubicBezTo>
                    <a:pt x="640" y="561"/>
                    <a:pt x="636" y="564"/>
                    <a:pt x="631" y="568"/>
                  </a:cubicBezTo>
                  <a:cubicBezTo>
                    <a:pt x="636" y="544"/>
                    <a:pt x="639" y="522"/>
                    <a:pt x="642" y="500"/>
                  </a:cubicBezTo>
                  <a:cubicBezTo>
                    <a:pt x="643" y="499"/>
                    <a:pt x="645" y="498"/>
                    <a:pt x="646" y="497"/>
                  </a:cubicBezTo>
                  <a:cubicBezTo>
                    <a:pt x="626" y="497"/>
                    <a:pt x="626" y="497"/>
                    <a:pt x="626" y="497"/>
                  </a:cubicBezTo>
                  <a:cubicBezTo>
                    <a:pt x="622" y="501"/>
                    <a:pt x="617" y="504"/>
                    <a:pt x="612" y="507"/>
                  </a:cubicBezTo>
                  <a:cubicBezTo>
                    <a:pt x="587" y="526"/>
                    <a:pt x="564" y="543"/>
                    <a:pt x="543" y="557"/>
                  </a:cubicBezTo>
                  <a:cubicBezTo>
                    <a:pt x="545" y="539"/>
                    <a:pt x="546" y="521"/>
                    <a:pt x="546" y="504"/>
                  </a:cubicBezTo>
                  <a:cubicBezTo>
                    <a:pt x="551" y="502"/>
                    <a:pt x="555" y="499"/>
                    <a:pt x="559" y="497"/>
                  </a:cubicBezTo>
                  <a:cubicBezTo>
                    <a:pt x="532" y="497"/>
                    <a:pt x="532" y="497"/>
                    <a:pt x="532" y="497"/>
                  </a:cubicBezTo>
                  <a:cubicBezTo>
                    <a:pt x="511" y="505"/>
                    <a:pt x="483" y="512"/>
                    <a:pt x="450" y="518"/>
                  </a:cubicBezTo>
                  <a:cubicBezTo>
                    <a:pt x="450" y="511"/>
                    <a:pt x="450" y="504"/>
                    <a:pt x="450" y="497"/>
                  </a:cubicBezTo>
                  <a:cubicBezTo>
                    <a:pt x="438" y="497"/>
                    <a:pt x="438" y="497"/>
                    <a:pt x="438" y="497"/>
                  </a:cubicBezTo>
                  <a:cubicBezTo>
                    <a:pt x="439" y="505"/>
                    <a:pt x="439" y="512"/>
                    <a:pt x="439" y="520"/>
                  </a:cubicBezTo>
                  <a:cubicBezTo>
                    <a:pt x="434" y="521"/>
                    <a:pt x="428" y="522"/>
                    <a:pt x="423" y="523"/>
                  </a:cubicBezTo>
                  <a:cubicBezTo>
                    <a:pt x="423" y="535"/>
                    <a:pt x="423" y="535"/>
                    <a:pt x="423" y="535"/>
                  </a:cubicBezTo>
                  <a:cubicBezTo>
                    <a:pt x="428" y="534"/>
                    <a:pt x="434" y="533"/>
                    <a:pt x="439" y="532"/>
                  </a:cubicBezTo>
                  <a:cubicBezTo>
                    <a:pt x="439" y="554"/>
                    <a:pt x="437" y="576"/>
                    <a:pt x="434" y="598"/>
                  </a:cubicBezTo>
                  <a:cubicBezTo>
                    <a:pt x="431" y="599"/>
                    <a:pt x="427" y="600"/>
                    <a:pt x="423" y="600"/>
                  </a:cubicBezTo>
                  <a:cubicBezTo>
                    <a:pt x="423" y="612"/>
                    <a:pt x="423" y="612"/>
                    <a:pt x="423" y="612"/>
                  </a:cubicBezTo>
                  <a:cubicBezTo>
                    <a:pt x="426" y="612"/>
                    <a:pt x="429" y="611"/>
                    <a:pt x="433" y="611"/>
                  </a:cubicBezTo>
                  <a:cubicBezTo>
                    <a:pt x="431" y="618"/>
                    <a:pt x="430" y="626"/>
                    <a:pt x="429" y="634"/>
                  </a:cubicBezTo>
                  <a:cubicBezTo>
                    <a:pt x="430" y="634"/>
                    <a:pt x="430" y="634"/>
                    <a:pt x="430" y="634"/>
                  </a:cubicBezTo>
                  <a:cubicBezTo>
                    <a:pt x="427" y="634"/>
                    <a:pt x="425" y="635"/>
                    <a:pt x="423" y="635"/>
                  </a:cubicBezTo>
                  <a:cubicBezTo>
                    <a:pt x="423" y="647"/>
                    <a:pt x="423" y="647"/>
                    <a:pt x="423" y="647"/>
                  </a:cubicBezTo>
                  <a:cubicBezTo>
                    <a:pt x="425" y="647"/>
                    <a:pt x="427" y="646"/>
                    <a:pt x="429" y="646"/>
                  </a:cubicBezTo>
                  <a:cubicBezTo>
                    <a:pt x="429" y="656"/>
                    <a:pt x="430" y="671"/>
                    <a:pt x="433" y="690"/>
                  </a:cubicBezTo>
                  <a:cubicBezTo>
                    <a:pt x="429" y="690"/>
                    <a:pt x="426" y="691"/>
                    <a:pt x="423" y="691"/>
                  </a:cubicBezTo>
                  <a:cubicBezTo>
                    <a:pt x="423" y="704"/>
                    <a:pt x="423" y="704"/>
                    <a:pt x="423" y="704"/>
                  </a:cubicBezTo>
                  <a:cubicBezTo>
                    <a:pt x="427" y="703"/>
                    <a:pt x="431" y="702"/>
                    <a:pt x="434" y="702"/>
                  </a:cubicBezTo>
                  <a:cubicBezTo>
                    <a:pt x="435" y="708"/>
                    <a:pt x="437" y="715"/>
                    <a:pt x="438" y="722"/>
                  </a:cubicBezTo>
                  <a:cubicBezTo>
                    <a:pt x="433" y="723"/>
                    <a:pt x="428" y="725"/>
                    <a:pt x="423" y="726"/>
                  </a:cubicBezTo>
                  <a:cubicBezTo>
                    <a:pt x="423" y="739"/>
                    <a:pt x="423" y="739"/>
                    <a:pt x="423" y="739"/>
                  </a:cubicBezTo>
                  <a:cubicBezTo>
                    <a:pt x="429" y="737"/>
                    <a:pt x="435" y="735"/>
                    <a:pt x="440" y="734"/>
                  </a:cubicBezTo>
                  <a:cubicBezTo>
                    <a:pt x="442" y="741"/>
                    <a:pt x="444" y="748"/>
                    <a:pt x="446" y="755"/>
                  </a:cubicBezTo>
                  <a:cubicBezTo>
                    <a:pt x="439" y="758"/>
                    <a:pt x="433" y="760"/>
                    <a:pt x="426" y="763"/>
                  </a:cubicBezTo>
                  <a:cubicBezTo>
                    <a:pt x="425" y="764"/>
                    <a:pt x="424" y="764"/>
                    <a:pt x="423" y="765"/>
                  </a:cubicBezTo>
                  <a:cubicBezTo>
                    <a:pt x="423" y="778"/>
                    <a:pt x="423" y="778"/>
                    <a:pt x="423" y="778"/>
                  </a:cubicBezTo>
                  <a:cubicBezTo>
                    <a:pt x="425" y="777"/>
                    <a:pt x="428" y="776"/>
                    <a:pt x="430" y="775"/>
                  </a:cubicBezTo>
                  <a:cubicBezTo>
                    <a:pt x="437" y="772"/>
                    <a:pt x="443" y="769"/>
                    <a:pt x="449" y="766"/>
                  </a:cubicBezTo>
                  <a:cubicBezTo>
                    <a:pt x="451" y="773"/>
                    <a:pt x="454" y="780"/>
                    <a:pt x="456" y="787"/>
                  </a:cubicBezTo>
                  <a:cubicBezTo>
                    <a:pt x="445" y="794"/>
                    <a:pt x="434" y="800"/>
                    <a:pt x="423" y="807"/>
                  </a:cubicBezTo>
                  <a:cubicBezTo>
                    <a:pt x="423" y="821"/>
                    <a:pt x="423" y="821"/>
                    <a:pt x="423" y="821"/>
                  </a:cubicBezTo>
                  <a:cubicBezTo>
                    <a:pt x="423" y="821"/>
                    <a:pt x="423" y="820"/>
                    <a:pt x="424" y="820"/>
                  </a:cubicBezTo>
                  <a:cubicBezTo>
                    <a:pt x="436" y="813"/>
                    <a:pt x="449" y="805"/>
                    <a:pt x="461" y="798"/>
                  </a:cubicBezTo>
                  <a:cubicBezTo>
                    <a:pt x="464" y="805"/>
                    <a:pt x="467" y="811"/>
                    <a:pt x="470" y="817"/>
                  </a:cubicBezTo>
                  <a:cubicBezTo>
                    <a:pt x="456" y="828"/>
                    <a:pt x="441" y="839"/>
                    <a:pt x="426" y="851"/>
                  </a:cubicBezTo>
                  <a:cubicBezTo>
                    <a:pt x="425" y="852"/>
                    <a:pt x="424" y="853"/>
                    <a:pt x="423" y="854"/>
                  </a:cubicBezTo>
                  <a:cubicBezTo>
                    <a:pt x="423" y="869"/>
                    <a:pt x="423" y="869"/>
                    <a:pt x="423" y="869"/>
                  </a:cubicBezTo>
                  <a:cubicBezTo>
                    <a:pt x="426" y="866"/>
                    <a:pt x="429" y="864"/>
                    <a:pt x="433" y="861"/>
                  </a:cubicBezTo>
                  <a:cubicBezTo>
                    <a:pt x="448" y="849"/>
                    <a:pt x="462" y="838"/>
                    <a:pt x="476" y="828"/>
                  </a:cubicBezTo>
                  <a:cubicBezTo>
                    <a:pt x="483" y="841"/>
                    <a:pt x="493" y="854"/>
                    <a:pt x="503" y="866"/>
                  </a:cubicBezTo>
                  <a:cubicBezTo>
                    <a:pt x="488" y="881"/>
                    <a:pt x="470" y="899"/>
                    <a:pt x="449" y="916"/>
                  </a:cubicBezTo>
                  <a:cubicBezTo>
                    <a:pt x="440" y="905"/>
                    <a:pt x="431" y="892"/>
                    <a:pt x="423" y="879"/>
                  </a:cubicBezTo>
                  <a:cubicBezTo>
                    <a:pt x="423" y="900"/>
                    <a:pt x="423" y="900"/>
                    <a:pt x="423" y="900"/>
                  </a:cubicBezTo>
                  <a:cubicBezTo>
                    <a:pt x="428" y="909"/>
                    <a:pt x="434" y="916"/>
                    <a:pt x="441" y="924"/>
                  </a:cubicBezTo>
                  <a:cubicBezTo>
                    <a:pt x="435" y="929"/>
                    <a:pt x="429" y="933"/>
                    <a:pt x="423" y="938"/>
                  </a:cubicBezTo>
                  <a:cubicBezTo>
                    <a:pt x="423" y="953"/>
                    <a:pt x="423" y="953"/>
                    <a:pt x="423" y="953"/>
                  </a:cubicBezTo>
                  <a:cubicBezTo>
                    <a:pt x="464" y="922"/>
                    <a:pt x="496" y="890"/>
                    <a:pt x="521" y="864"/>
                  </a:cubicBezTo>
                  <a:cubicBezTo>
                    <a:pt x="544" y="841"/>
                    <a:pt x="563" y="823"/>
                    <a:pt x="578" y="814"/>
                  </a:cubicBezTo>
                  <a:cubicBezTo>
                    <a:pt x="596" y="805"/>
                    <a:pt x="610" y="803"/>
                    <a:pt x="626" y="803"/>
                  </a:cubicBezTo>
                  <a:cubicBezTo>
                    <a:pt x="630" y="803"/>
                    <a:pt x="633" y="803"/>
                    <a:pt x="637" y="803"/>
                  </a:cubicBezTo>
                  <a:cubicBezTo>
                    <a:pt x="641" y="803"/>
                    <a:pt x="645" y="804"/>
                    <a:pt x="649" y="804"/>
                  </a:cubicBezTo>
                  <a:cubicBezTo>
                    <a:pt x="669" y="804"/>
                    <a:pt x="694" y="801"/>
                    <a:pt x="726" y="786"/>
                  </a:cubicBezTo>
                  <a:cubicBezTo>
                    <a:pt x="728" y="786"/>
                    <a:pt x="734" y="786"/>
                    <a:pt x="734" y="786"/>
                  </a:cubicBezTo>
                  <a:cubicBezTo>
                    <a:pt x="734" y="783"/>
                    <a:pt x="734" y="783"/>
                    <a:pt x="734" y="783"/>
                  </a:cubicBezTo>
                  <a:cubicBezTo>
                    <a:pt x="744" y="775"/>
                    <a:pt x="771" y="761"/>
                    <a:pt x="796" y="743"/>
                  </a:cubicBezTo>
                  <a:cubicBezTo>
                    <a:pt x="797" y="743"/>
                    <a:pt x="798" y="743"/>
                    <a:pt x="800" y="743"/>
                  </a:cubicBezTo>
                  <a:cubicBezTo>
                    <a:pt x="800" y="738"/>
                    <a:pt x="800" y="738"/>
                    <a:pt x="800" y="738"/>
                  </a:cubicBezTo>
                  <a:cubicBezTo>
                    <a:pt x="801" y="737"/>
                    <a:pt x="802" y="737"/>
                    <a:pt x="803" y="736"/>
                  </a:cubicBezTo>
                  <a:cubicBezTo>
                    <a:pt x="862" y="689"/>
                    <a:pt x="920" y="651"/>
                    <a:pt x="972" y="622"/>
                  </a:cubicBezTo>
                  <a:cubicBezTo>
                    <a:pt x="974" y="623"/>
                    <a:pt x="976" y="624"/>
                    <a:pt x="978" y="624"/>
                  </a:cubicBezTo>
                  <a:cubicBezTo>
                    <a:pt x="980" y="618"/>
                    <a:pt x="980" y="618"/>
                    <a:pt x="980" y="618"/>
                  </a:cubicBezTo>
                  <a:cubicBezTo>
                    <a:pt x="1037" y="587"/>
                    <a:pt x="1086" y="567"/>
                    <a:pt x="1121" y="559"/>
                  </a:cubicBezTo>
                  <a:cubicBezTo>
                    <a:pt x="1121" y="546"/>
                    <a:pt x="1121" y="546"/>
                    <a:pt x="1121" y="546"/>
                  </a:cubicBezTo>
                  <a:cubicBezTo>
                    <a:pt x="1114" y="548"/>
                    <a:pt x="1106" y="550"/>
                    <a:pt x="1097" y="553"/>
                  </a:cubicBezTo>
                  <a:cubicBezTo>
                    <a:pt x="1080" y="545"/>
                    <a:pt x="1066" y="537"/>
                    <a:pt x="1053" y="528"/>
                  </a:cubicBezTo>
                  <a:cubicBezTo>
                    <a:pt x="1070" y="520"/>
                    <a:pt x="1088" y="513"/>
                    <a:pt x="1106" y="507"/>
                  </a:cubicBezTo>
                  <a:cubicBezTo>
                    <a:pt x="1111" y="512"/>
                    <a:pt x="1116" y="516"/>
                    <a:pt x="1121" y="520"/>
                  </a:cubicBezTo>
                  <a:cubicBezTo>
                    <a:pt x="1121" y="505"/>
                    <a:pt x="1121" y="505"/>
                    <a:pt x="1121" y="505"/>
                  </a:cubicBezTo>
                  <a:cubicBezTo>
                    <a:pt x="1121" y="504"/>
                    <a:pt x="1120" y="504"/>
                    <a:pt x="1119" y="503"/>
                  </a:cubicBezTo>
                  <a:cubicBezTo>
                    <a:pt x="1120" y="503"/>
                    <a:pt x="1121" y="503"/>
                    <a:pt x="1121" y="503"/>
                  </a:cubicBezTo>
                  <a:cubicBezTo>
                    <a:pt x="1121" y="497"/>
                    <a:pt x="1121" y="497"/>
                    <a:pt x="1121" y="497"/>
                  </a:cubicBezTo>
                  <a:moveTo>
                    <a:pt x="1818" y="496"/>
                  </a:moveTo>
                  <a:cubicBezTo>
                    <a:pt x="1817" y="497"/>
                    <a:pt x="1817" y="497"/>
                    <a:pt x="1817" y="497"/>
                  </a:cubicBezTo>
                  <a:cubicBezTo>
                    <a:pt x="1818" y="497"/>
                    <a:pt x="1818" y="497"/>
                    <a:pt x="1818" y="497"/>
                  </a:cubicBezTo>
                  <a:cubicBezTo>
                    <a:pt x="1818" y="496"/>
                    <a:pt x="1818" y="496"/>
                    <a:pt x="1818" y="496"/>
                  </a:cubicBezTo>
                  <a:moveTo>
                    <a:pt x="1152" y="355"/>
                  </a:moveTo>
                  <a:cubicBezTo>
                    <a:pt x="1143" y="355"/>
                    <a:pt x="1133" y="357"/>
                    <a:pt x="1121" y="360"/>
                  </a:cubicBezTo>
                  <a:cubicBezTo>
                    <a:pt x="1121" y="372"/>
                    <a:pt x="1121" y="372"/>
                    <a:pt x="1121" y="372"/>
                  </a:cubicBezTo>
                  <a:cubicBezTo>
                    <a:pt x="1133" y="369"/>
                    <a:pt x="1143" y="367"/>
                    <a:pt x="1151" y="367"/>
                  </a:cubicBezTo>
                  <a:cubicBezTo>
                    <a:pt x="1155" y="367"/>
                    <a:pt x="1158" y="367"/>
                    <a:pt x="1161" y="368"/>
                  </a:cubicBezTo>
                  <a:cubicBezTo>
                    <a:pt x="1164" y="356"/>
                    <a:pt x="1164" y="356"/>
                    <a:pt x="1164" y="356"/>
                  </a:cubicBezTo>
                  <a:cubicBezTo>
                    <a:pt x="1161" y="355"/>
                    <a:pt x="1157" y="355"/>
                    <a:pt x="1152" y="355"/>
                  </a:cubicBezTo>
                  <a:moveTo>
                    <a:pt x="1142" y="309"/>
                  </a:moveTo>
                  <a:cubicBezTo>
                    <a:pt x="1141" y="309"/>
                    <a:pt x="1134" y="311"/>
                    <a:pt x="1121" y="315"/>
                  </a:cubicBezTo>
                  <a:cubicBezTo>
                    <a:pt x="1121" y="328"/>
                    <a:pt x="1121" y="328"/>
                    <a:pt x="1121" y="328"/>
                  </a:cubicBezTo>
                  <a:cubicBezTo>
                    <a:pt x="1136" y="323"/>
                    <a:pt x="1144" y="320"/>
                    <a:pt x="1145" y="320"/>
                  </a:cubicBezTo>
                  <a:cubicBezTo>
                    <a:pt x="1142" y="309"/>
                    <a:pt x="1142" y="309"/>
                    <a:pt x="1142" y="309"/>
                  </a:cubicBezTo>
                  <a:moveTo>
                    <a:pt x="87" y="491"/>
                  </a:moveTo>
                  <a:cubicBezTo>
                    <a:pt x="101" y="482"/>
                    <a:pt x="114" y="473"/>
                    <a:pt x="127" y="463"/>
                  </a:cubicBezTo>
                  <a:cubicBezTo>
                    <a:pt x="130" y="470"/>
                    <a:pt x="133" y="478"/>
                    <a:pt x="136" y="487"/>
                  </a:cubicBezTo>
                  <a:cubicBezTo>
                    <a:pt x="119" y="489"/>
                    <a:pt x="102" y="490"/>
                    <a:pt x="87" y="491"/>
                  </a:cubicBezTo>
                  <a:moveTo>
                    <a:pt x="42" y="495"/>
                  </a:moveTo>
                  <a:cubicBezTo>
                    <a:pt x="39" y="491"/>
                    <a:pt x="36" y="488"/>
                    <a:pt x="34" y="487"/>
                  </a:cubicBezTo>
                  <a:cubicBezTo>
                    <a:pt x="38" y="484"/>
                    <a:pt x="42" y="481"/>
                    <a:pt x="46" y="479"/>
                  </a:cubicBezTo>
                  <a:cubicBezTo>
                    <a:pt x="62" y="467"/>
                    <a:pt x="78" y="456"/>
                    <a:pt x="93" y="446"/>
                  </a:cubicBezTo>
                  <a:cubicBezTo>
                    <a:pt x="96" y="445"/>
                    <a:pt x="105" y="444"/>
                    <a:pt x="117" y="442"/>
                  </a:cubicBezTo>
                  <a:cubicBezTo>
                    <a:pt x="118" y="445"/>
                    <a:pt x="120" y="448"/>
                    <a:pt x="122" y="453"/>
                  </a:cubicBezTo>
                  <a:cubicBezTo>
                    <a:pt x="103" y="466"/>
                    <a:pt x="83" y="480"/>
                    <a:pt x="64" y="493"/>
                  </a:cubicBezTo>
                  <a:cubicBezTo>
                    <a:pt x="56" y="494"/>
                    <a:pt x="49" y="495"/>
                    <a:pt x="42" y="495"/>
                  </a:cubicBezTo>
                  <a:moveTo>
                    <a:pt x="132" y="446"/>
                  </a:moveTo>
                  <a:cubicBezTo>
                    <a:pt x="131" y="444"/>
                    <a:pt x="130" y="442"/>
                    <a:pt x="129" y="441"/>
                  </a:cubicBezTo>
                  <a:cubicBezTo>
                    <a:pt x="133" y="440"/>
                    <a:pt x="137" y="440"/>
                    <a:pt x="142" y="439"/>
                  </a:cubicBezTo>
                  <a:cubicBezTo>
                    <a:pt x="138" y="441"/>
                    <a:pt x="135" y="444"/>
                    <a:pt x="132" y="446"/>
                  </a:cubicBezTo>
                  <a:moveTo>
                    <a:pt x="148" y="486"/>
                  </a:moveTo>
                  <a:cubicBezTo>
                    <a:pt x="144" y="474"/>
                    <a:pt x="141" y="465"/>
                    <a:pt x="137" y="457"/>
                  </a:cubicBezTo>
                  <a:cubicBezTo>
                    <a:pt x="147" y="449"/>
                    <a:pt x="157" y="442"/>
                    <a:pt x="167" y="435"/>
                  </a:cubicBezTo>
                  <a:cubicBezTo>
                    <a:pt x="178" y="434"/>
                    <a:pt x="190" y="432"/>
                    <a:pt x="203" y="430"/>
                  </a:cubicBezTo>
                  <a:cubicBezTo>
                    <a:pt x="210" y="429"/>
                    <a:pt x="217" y="428"/>
                    <a:pt x="225" y="426"/>
                  </a:cubicBezTo>
                  <a:cubicBezTo>
                    <a:pt x="230" y="440"/>
                    <a:pt x="236" y="457"/>
                    <a:pt x="241" y="476"/>
                  </a:cubicBezTo>
                  <a:cubicBezTo>
                    <a:pt x="208" y="479"/>
                    <a:pt x="177" y="483"/>
                    <a:pt x="148" y="486"/>
                  </a:cubicBezTo>
                  <a:moveTo>
                    <a:pt x="252" y="474"/>
                  </a:moveTo>
                  <a:cubicBezTo>
                    <a:pt x="248" y="455"/>
                    <a:pt x="242" y="438"/>
                    <a:pt x="237" y="424"/>
                  </a:cubicBezTo>
                  <a:cubicBezTo>
                    <a:pt x="265" y="420"/>
                    <a:pt x="296" y="414"/>
                    <a:pt x="328" y="409"/>
                  </a:cubicBezTo>
                  <a:cubicBezTo>
                    <a:pt x="333" y="425"/>
                    <a:pt x="338" y="442"/>
                    <a:pt x="342" y="462"/>
                  </a:cubicBezTo>
                  <a:cubicBezTo>
                    <a:pt x="312" y="467"/>
                    <a:pt x="282" y="471"/>
                    <a:pt x="252" y="474"/>
                  </a:cubicBezTo>
                  <a:moveTo>
                    <a:pt x="189" y="420"/>
                  </a:moveTo>
                  <a:cubicBezTo>
                    <a:pt x="197" y="414"/>
                    <a:pt x="206" y="408"/>
                    <a:pt x="214" y="402"/>
                  </a:cubicBezTo>
                  <a:cubicBezTo>
                    <a:pt x="216" y="406"/>
                    <a:pt x="218" y="410"/>
                    <a:pt x="220" y="415"/>
                  </a:cubicBezTo>
                  <a:cubicBezTo>
                    <a:pt x="209" y="417"/>
                    <a:pt x="199" y="418"/>
                    <a:pt x="189" y="420"/>
                  </a:cubicBezTo>
                  <a:moveTo>
                    <a:pt x="115" y="431"/>
                  </a:moveTo>
                  <a:cubicBezTo>
                    <a:pt x="142" y="412"/>
                    <a:pt x="167" y="396"/>
                    <a:pt x="189" y="381"/>
                  </a:cubicBezTo>
                  <a:cubicBezTo>
                    <a:pt x="190" y="386"/>
                    <a:pt x="190" y="386"/>
                    <a:pt x="190" y="386"/>
                  </a:cubicBezTo>
                  <a:cubicBezTo>
                    <a:pt x="191" y="386"/>
                    <a:pt x="195" y="385"/>
                    <a:pt x="204" y="383"/>
                  </a:cubicBezTo>
                  <a:cubicBezTo>
                    <a:pt x="205" y="385"/>
                    <a:pt x="207" y="388"/>
                    <a:pt x="209" y="392"/>
                  </a:cubicBezTo>
                  <a:cubicBezTo>
                    <a:pt x="194" y="402"/>
                    <a:pt x="178" y="413"/>
                    <a:pt x="163" y="424"/>
                  </a:cubicBezTo>
                  <a:cubicBezTo>
                    <a:pt x="147" y="426"/>
                    <a:pt x="133" y="428"/>
                    <a:pt x="122" y="430"/>
                  </a:cubicBezTo>
                  <a:cubicBezTo>
                    <a:pt x="122" y="429"/>
                    <a:pt x="121" y="428"/>
                    <a:pt x="121" y="428"/>
                  </a:cubicBezTo>
                  <a:cubicBezTo>
                    <a:pt x="119" y="430"/>
                    <a:pt x="119" y="430"/>
                    <a:pt x="119" y="430"/>
                  </a:cubicBezTo>
                  <a:cubicBezTo>
                    <a:pt x="118" y="430"/>
                    <a:pt x="116" y="430"/>
                    <a:pt x="115" y="431"/>
                  </a:cubicBezTo>
                  <a:moveTo>
                    <a:pt x="218" y="385"/>
                  </a:moveTo>
                  <a:cubicBezTo>
                    <a:pt x="217" y="383"/>
                    <a:pt x="216" y="382"/>
                    <a:pt x="215" y="380"/>
                  </a:cubicBezTo>
                  <a:cubicBezTo>
                    <a:pt x="220" y="379"/>
                    <a:pt x="225" y="378"/>
                    <a:pt x="230" y="376"/>
                  </a:cubicBezTo>
                  <a:cubicBezTo>
                    <a:pt x="226" y="379"/>
                    <a:pt x="222" y="382"/>
                    <a:pt x="218" y="385"/>
                  </a:cubicBezTo>
                  <a:moveTo>
                    <a:pt x="232" y="413"/>
                  </a:moveTo>
                  <a:cubicBezTo>
                    <a:pt x="229" y="406"/>
                    <a:pt x="226" y="401"/>
                    <a:pt x="224" y="395"/>
                  </a:cubicBezTo>
                  <a:cubicBezTo>
                    <a:pt x="236" y="386"/>
                    <a:pt x="249" y="377"/>
                    <a:pt x="262" y="369"/>
                  </a:cubicBezTo>
                  <a:cubicBezTo>
                    <a:pt x="276" y="365"/>
                    <a:pt x="291" y="361"/>
                    <a:pt x="308" y="357"/>
                  </a:cubicBezTo>
                  <a:cubicBezTo>
                    <a:pt x="313" y="368"/>
                    <a:pt x="319" y="381"/>
                    <a:pt x="324" y="397"/>
                  </a:cubicBezTo>
                  <a:cubicBezTo>
                    <a:pt x="292" y="403"/>
                    <a:pt x="261" y="408"/>
                    <a:pt x="232" y="413"/>
                  </a:cubicBezTo>
                  <a:moveTo>
                    <a:pt x="289" y="349"/>
                  </a:moveTo>
                  <a:cubicBezTo>
                    <a:pt x="293" y="347"/>
                    <a:pt x="297" y="344"/>
                    <a:pt x="300" y="341"/>
                  </a:cubicBezTo>
                  <a:cubicBezTo>
                    <a:pt x="301" y="343"/>
                    <a:pt x="302" y="344"/>
                    <a:pt x="303" y="346"/>
                  </a:cubicBezTo>
                  <a:cubicBezTo>
                    <a:pt x="298" y="347"/>
                    <a:pt x="293" y="348"/>
                    <a:pt x="289" y="349"/>
                  </a:cubicBezTo>
                  <a:moveTo>
                    <a:pt x="335" y="395"/>
                  </a:moveTo>
                  <a:cubicBezTo>
                    <a:pt x="330" y="379"/>
                    <a:pt x="324" y="365"/>
                    <a:pt x="319" y="354"/>
                  </a:cubicBezTo>
                  <a:cubicBezTo>
                    <a:pt x="346" y="347"/>
                    <a:pt x="375" y="339"/>
                    <a:pt x="406" y="330"/>
                  </a:cubicBezTo>
                  <a:cubicBezTo>
                    <a:pt x="411" y="344"/>
                    <a:pt x="416" y="360"/>
                    <a:pt x="421" y="378"/>
                  </a:cubicBezTo>
                  <a:cubicBezTo>
                    <a:pt x="392" y="384"/>
                    <a:pt x="364" y="390"/>
                    <a:pt x="335" y="395"/>
                  </a:cubicBezTo>
                  <a:moveTo>
                    <a:pt x="207" y="370"/>
                  </a:moveTo>
                  <a:cubicBezTo>
                    <a:pt x="239" y="349"/>
                    <a:pt x="267" y="332"/>
                    <a:pt x="292" y="317"/>
                  </a:cubicBezTo>
                  <a:cubicBezTo>
                    <a:pt x="288" y="320"/>
                    <a:pt x="288" y="320"/>
                    <a:pt x="288" y="320"/>
                  </a:cubicBezTo>
                  <a:cubicBezTo>
                    <a:pt x="288" y="320"/>
                    <a:pt x="291" y="324"/>
                    <a:pt x="295" y="331"/>
                  </a:cubicBezTo>
                  <a:cubicBezTo>
                    <a:pt x="283" y="339"/>
                    <a:pt x="270" y="348"/>
                    <a:pt x="257" y="357"/>
                  </a:cubicBezTo>
                  <a:cubicBezTo>
                    <a:pt x="236" y="363"/>
                    <a:pt x="219" y="367"/>
                    <a:pt x="207" y="370"/>
                  </a:cubicBezTo>
                  <a:moveTo>
                    <a:pt x="298" y="314"/>
                  </a:moveTo>
                  <a:cubicBezTo>
                    <a:pt x="298" y="314"/>
                    <a:pt x="298" y="314"/>
                    <a:pt x="298" y="313"/>
                  </a:cubicBezTo>
                  <a:cubicBezTo>
                    <a:pt x="298" y="313"/>
                    <a:pt x="298" y="313"/>
                    <a:pt x="298" y="313"/>
                  </a:cubicBezTo>
                  <a:cubicBezTo>
                    <a:pt x="298" y="314"/>
                    <a:pt x="298" y="314"/>
                    <a:pt x="298" y="314"/>
                  </a:cubicBezTo>
                  <a:moveTo>
                    <a:pt x="304" y="324"/>
                  </a:moveTo>
                  <a:cubicBezTo>
                    <a:pt x="303" y="322"/>
                    <a:pt x="302" y="321"/>
                    <a:pt x="302" y="320"/>
                  </a:cubicBezTo>
                  <a:cubicBezTo>
                    <a:pt x="304" y="319"/>
                    <a:pt x="311" y="316"/>
                    <a:pt x="322" y="312"/>
                  </a:cubicBezTo>
                  <a:cubicBezTo>
                    <a:pt x="316" y="316"/>
                    <a:pt x="310" y="320"/>
                    <a:pt x="304" y="324"/>
                  </a:cubicBezTo>
                  <a:moveTo>
                    <a:pt x="314" y="343"/>
                  </a:moveTo>
                  <a:cubicBezTo>
                    <a:pt x="312" y="340"/>
                    <a:pt x="311" y="337"/>
                    <a:pt x="310" y="334"/>
                  </a:cubicBezTo>
                  <a:cubicBezTo>
                    <a:pt x="331" y="320"/>
                    <a:pt x="350" y="306"/>
                    <a:pt x="368" y="293"/>
                  </a:cubicBezTo>
                  <a:cubicBezTo>
                    <a:pt x="375" y="290"/>
                    <a:pt x="381" y="287"/>
                    <a:pt x="388" y="285"/>
                  </a:cubicBezTo>
                  <a:cubicBezTo>
                    <a:pt x="392" y="294"/>
                    <a:pt x="397" y="305"/>
                    <a:pt x="402" y="319"/>
                  </a:cubicBezTo>
                  <a:cubicBezTo>
                    <a:pt x="371" y="327"/>
                    <a:pt x="341" y="336"/>
                    <a:pt x="314" y="343"/>
                  </a:cubicBezTo>
                  <a:moveTo>
                    <a:pt x="322" y="299"/>
                  </a:moveTo>
                  <a:cubicBezTo>
                    <a:pt x="342" y="286"/>
                    <a:pt x="360" y="275"/>
                    <a:pt x="377" y="264"/>
                  </a:cubicBezTo>
                  <a:cubicBezTo>
                    <a:pt x="378" y="265"/>
                    <a:pt x="379" y="267"/>
                    <a:pt x="380" y="270"/>
                  </a:cubicBezTo>
                  <a:cubicBezTo>
                    <a:pt x="375" y="274"/>
                    <a:pt x="369" y="278"/>
                    <a:pt x="363" y="282"/>
                  </a:cubicBezTo>
                  <a:cubicBezTo>
                    <a:pt x="347" y="289"/>
                    <a:pt x="333" y="294"/>
                    <a:pt x="322" y="299"/>
                  </a:cubicBezTo>
                  <a:moveTo>
                    <a:pt x="423" y="215"/>
                  </a:moveTo>
                  <a:cubicBezTo>
                    <a:pt x="386" y="246"/>
                    <a:pt x="346" y="270"/>
                    <a:pt x="292" y="303"/>
                  </a:cubicBezTo>
                  <a:cubicBezTo>
                    <a:pt x="230" y="341"/>
                    <a:pt x="152" y="389"/>
                    <a:pt x="40" y="469"/>
                  </a:cubicBezTo>
                  <a:cubicBezTo>
                    <a:pt x="26" y="478"/>
                    <a:pt x="12" y="488"/>
                    <a:pt x="0" y="497"/>
                  </a:cubicBezTo>
                  <a:cubicBezTo>
                    <a:pt x="20" y="497"/>
                    <a:pt x="20" y="497"/>
                    <a:pt x="20" y="497"/>
                  </a:cubicBezTo>
                  <a:cubicBezTo>
                    <a:pt x="23" y="495"/>
                    <a:pt x="25" y="493"/>
                    <a:pt x="28" y="491"/>
                  </a:cubicBezTo>
                  <a:cubicBezTo>
                    <a:pt x="26" y="495"/>
                    <a:pt x="26" y="495"/>
                    <a:pt x="26" y="495"/>
                  </a:cubicBezTo>
                  <a:cubicBezTo>
                    <a:pt x="26" y="495"/>
                    <a:pt x="26" y="496"/>
                    <a:pt x="27" y="496"/>
                  </a:cubicBezTo>
                  <a:cubicBezTo>
                    <a:pt x="25" y="497"/>
                    <a:pt x="23" y="497"/>
                    <a:pt x="20" y="497"/>
                  </a:cubicBezTo>
                  <a:cubicBezTo>
                    <a:pt x="157" y="497"/>
                    <a:pt x="157" y="497"/>
                    <a:pt x="157" y="497"/>
                  </a:cubicBezTo>
                  <a:cubicBezTo>
                    <a:pt x="185" y="494"/>
                    <a:pt x="214" y="491"/>
                    <a:pt x="243" y="488"/>
                  </a:cubicBezTo>
                  <a:cubicBezTo>
                    <a:pt x="244" y="491"/>
                    <a:pt x="245" y="494"/>
                    <a:pt x="245" y="497"/>
                  </a:cubicBezTo>
                  <a:cubicBezTo>
                    <a:pt x="257" y="497"/>
                    <a:pt x="257" y="497"/>
                    <a:pt x="257" y="497"/>
                  </a:cubicBezTo>
                  <a:cubicBezTo>
                    <a:pt x="256" y="493"/>
                    <a:pt x="256" y="490"/>
                    <a:pt x="255" y="486"/>
                  </a:cubicBezTo>
                  <a:cubicBezTo>
                    <a:pt x="284" y="483"/>
                    <a:pt x="314" y="479"/>
                    <a:pt x="344" y="474"/>
                  </a:cubicBezTo>
                  <a:cubicBezTo>
                    <a:pt x="345" y="482"/>
                    <a:pt x="346" y="489"/>
                    <a:pt x="347" y="497"/>
                  </a:cubicBezTo>
                  <a:cubicBezTo>
                    <a:pt x="358" y="497"/>
                    <a:pt x="358" y="497"/>
                    <a:pt x="358" y="497"/>
                  </a:cubicBezTo>
                  <a:cubicBezTo>
                    <a:pt x="357" y="489"/>
                    <a:pt x="356" y="480"/>
                    <a:pt x="355" y="472"/>
                  </a:cubicBezTo>
                  <a:cubicBezTo>
                    <a:pt x="357" y="472"/>
                    <a:pt x="358" y="472"/>
                    <a:pt x="360" y="472"/>
                  </a:cubicBezTo>
                  <a:cubicBezTo>
                    <a:pt x="382" y="468"/>
                    <a:pt x="403" y="465"/>
                    <a:pt x="423" y="461"/>
                  </a:cubicBezTo>
                  <a:cubicBezTo>
                    <a:pt x="423" y="449"/>
                    <a:pt x="423" y="449"/>
                    <a:pt x="423" y="449"/>
                  </a:cubicBezTo>
                  <a:cubicBezTo>
                    <a:pt x="400" y="453"/>
                    <a:pt x="377" y="457"/>
                    <a:pt x="353" y="460"/>
                  </a:cubicBezTo>
                  <a:cubicBezTo>
                    <a:pt x="349" y="441"/>
                    <a:pt x="344" y="423"/>
                    <a:pt x="339" y="406"/>
                  </a:cubicBezTo>
                  <a:cubicBezTo>
                    <a:pt x="367" y="401"/>
                    <a:pt x="395" y="395"/>
                    <a:pt x="423" y="389"/>
                  </a:cubicBezTo>
                  <a:cubicBezTo>
                    <a:pt x="423" y="345"/>
                    <a:pt x="423" y="345"/>
                    <a:pt x="423" y="345"/>
                  </a:cubicBezTo>
                  <a:cubicBezTo>
                    <a:pt x="421" y="338"/>
                    <a:pt x="419" y="332"/>
                    <a:pt x="417" y="327"/>
                  </a:cubicBezTo>
                  <a:cubicBezTo>
                    <a:pt x="419" y="326"/>
                    <a:pt x="421" y="326"/>
                    <a:pt x="423" y="325"/>
                  </a:cubicBezTo>
                  <a:cubicBezTo>
                    <a:pt x="423" y="313"/>
                    <a:pt x="423" y="313"/>
                    <a:pt x="423" y="313"/>
                  </a:cubicBezTo>
                  <a:cubicBezTo>
                    <a:pt x="419" y="314"/>
                    <a:pt x="416" y="315"/>
                    <a:pt x="413" y="316"/>
                  </a:cubicBezTo>
                  <a:cubicBezTo>
                    <a:pt x="408" y="302"/>
                    <a:pt x="403" y="290"/>
                    <a:pt x="398" y="280"/>
                  </a:cubicBezTo>
                  <a:cubicBezTo>
                    <a:pt x="406" y="277"/>
                    <a:pt x="414" y="274"/>
                    <a:pt x="423" y="270"/>
                  </a:cubicBezTo>
                  <a:cubicBezTo>
                    <a:pt x="423" y="258"/>
                    <a:pt x="423" y="258"/>
                    <a:pt x="423" y="258"/>
                  </a:cubicBezTo>
                  <a:cubicBezTo>
                    <a:pt x="418" y="259"/>
                    <a:pt x="414" y="261"/>
                    <a:pt x="410" y="263"/>
                  </a:cubicBezTo>
                  <a:cubicBezTo>
                    <a:pt x="414" y="260"/>
                    <a:pt x="419" y="256"/>
                    <a:pt x="423" y="253"/>
                  </a:cubicBezTo>
                  <a:cubicBezTo>
                    <a:pt x="423" y="239"/>
                    <a:pt x="423" y="239"/>
                    <a:pt x="423" y="239"/>
                  </a:cubicBezTo>
                  <a:cubicBezTo>
                    <a:pt x="413" y="246"/>
                    <a:pt x="402" y="254"/>
                    <a:pt x="390" y="263"/>
                  </a:cubicBezTo>
                  <a:cubicBezTo>
                    <a:pt x="388" y="260"/>
                    <a:pt x="387" y="258"/>
                    <a:pt x="387" y="257"/>
                  </a:cubicBezTo>
                  <a:cubicBezTo>
                    <a:pt x="387" y="257"/>
                    <a:pt x="388" y="256"/>
                    <a:pt x="389" y="256"/>
                  </a:cubicBezTo>
                  <a:cubicBezTo>
                    <a:pt x="390" y="257"/>
                    <a:pt x="390" y="257"/>
                    <a:pt x="390" y="257"/>
                  </a:cubicBezTo>
                  <a:cubicBezTo>
                    <a:pt x="391" y="257"/>
                    <a:pt x="402" y="248"/>
                    <a:pt x="423" y="235"/>
                  </a:cubicBezTo>
                  <a:cubicBezTo>
                    <a:pt x="423" y="215"/>
                    <a:pt x="423" y="215"/>
                    <a:pt x="423" y="215"/>
                  </a:cubicBezTo>
                  <a:moveTo>
                    <a:pt x="1421" y="483"/>
                  </a:moveTo>
                  <a:cubicBezTo>
                    <a:pt x="1422" y="480"/>
                    <a:pt x="1424" y="477"/>
                    <a:pt x="1425" y="474"/>
                  </a:cubicBezTo>
                  <a:cubicBezTo>
                    <a:pt x="1436" y="475"/>
                    <a:pt x="1446" y="475"/>
                    <a:pt x="1454" y="475"/>
                  </a:cubicBezTo>
                  <a:cubicBezTo>
                    <a:pt x="1455" y="476"/>
                    <a:pt x="1455" y="476"/>
                    <a:pt x="1455" y="476"/>
                  </a:cubicBezTo>
                  <a:cubicBezTo>
                    <a:pt x="1445" y="478"/>
                    <a:pt x="1434" y="481"/>
                    <a:pt x="1421" y="483"/>
                  </a:cubicBezTo>
                  <a:moveTo>
                    <a:pt x="1378" y="489"/>
                  </a:moveTo>
                  <a:cubicBezTo>
                    <a:pt x="1376" y="483"/>
                    <a:pt x="1375" y="476"/>
                    <a:pt x="1375" y="469"/>
                  </a:cubicBezTo>
                  <a:cubicBezTo>
                    <a:pt x="1375" y="467"/>
                    <a:pt x="1375" y="466"/>
                    <a:pt x="1375" y="464"/>
                  </a:cubicBezTo>
                  <a:cubicBezTo>
                    <a:pt x="1389" y="468"/>
                    <a:pt x="1402" y="470"/>
                    <a:pt x="1414" y="472"/>
                  </a:cubicBezTo>
                  <a:cubicBezTo>
                    <a:pt x="1411" y="477"/>
                    <a:pt x="1410" y="481"/>
                    <a:pt x="1409" y="486"/>
                  </a:cubicBezTo>
                  <a:cubicBezTo>
                    <a:pt x="1399" y="487"/>
                    <a:pt x="1389" y="489"/>
                    <a:pt x="1378" y="489"/>
                  </a:cubicBezTo>
                  <a:moveTo>
                    <a:pt x="1418" y="465"/>
                  </a:moveTo>
                  <a:cubicBezTo>
                    <a:pt x="1405" y="463"/>
                    <a:pt x="1391" y="460"/>
                    <a:pt x="1376" y="455"/>
                  </a:cubicBezTo>
                  <a:cubicBezTo>
                    <a:pt x="1377" y="452"/>
                    <a:pt x="1378" y="448"/>
                    <a:pt x="1379" y="444"/>
                  </a:cubicBezTo>
                  <a:cubicBezTo>
                    <a:pt x="1393" y="451"/>
                    <a:pt x="1407" y="457"/>
                    <a:pt x="1419" y="462"/>
                  </a:cubicBezTo>
                  <a:cubicBezTo>
                    <a:pt x="1419" y="463"/>
                    <a:pt x="1418" y="464"/>
                    <a:pt x="1418" y="465"/>
                  </a:cubicBezTo>
                  <a:moveTo>
                    <a:pt x="1539" y="464"/>
                  </a:moveTo>
                  <a:cubicBezTo>
                    <a:pt x="1553" y="459"/>
                    <a:pt x="1571" y="452"/>
                    <a:pt x="1589" y="444"/>
                  </a:cubicBezTo>
                  <a:cubicBezTo>
                    <a:pt x="1589" y="448"/>
                    <a:pt x="1587" y="452"/>
                    <a:pt x="1585" y="457"/>
                  </a:cubicBezTo>
                  <a:cubicBezTo>
                    <a:pt x="1569" y="460"/>
                    <a:pt x="1553" y="462"/>
                    <a:pt x="1539" y="464"/>
                  </a:cubicBezTo>
                  <a:moveTo>
                    <a:pt x="1350" y="491"/>
                  </a:moveTo>
                  <a:cubicBezTo>
                    <a:pt x="1341" y="491"/>
                    <a:pt x="1331" y="490"/>
                    <a:pt x="1322" y="489"/>
                  </a:cubicBezTo>
                  <a:cubicBezTo>
                    <a:pt x="1321" y="488"/>
                    <a:pt x="1321" y="487"/>
                    <a:pt x="1320" y="486"/>
                  </a:cubicBezTo>
                  <a:cubicBezTo>
                    <a:pt x="1315" y="474"/>
                    <a:pt x="1312" y="461"/>
                    <a:pt x="1312" y="447"/>
                  </a:cubicBezTo>
                  <a:cubicBezTo>
                    <a:pt x="1312" y="444"/>
                    <a:pt x="1312" y="442"/>
                    <a:pt x="1313" y="440"/>
                  </a:cubicBezTo>
                  <a:cubicBezTo>
                    <a:pt x="1331" y="449"/>
                    <a:pt x="1348" y="456"/>
                    <a:pt x="1365" y="461"/>
                  </a:cubicBezTo>
                  <a:cubicBezTo>
                    <a:pt x="1364" y="464"/>
                    <a:pt x="1364" y="467"/>
                    <a:pt x="1364" y="471"/>
                  </a:cubicBezTo>
                  <a:cubicBezTo>
                    <a:pt x="1364" y="477"/>
                    <a:pt x="1365" y="484"/>
                    <a:pt x="1367" y="490"/>
                  </a:cubicBezTo>
                  <a:cubicBezTo>
                    <a:pt x="1361" y="491"/>
                    <a:pt x="1356" y="491"/>
                    <a:pt x="1350" y="491"/>
                  </a:cubicBezTo>
                  <a:moveTo>
                    <a:pt x="1651" y="485"/>
                  </a:moveTo>
                  <a:cubicBezTo>
                    <a:pt x="1667" y="472"/>
                    <a:pt x="1681" y="458"/>
                    <a:pt x="1693" y="443"/>
                  </a:cubicBezTo>
                  <a:cubicBezTo>
                    <a:pt x="1700" y="441"/>
                    <a:pt x="1707" y="438"/>
                    <a:pt x="1714" y="436"/>
                  </a:cubicBezTo>
                  <a:cubicBezTo>
                    <a:pt x="1695" y="454"/>
                    <a:pt x="1674" y="470"/>
                    <a:pt x="1651" y="485"/>
                  </a:cubicBezTo>
                  <a:moveTo>
                    <a:pt x="1469" y="448"/>
                  </a:moveTo>
                  <a:cubicBezTo>
                    <a:pt x="1466" y="445"/>
                    <a:pt x="1463" y="441"/>
                    <a:pt x="1460" y="436"/>
                  </a:cubicBezTo>
                  <a:cubicBezTo>
                    <a:pt x="1461" y="436"/>
                    <a:pt x="1462" y="435"/>
                    <a:pt x="1464" y="434"/>
                  </a:cubicBezTo>
                  <a:cubicBezTo>
                    <a:pt x="1465" y="439"/>
                    <a:pt x="1467" y="444"/>
                    <a:pt x="1469" y="448"/>
                  </a:cubicBezTo>
                  <a:moveTo>
                    <a:pt x="1207" y="430"/>
                  </a:moveTo>
                  <a:cubicBezTo>
                    <a:pt x="1207" y="427"/>
                    <a:pt x="1207" y="427"/>
                    <a:pt x="1207" y="427"/>
                  </a:cubicBezTo>
                  <a:cubicBezTo>
                    <a:pt x="1213" y="435"/>
                    <a:pt x="1219" y="442"/>
                    <a:pt x="1225" y="449"/>
                  </a:cubicBezTo>
                  <a:cubicBezTo>
                    <a:pt x="1215" y="448"/>
                    <a:pt x="1205" y="447"/>
                    <a:pt x="1195" y="447"/>
                  </a:cubicBezTo>
                  <a:cubicBezTo>
                    <a:pt x="1184" y="447"/>
                    <a:pt x="1173" y="448"/>
                    <a:pt x="1161" y="450"/>
                  </a:cubicBezTo>
                  <a:cubicBezTo>
                    <a:pt x="1156" y="444"/>
                    <a:pt x="1152" y="438"/>
                    <a:pt x="1148" y="432"/>
                  </a:cubicBezTo>
                  <a:cubicBezTo>
                    <a:pt x="1160" y="429"/>
                    <a:pt x="1172" y="428"/>
                    <a:pt x="1183" y="428"/>
                  </a:cubicBezTo>
                  <a:cubicBezTo>
                    <a:pt x="1191" y="428"/>
                    <a:pt x="1199" y="429"/>
                    <a:pt x="1207" y="430"/>
                  </a:cubicBezTo>
                  <a:moveTo>
                    <a:pt x="1483" y="451"/>
                  </a:moveTo>
                  <a:cubicBezTo>
                    <a:pt x="1480" y="445"/>
                    <a:pt x="1477" y="437"/>
                    <a:pt x="1474" y="427"/>
                  </a:cubicBezTo>
                  <a:cubicBezTo>
                    <a:pt x="1476" y="426"/>
                    <a:pt x="1479" y="424"/>
                    <a:pt x="1482" y="423"/>
                  </a:cubicBezTo>
                  <a:cubicBezTo>
                    <a:pt x="1482" y="434"/>
                    <a:pt x="1482" y="444"/>
                    <a:pt x="1483" y="451"/>
                  </a:cubicBezTo>
                  <a:moveTo>
                    <a:pt x="1400" y="432"/>
                  </a:moveTo>
                  <a:cubicBezTo>
                    <a:pt x="1396" y="429"/>
                    <a:pt x="1392" y="426"/>
                    <a:pt x="1387" y="423"/>
                  </a:cubicBezTo>
                  <a:cubicBezTo>
                    <a:pt x="1388" y="423"/>
                    <a:pt x="1388" y="422"/>
                    <a:pt x="1388" y="421"/>
                  </a:cubicBezTo>
                  <a:cubicBezTo>
                    <a:pt x="1392" y="425"/>
                    <a:pt x="1396" y="428"/>
                    <a:pt x="1400" y="432"/>
                  </a:cubicBezTo>
                  <a:moveTo>
                    <a:pt x="1703" y="461"/>
                  </a:moveTo>
                  <a:cubicBezTo>
                    <a:pt x="1717" y="449"/>
                    <a:pt x="1729" y="437"/>
                    <a:pt x="1740" y="424"/>
                  </a:cubicBezTo>
                  <a:cubicBezTo>
                    <a:pt x="1743" y="423"/>
                    <a:pt x="1746" y="422"/>
                    <a:pt x="1748" y="421"/>
                  </a:cubicBezTo>
                  <a:cubicBezTo>
                    <a:pt x="1733" y="436"/>
                    <a:pt x="1718" y="449"/>
                    <a:pt x="1703" y="461"/>
                  </a:cubicBezTo>
                  <a:moveTo>
                    <a:pt x="1309" y="487"/>
                  </a:moveTo>
                  <a:cubicBezTo>
                    <a:pt x="1307" y="487"/>
                    <a:pt x="1305" y="486"/>
                    <a:pt x="1303" y="486"/>
                  </a:cubicBezTo>
                  <a:cubicBezTo>
                    <a:pt x="1296" y="477"/>
                    <a:pt x="1290" y="468"/>
                    <a:pt x="1286" y="458"/>
                  </a:cubicBezTo>
                  <a:cubicBezTo>
                    <a:pt x="1281" y="446"/>
                    <a:pt x="1277" y="433"/>
                    <a:pt x="1276" y="419"/>
                  </a:cubicBezTo>
                  <a:cubicBezTo>
                    <a:pt x="1284" y="425"/>
                    <a:pt x="1293" y="430"/>
                    <a:pt x="1302" y="434"/>
                  </a:cubicBezTo>
                  <a:cubicBezTo>
                    <a:pt x="1301" y="438"/>
                    <a:pt x="1301" y="442"/>
                    <a:pt x="1301" y="446"/>
                  </a:cubicBezTo>
                  <a:cubicBezTo>
                    <a:pt x="1301" y="461"/>
                    <a:pt x="1304" y="474"/>
                    <a:pt x="1309" y="487"/>
                  </a:cubicBezTo>
                  <a:moveTo>
                    <a:pt x="1494" y="450"/>
                  </a:moveTo>
                  <a:cubicBezTo>
                    <a:pt x="1494" y="443"/>
                    <a:pt x="1493" y="433"/>
                    <a:pt x="1493" y="421"/>
                  </a:cubicBezTo>
                  <a:cubicBezTo>
                    <a:pt x="1493" y="420"/>
                    <a:pt x="1493" y="419"/>
                    <a:pt x="1493" y="418"/>
                  </a:cubicBezTo>
                  <a:cubicBezTo>
                    <a:pt x="1497" y="416"/>
                    <a:pt x="1501" y="414"/>
                    <a:pt x="1505" y="413"/>
                  </a:cubicBezTo>
                  <a:cubicBezTo>
                    <a:pt x="1501" y="429"/>
                    <a:pt x="1497" y="442"/>
                    <a:pt x="1494" y="450"/>
                  </a:cubicBezTo>
                  <a:moveTo>
                    <a:pt x="1553" y="427"/>
                  </a:moveTo>
                  <a:cubicBezTo>
                    <a:pt x="1557" y="421"/>
                    <a:pt x="1562" y="416"/>
                    <a:pt x="1567" y="410"/>
                  </a:cubicBezTo>
                  <a:cubicBezTo>
                    <a:pt x="1569" y="410"/>
                    <a:pt x="1570" y="411"/>
                    <a:pt x="1571" y="411"/>
                  </a:cubicBezTo>
                  <a:cubicBezTo>
                    <a:pt x="1565" y="417"/>
                    <a:pt x="1559" y="422"/>
                    <a:pt x="1553" y="427"/>
                  </a:cubicBezTo>
                  <a:moveTo>
                    <a:pt x="1366" y="452"/>
                  </a:moveTo>
                  <a:cubicBezTo>
                    <a:pt x="1349" y="447"/>
                    <a:pt x="1332" y="439"/>
                    <a:pt x="1313" y="430"/>
                  </a:cubicBezTo>
                  <a:cubicBezTo>
                    <a:pt x="1314" y="423"/>
                    <a:pt x="1316" y="416"/>
                    <a:pt x="1318" y="409"/>
                  </a:cubicBezTo>
                  <a:cubicBezTo>
                    <a:pt x="1336" y="420"/>
                    <a:pt x="1353" y="430"/>
                    <a:pt x="1369" y="439"/>
                  </a:cubicBezTo>
                  <a:cubicBezTo>
                    <a:pt x="1368" y="443"/>
                    <a:pt x="1367" y="448"/>
                    <a:pt x="1366" y="452"/>
                  </a:cubicBezTo>
                  <a:moveTo>
                    <a:pt x="1507" y="445"/>
                  </a:moveTo>
                  <a:cubicBezTo>
                    <a:pt x="1510" y="436"/>
                    <a:pt x="1514" y="424"/>
                    <a:pt x="1518" y="409"/>
                  </a:cubicBezTo>
                  <a:cubicBezTo>
                    <a:pt x="1521" y="409"/>
                    <a:pt x="1525" y="408"/>
                    <a:pt x="1528" y="407"/>
                  </a:cubicBezTo>
                  <a:cubicBezTo>
                    <a:pt x="1529" y="407"/>
                    <a:pt x="1530" y="407"/>
                    <a:pt x="1531" y="407"/>
                  </a:cubicBezTo>
                  <a:cubicBezTo>
                    <a:pt x="1522" y="423"/>
                    <a:pt x="1514" y="436"/>
                    <a:pt x="1507" y="445"/>
                  </a:cubicBezTo>
                  <a:moveTo>
                    <a:pt x="1527" y="437"/>
                  </a:moveTo>
                  <a:cubicBezTo>
                    <a:pt x="1532" y="428"/>
                    <a:pt x="1538" y="418"/>
                    <a:pt x="1545" y="406"/>
                  </a:cubicBezTo>
                  <a:cubicBezTo>
                    <a:pt x="1545" y="406"/>
                    <a:pt x="1545" y="406"/>
                    <a:pt x="1545" y="406"/>
                  </a:cubicBezTo>
                  <a:cubicBezTo>
                    <a:pt x="1548" y="406"/>
                    <a:pt x="1551" y="406"/>
                    <a:pt x="1554" y="407"/>
                  </a:cubicBezTo>
                  <a:cubicBezTo>
                    <a:pt x="1544" y="419"/>
                    <a:pt x="1535" y="429"/>
                    <a:pt x="1527" y="437"/>
                  </a:cubicBezTo>
                  <a:moveTo>
                    <a:pt x="1432" y="441"/>
                  </a:moveTo>
                  <a:cubicBezTo>
                    <a:pt x="1420" y="433"/>
                    <a:pt x="1408" y="423"/>
                    <a:pt x="1394" y="411"/>
                  </a:cubicBezTo>
                  <a:cubicBezTo>
                    <a:pt x="1396" y="409"/>
                    <a:pt x="1398" y="406"/>
                    <a:pt x="1400" y="403"/>
                  </a:cubicBezTo>
                  <a:cubicBezTo>
                    <a:pt x="1411" y="418"/>
                    <a:pt x="1422" y="431"/>
                    <a:pt x="1432" y="441"/>
                  </a:cubicBezTo>
                  <a:moveTo>
                    <a:pt x="1598" y="454"/>
                  </a:moveTo>
                  <a:cubicBezTo>
                    <a:pt x="1600" y="449"/>
                    <a:pt x="1601" y="443"/>
                    <a:pt x="1601" y="438"/>
                  </a:cubicBezTo>
                  <a:cubicBezTo>
                    <a:pt x="1623" y="427"/>
                    <a:pt x="1647" y="414"/>
                    <a:pt x="1672" y="398"/>
                  </a:cubicBezTo>
                  <a:cubicBezTo>
                    <a:pt x="1669" y="409"/>
                    <a:pt x="1664" y="421"/>
                    <a:pt x="1656" y="434"/>
                  </a:cubicBezTo>
                  <a:cubicBezTo>
                    <a:pt x="1654" y="437"/>
                    <a:pt x="1652" y="440"/>
                    <a:pt x="1650" y="443"/>
                  </a:cubicBezTo>
                  <a:cubicBezTo>
                    <a:pt x="1632" y="448"/>
                    <a:pt x="1615" y="451"/>
                    <a:pt x="1598" y="454"/>
                  </a:cubicBezTo>
                  <a:moveTo>
                    <a:pt x="1184" y="399"/>
                  </a:moveTo>
                  <a:cubicBezTo>
                    <a:pt x="1185" y="394"/>
                    <a:pt x="1185" y="394"/>
                    <a:pt x="1185" y="394"/>
                  </a:cubicBezTo>
                  <a:cubicBezTo>
                    <a:pt x="1188" y="399"/>
                    <a:pt x="1191" y="404"/>
                    <a:pt x="1195" y="409"/>
                  </a:cubicBezTo>
                  <a:cubicBezTo>
                    <a:pt x="1196" y="411"/>
                    <a:pt x="1197" y="412"/>
                    <a:pt x="1198" y="413"/>
                  </a:cubicBezTo>
                  <a:cubicBezTo>
                    <a:pt x="1198" y="415"/>
                    <a:pt x="1198" y="416"/>
                    <a:pt x="1198" y="417"/>
                  </a:cubicBezTo>
                  <a:cubicBezTo>
                    <a:pt x="1193" y="417"/>
                    <a:pt x="1188" y="417"/>
                    <a:pt x="1182" y="417"/>
                  </a:cubicBezTo>
                  <a:cubicBezTo>
                    <a:pt x="1169" y="417"/>
                    <a:pt x="1156" y="418"/>
                    <a:pt x="1142" y="421"/>
                  </a:cubicBezTo>
                  <a:cubicBezTo>
                    <a:pt x="1138" y="415"/>
                    <a:pt x="1135" y="409"/>
                    <a:pt x="1132" y="403"/>
                  </a:cubicBezTo>
                  <a:cubicBezTo>
                    <a:pt x="1145" y="399"/>
                    <a:pt x="1157" y="398"/>
                    <a:pt x="1168" y="398"/>
                  </a:cubicBezTo>
                  <a:cubicBezTo>
                    <a:pt x="1174" y="398"/>
                    <a:pt x="1179" y="398"/>
                    <a:pt x="1184" y="399"/>
                  </a:cubicBezTo>
                  <a:moveTo>
                    <a:pt x="1373" y="428"/>
                  </a:moveTo>
                  <a:cubicBezTo>
                    <a:pt x="1356" y="419"/>
                    <a:pt x="1339" y="409"/>
                    <a:pt x="1322" y="397"/>
                  </a:cubicBezTo>
                  <a:cubicBezTo>
                    <a:pt x="1323" y="395"/>
                    <a:pt x="1324" y="392"/>
                    <a:pt x="1325" y="390"/>
                  </a:cubicBezTo>
                  <a:cubicBezTo>
                    <a:pt x="1341" y="404"/>
                    <a:pt x="1357" y="417"/>
                    <a:pt x="1373" y="428"/>
                  </a:cubicBezTo>
                  <a:moveTo>
                    <a:pt x="1442" y="436"/>
                  </a:moveTo>
                  <a:cubicBezTo>
                    <a:pt x="1431" y="425"/>
                    <a:pt x="1419" y="411"/>
                    <a:pt x="1407" y="394"/>
                  </a:cubicBezTo>
                  <a:cubicBezTo>
                    <a:pt x="1410" y="390"/>
                    <a:pt x="1414" y="386"/>
                    <a:pt x="1418" y="382"/>
                  </a:cubicBezTo>
                  <a:cubicBezTo>
                    <a:pt x="1426" y="403"/>
                    <a:pt x="1435" y="420"/>
                    <a:pt x="1444" y="434"/>
                  </a:cubicBezTo>
                  <a:cubicBezTo>
                    <a:pt x="1444" y="435"/>
                    <a:pt x="1443" y="435"/>
                    <a:pt x="1442" y="436"/>
                  </a:cubicBezTo>
                  <a:moveTo>
                    <a:pt x="1303" y="424"/>
                  </a:moveTo>
                  <a:cubicBezTo>
                    <a:pt x="1294" y="419"/>
                    <a:pt x="1284" y="413"/>
                    <a:pt x="1275" y="406"/>
                  </a:cubicBezTo>
                  <a:cubicBezTo>
                    <a:pt x="1275" y="405"/>
                    <a:pt x="1275" y="404"/>
                    <a:pt x="1275" y="403"/>
                  </a:cubicBezTo>
                  <a:cubicBezTo>
                    <a:pt x="1275" y="394"/>
                    <a:pt x="1275" y="386"/>
                    <a:pt x="1277" y="377"/>
                  </a:cubicBezTo>
                  <a:cubicBezTo>
                    <a:pt x="1287" y="386"/>
                    <a:pt x="1298" y="394"/>
                    <a:pt x="1309" y="402"/>
                  </a:cubicBezTo>
                  <a:cubicBezTo>
                    <a:pt x="1306" y="409"/>
                    <a:pt x="1304" y="417"/>
                    <a:pt x="1303" y="424"/>
                  </a:cubicBezTo>
                  <a:moveTo>
                    <a:pt x="1378" y="417"/>
                  </a:moveTo>
                  <a:cubicBezTo>
                    <a:pt x="1363" y="406"/>
                    <a:pt x="1346" y="394"/>
                    <a:pt x="1330" y="378"/>
                  </a:cubicBezTo>
                  <a:cubicBezTo>
                    <a:pt x="1333" y="374"/>
                    <a:pt x="1335" y="369"/>
                    <a:pt x="1338" y="364"/>
                  </a:cubicBezTo>
                  <a:cubicBezTo>
                    <a:pt x="1338" y="364"/>
                    <a:pt x="1338" y="364"/>
                    <a:pt x="1338" y="364"/>
                  </a:cubicBezTo>
                  <a:cubicBezTo>
                    <a:pt x="1350" y="382"/>
                    <a:pt x="1363" y="397"/>
                    <a:pt x="1375" y="409"/>
                  </a:cubicBezTo>
                  <a:cubicBezTo>
                    <a:pt x="1377" y="411"/>
                    <a:pt x="1379" y="412"/>
                    <a:pt x="1380" y="414"/>
                  </a:cubicBezTo>
                  <a:cubicBezTo>
                    <a:pt x="1380" y="415"/>
                    <a:pt x="1379" y="416"/>
                    <a:pt x="1378" y="417"/>
                  </a:cubicBezTo>
                  <a:moveTo>
                    <a:pt x="1269" y="475"/>
                  </a:moveTo>
                  <a:cubicBezTo>
                    <a:pt x="1246" y="456"/>
                    <a:pt x="1225" y="434"/>
                    <a:pt x="1208" y="408"/>
                  </a:cubicBezTo>
                  <a:cubicBezTo>
                    <a:pt x="1206" y="398"/>
                    <a:pt x="1204" y="381"/>
                    <a:pt x="1204" y="361"/>
                  </a:cubicBezTo>
                  <a:cubicBezTo>
                    <a:pt x="1224" y="381"/>
                    <a:pt x="1244" y="397"/>
                    <a:pt x="1264" y="411"/>
                  </a:cubicBezTo>
                  <a:cubicBezTo>
                    <a:pt x="1265" y="429"/>
                    <a:pt x="1269" y="447"/>
                    <a:pt x="1276" y="463"/>
                  </a:cubicBezTo>
                  <a:cubicBezTo>
                    <a:pt x="1279" y="470"/>
                    <a:pt x="1282" y="475"/>
                    <a:pt x="1285" y="481"/>
                  </a:cubicBezTo>
                  <a:cubicBezTo>
                    <a:pt x="1280" y="479"/>
                    <a:pt x="1275" y="477"/>
                    <a:pt x="1270" y="474"/>
                  </a:cubicBezTo>
                  <a:cubicBezTo>
                    <a:pt x="1269" y="475"/>
                    <a:pt x="1269" y="475"/>
                    <a:pt x="1269" y="475"/>
                  </a:cubicBezTo>
                  <a:moveTo>
                    <a:pt x="1598" y="422"/>
                  </a:moveTo>
                  <a:cubicBezTo>
                    <a:pt x="1598" y="422"/>
                    <a:pt x="1598" y="422"/>
                    <a:pt x="1598" y="421"/>
                  </a:cubicBezTo>
                  <a:cubicBezTo>
                    <a:pt x="1597" y="421"/>
                    <a:pt x="1597" y="421"/>
                    <a:pt x="1597" y="421"/>
                  </a:cubicBezTo>
                  <a:cubicBezTo>
                    <a:pt x="1621" y="405"/>
                    <a:pt x="1647" y="384"/>
                    <a:pt x="1674" y="360"/>
                  </a:cubicBezTo>
                  <a:cubicBezTo>
                    <a:pt x="1675" y="365"/>
                    <a:pt x="1676" y="370"/>
                    <a:pt x="1676" y="376"/>
                  </a:cubicBezTo>
                  <a:cubicBezTo>
                    <a:pt x="1676" y="377"/>
                    <a:pt x="1676" y="377"/>
                    <a:pt x="1675" y="378"/>
                  </a:cubicBezTo>
                  <a:cubicBezTo>
                    <a:pt x="1648" y="397"/>
                    <a:pt x="1622" y="411"/>
                    <a:pt x="1598" y="422"/>
                  </a:cubicBezTo>
                  <a:moveTo>
                    <a:pt x="1454" y="427"/>
                  </a:moveTo>
                  <a:cubicBezTo>
                    <a:pt x="1445" y="413"/>
                    <a:pt x="1436" y="395"/>
                    <a:pt x="1427" y="373"/>
                  </a:cubicBezTo>
                  <a:cubicBezTo>
                    <a:pt x="1433" y="367"/>
                    <a:pt x="1440" y="362"/>
                    <a:pt x="1447" y="356"/>
                  </a:cubicBezTo>
                  <a:cubicBezTo>
                    <a:pt x="1450" y="383"/>
                    <a:pt x="1455" y="405"/>
                    <a:pt x="1460" y="422"/>
                  </a:cubicBezTo>
                  <a:cubicBezTo>
                    <a:pt x="1458" y="424"/>
                    <a:pt x="1456" y="425"/>
                    <a:pt x="1454" y="427"/>
                  </a:cubicBezTo>
                  <a:moveTo>
                    <a:pt x="1667" y="439"/>
                  </a:moveTo>
                  <a:cubicBezTo>
                    <a:pt x="1677" y="422"/>
                    <a:pt x="1683" y="405"/>
                    <a:pt x="1686" y="389"/>
                  </a:cubicBezTo>
                  <a:cubicBezTo>
                    <a:pt x="1700" y="379"/>
                    <a:pt x="1714" y="368"/>
                    <a:pt x="1728" y="356"/>
                  </a:cubicBezTo>
                  <a:cubicBezTo>
                    <a:pt x="1724" y="372"/>
                    <a:pt x="1716" y="389"/>
                    <a:pt x="1706" y="406"/>
                  </a:cubicBezTo>
                  <a:cubicBezTo>
                    <a:pt x="1701" y="415"/>
                    <a:pt x="1694" y="424"/>
                    <a:pt x="1687" y="432"/>
                  </a:cubicBezTo>
                  <a:cubicBezTo>
                    <a:pt x="1680" y="435"/>
                    <a:pt x="1674" y="437"/>
                    <a:pt x="1667" y="439"/>
                  </a:cubicBezTo>
                  <a:moveTo>
                    <a:pt x="1312" y="391"/>
                  </a:moveTo>
                  <a:cubicBezTo>
                    <a:pt x="1301" y="383"/>
                    <a:pt x="1290" y="374"/>
                    <a:pt x="1279" y="364"/>
                  </a:cubicBezTo>
                  <a:cubicBezTo>
                    <a:pt x="1281" y="358"/>
                    <a:pt x="1283" y="352"/>
                    <a:pt x="1285" y="345"/>
                  </a:cubicBezTo>
                  <a:cubicBezTo>
                    <a:pt x="1295" y="358"/>
                    <a:pt x="1306" y="370"/>
                    <a:pt x="1317" y="381"/>
                  </a:cubicBezTo>
                  <a:cubicBezTo>
                    <a:pt x="1315" y="384"/>
                    <a:pt x="1314" y="387"/>
                    <a:pt x="1312" y="391"/>
                  </a:cubicBezTo>
                  <a:moveTo>
                    <a:pt x="1591" y="411"/>
                  </a:moveTo>
                  <a:cubicBezTo>
                    <a:pt x="1590" y="410"/>
                    <a:pt x="1590" y="410"/>
                    <a:pt x="1590" y="410"/>
                  </a:cubicBezTo>
                  <a:cubicBezTo>
                    <a:pt x="1593" y="407"/>
                    <a:pt x="1597" y="404"/>
                    <a:pt x="1601" y="401"/>
                  </a:cubicBezTo>
                  <a:cubicBezTo>
                    <a:pt x="1619" y="383"/>
                    <a:pt x="1639" y="361"/>
                    <a:pt x="1660" y="334"/>
                  </a:cubicBezTo>
                  <a:cubicBezTo>
                    <a:pt x="1664" y="338"/>
                    <a:pt x="1667" y="343"/>
                    <a:pt x="1669" y="348"/>
                  </a:cubicBezTo>
                  <a:cubicBezTo>
                    <a:pt x="1642" y="374"/>
                    <a:pt x="1615" y="395"/>
                    <a:pt x="1591" y="411"/>
                  </a:cubicBezTo>
                  <a:moveTo>
                    <a:pt x="1386" y="403"/>
                  </a:moveTo>
                  <a:cubicBezTo>
                    <a:pt x="1385" y="402"/>
                    <a:pt x="1384" y="401"/>
                    <a:pt x="1383" y="400"/>
                  </a:cubicBezTo>
                  <a:cubicBezTo>
                    <a:pt x="1370" y="388"/>
                    <a:pt x="1357" y="372"/>
                    <a:pt x="1345" y="354"/>
                  </a:cubicBezTo>
                  <a:cubicBezTo>
                    <a:pt x="1350" y="347"/>
                    <a:pt x="1355" y="340"/>
                    <a:pt x="1361" y="333"/>
                  </a:cubicBezTo>
                  <a:cubicBezTo>
                    <a:pt x="1371" y="356"/>
                    <a:pt x="1382" y="376"/>
                    <a:pt x="1393" y="394"/>
                  </a:cubicBezTo>
                  <a:cubicBezTo>
                    <a:pt x="1391" y="397"/>
                    <a:pt x="1389" y="400"/>
                    <a:pt x="1386" y="403"/>
                  </a:cubicBezTo>
                  <a:moveTo>
                    <a:pt x="1470" y="416"/>
                  </a:moveTo>
                  <a:cubicBezTo>
                    <a:pt x="1465" y="399"/>
                    <a:pt x="1461" y="376"/>
                    <a:pt x="1458" y="349"/>
                  </a:cubicBezTo>
                  <a:cubicBezTo>
                    <a:pt x="1467" y="343"/>
                    <a:pt x="1476" y="337"/>
                    <a:pt x="1486" y="332"/>
                  </a:cubicBezTo>
                  <a:cubicBezTo>
                    <a:pt x="1486" y="332"/>
                    <a:pt x="1486" y="332"/>
                    <a:pt x="1486" y="332"/>
                  </a:cubicBezTo>
                  <a:cubicBezTo>
                    <a:pt x="1483" y="364"/>
                    <a:pt x="1482" y="390"/>
                    <a:pt x="1482" y="410"/>
                  </a:cubicBezTo>
                  <a:cubicBezTo>
                    <a:pt x="1481" y="410"/>
                    <a:pt x="1480" y="411"/>
                    <a:pt x="1479" y="411"/>
                  </a:cubicBezTo>
                  <a:cubicBezTo>
                    <a:pt x="1476" y="413"/>
                    <a:pt x="1473" y="414"/>
                    <a:pt x="1470" y="416"/>
                  </a:cubicBezTo>
                  <a:moveTo>
                    <a:pt x="1581" y="403"/>
                  </a:moveTo>
                  <a:cubicBezTo>
                    <a:pt x="1579" y="402"/>
                    <a:pt x="1577" y="401"/>
                    <a:pt x="1575" y="400"/>
                  </a:cubicBezTo>
                  <a:cubicBezTo>
                    <a:pt x="1593" y="378"/>
                    <a:pt x="1612" y="349"/>
                    <a:pt x="1632" y="315"/>
                  </a:cubicBezTo>
                  <a:cubicBezTo>
                    <a:pt x="1639" y="318"/>
                    <a:pt x="1646" y="322"/>
                    <a:pt x="1652" y="326"/>
                  </a:cubicBezTo>
                  <a:cubicBezTo>
                    <a:pt x="1627" y="358"/>
                    <a:pt x="1603" y="383"/>
                    <a:pt x="1581" y="403"/>
                  </a:cubicBezTo>
                  <a:moveTo>
                    <a:pt x="1493" y="405"/>
                  </a:moveTo>
                  <a:cubicBezTo>
                    <a:pt x="1494" y="384"/>
                    <a:pt x="1495" y="359"/>
                    <a:pt x="1498" y="327"/>
                  </a:cubicBezTo>
                  <a:cubicBezTo>
                    <a:pt x="1509" y="322"/>
                    <a:pt x="1521" y="318"/>
                    <a:pt x="1532" y="315"/>
                  </a:cubicBezTo>
                  <a:cubicBezTo>
                    <a:pt x="1523" y="349"/>
                    <a:pt x="1515" y="377"/>
                    <a:pt x="1509" y="400"/>
                  </a:cubicBezTo>
                  <a:cubicBezTo>
                    <a:pt x="1504" y="401"/>
                    <a:pt x="1499" y="403"/>
                    <a:pt x="1493" y="405"/>
                  </a:cubicBezTo>
                  <a:moveTo>
                    <a:pt x="1186" y="372"/>
                  </a:moveTo>
                  <a:cubicBezTo>
                    <a:pt x="1177" y="353"/>
                    <a:pt x="1168" y="333"/>
                    <a:pt x="1161" y="313"/>
                  </a:cubicBezTo>
                  <a:cubicBezTo>
                    <a:pt x="1167" y="320"/>
                    <a:pt x="1174" y="328"/>
                    <a:pt x="1180" y="335"/>
                  </a:cubicBezTo>
                  <a:cubicBezTo>
                    <a:pt x="1182" y="348"/>
                    <a:pt x="1184" y="360"/>
                    <a:pt x="1186" y="372"/>
                  </a:cubicBezTo>
                  <a:moveTo>
                    <a:pt x="1522" y="397"/>
                  </a:moveTo>
                  <a:cubicBezTo>
                    <a:pt x="1528" y="374"/>
                    <a:pt x="1535" y="346"/>
                    <a:pt x="1544" y="312"/>
                  </a:cubicBezTo>
                  <a:cubicBezTo>
                    <a:pt x="1548" y="311"/>
                    <a:pt x="1553" y="310"/>
                    <a:pt x="1557" y="309"/>
                  </a:cubicBezTo>
                  <a:cubicBezTo>
                    <a:pt x="1564" y="308"/>
                    <a:pt x="1572" y="307"/>
                    <a:pt x="1578" y="307"/>
                  </a:cubicBezTo>
                  <a:cubicBezTo>
                    <a:pt x="1564" y="343"/>
                    <a:pt x="1550" y="372"/>
                    <a:pt x="1538" y="394"/>
                  </a:cubicBezTo>
                  <a:cubicBezTo>
                    <a:pt x="1534" y="395"/>
                    <a:pt x="1530" y="395"/>
                    <a:pt x="1526" y="396"/>
                  </a:cubicBezTo>
                  <a:cubicBezTo>
                    <a:pt x="1525" y="396"/>
                    <a:pt x="1523" y="396"/>
                    <a:pt x="1522" y="397"/>
                  </a:cubicBezTo>
                  <a:moveTo>
                    <a:pt x="1563" y="396"/>
                  </a:moveTo>
                  <a:cubicBezTo>
                    <a:pt x="1559" y="395"/>
                    <a:pt x="1555" y="395"/>
                    <a:pt x="1551" y="394"/>
                  </a:cubicBezTo>
                  <a:cubicBezTo>
                    <a:pt x="1563" y="371"/>
                    <a:pt x="1577" y="342"/>
                    <a:pt x="1591" y="307"/>
                  </a:cubicBezTo>
                  <a:cubicBezTo>
                    <a:pt x="1602" y="307"/>
                    <a:pt x="1611" y="309"/>
                    <a:pt x="1621" y="311"/>
                  </a:cubicBezTo>
                  <a:cubicBezTo>
                    <a:pt x="1600" y="346"/>
                    <a:pt x="1581" y="374"/>
                    <a:pt x="1563" y="396"/>
                  </a:cubicBezTo>
                  <a:moveTo>
                    <a:pt x="1322" y="370"/>
                  </a:moveTo>
                  <a:cubicBezTo>
                    <a:pt x="1311" y="359"/>
                    <a:pt x="1300" y="346"/>
                    <a:pt x="1289" y="332"/>
                  </a:cubicBezTo>
                  <a:cubicBezTo>
                    <a:pt x="1293" y="323"/>
                    <a:pt x="1298" y="313"/>
                    <a:pt x="1303" y="303"/>
                  </a:cubicBezTo>
                  <a:cubicBezTo>
                    <a:pt x="1312" y="322"/>
                    <a:pt x="1321" y="339"/>
                    <a:pt x="1331" y="354"/>
                  </a:cubicBezTo>
                  <a:cubicBezTo>
                    <a:pt x="1330" y="356"/>
                    <a:pt x="1329" y="357"/>
                    <a:pt x="1329" y="358"/>
                  </a:cubicBezTo>
                  <a:cubicBezTo>
                    <a:pt x="1326" y="362"/>
                    <a:pt x="1324" y="366"/>
                    <a:pt x="1322" y="370"/>
                  </a:cubicBezTo>
                  <a:moveTo>
                    <a:pt x="1264" y="399"/>
                  </a:moveTo>
                  <a:cubicBezTo>
                    <a:pt x="1244" y="384"/>
                    <a:pt x="1224" y="367"/>
                    <a:pt x="1204" y="346"/>
                  </a:cubicBezTo>
                  <a:cubicBezTo>
                    <a:pt x="1204" y="332"/>
                    <a:pt x="1206" y="318"/>
                    <a:pt x="1208" y="302"/>
                  </a:cubicBezTo>
                  <a:cubicBezTo>
                    <a:pt x="1226" y="328"/>
                    <a:pt x="1246" y="350"/>
                    <a:pt x="1267" y="369"/>
                  </a:cubicBezTo>
                  <a:cubicBezTo>
                    <a:pt x="1265" y="379"/>
                    <a:pt x="1264" y="389"/>
                    <a:pt x="1264" y="399"/>
                  </a:cubicBezTo>
                  <a:moveTo>
                    <a:pt x="1686" y="371"/>
                  </a:moveTo>
                  <a:cubicBezTo>
                    <a:pt x="1686" y="364"/>
                    <a:pt x="1685" y="357"/>
                    <a:pt x="1683" y="351"/>
                  </a:cubicBezTo>
                  <a:cubicBezTo>
                    <a:pt x="1698" y="336"/>
                    <a:pt x="1714" y="320"/>
                    <a:pt x="1729" y="301"/>
                  </a:cubicBezTo>
                  <a:cubicBezTo>
                    <a:pt x="1731" y="309"/>
                    <a:pt x="1732" y="316"/>
                    <a:pt x="1732" y="324"/>
                  </a:cubicBezTo>
                  <a:cubicBezTo>
                    <a:pt x="1732" y="327"/>
                    <a:pt x="1732" y="331"/>
                    <a:pt x="1731" y="335"/>
                  </a:cubicBezTo>
                  <a:cubicBezTo>
                    <a:pt x="1716" y="348"/>
                    <a:pt x="1701" y="360"/>
                    <a:pt x="1686" y="371"/>
                  </a:cubicBezTo>
                  <a:moveTo>
                    <a:pt x="1400" y="384"/>
                  </a:moveTo>
                  <a:cubicBezTo>
                    <a:pt x="1389" y="367"/>
                    <a:pt x="1379" y="347"/>
                    <a:pt x="1369" y="323"/>
                  </a:cubicBezTo>
                  <a:cubicBezTo>
                    <a:pt x="1378" y="315"/>
                    <a:pt x="1386" y="306"/>
                    <a:pt x="1396" y="298"/>
                  </a:cubicBezTo>
                  <a:cubicBezTo>
                    <a:pt x="1400" y="326"/>
                    <a:pt x="1406" y="350"/>
                    <a:pt x="1414" y="370"/>
                  </a:cubicBezTo>
                  <a:cubicBezTo>
                    <a:pt x="1409" y="375"/>
                    <a:pt x="1405" y="379"/>
                    <a:pt x="1400" y="384"/>
                  </a:cubicBezTo>
                  <a:moveTo>
                    <a:pt x="1707" y="425"/>
                  </a:moveTo>
                  <a:cubicBezTo>
                    <a:pt x="1710" y="421"/>
                    <a:pt x="1713" y="417"/>
                    <a:pt x="1716" y="412"/>
                  </a:cubicBezTo>
                  <a:cubicBezTo>
                    <a:pt x="1730" y="389"/>
                    <a:pt x="1738" y="366"/>
                    <a:pt x="1742" y="344"/>
                  </a:cubicBezTo>
                  <a:cubicBezTo>
                    <a:pt x="1761" y="326"/>
                    <a:pt x="1781" y="306"/>
                    <a:pt x="1799" y="283"/>
                  </a:cubicBezTo>
                  <a:cubicBezTo>
                    <a:pt x="1793" y="327"/>
                    <a:pt x="1770" y="373"/>
                    <a:pt x="1734" y="414"/>
                  </a:cubicBezTo>
                  <a:cubicBezTo>
                    <a:pt x="1725" y="418"/>
                    <a:pt x="1716" y="422"/>
                    <a:pt x="1707" y="425"/>
                  </a:cubicBezTo>
                  <a:moveTo>
                    <a:pt x="1423" y="361"/>
                  </a:moveTo>
                  <a:cubicBezTo>
                    <a:pt x="1416" y="341"/>
                    <a:pt x="1410" y="317"/>
                    <a:pt x="1406" y="290"/>
                  </a:cubicBezTo>
                  <a:cubicBezTo>
                    <a:pt x="1418" y="281"/>
                    <a:pt x="1430" y="272"/>
                    <a:pt x="1443" y="265"/>
                  </a:cubicBezTo>
                  <a:cubicBezTo>
                    <a:pt x="1443" y="269"/>
                    <a:pt x="1443" y="273"/>
                    <a:pt x="1443" y="277"/>
                  </a:cubicBezTo>
                  <a:cubicBezTo>
                    <a:pt x="1443" y="302"/>
                    <a:pt x="1444" y="324"/>
                    <a:pt x="1446" y="343"/>
                  </a:cubicBezTo>
                  <a:cubicBezTo>
                    <a:pt x="1438" y="349"/>
                    <a:pt x="1430" y="355"/>
                    <a:pt x="1423" y="361"/>
                  </a:cubicBezTo>
                  <a:moveTo>
                    <a:pt x="1678" y="340"/>
                  </a:moveTo>
                  <a:cubicBezTo>
                    <a:pt x="1675" y="334"/>
                    <a:pt x="1672" y="329"/>
                    <a:pt x="1668" y="325"/>
                  </a:cubicBezTo>
                  <a:cubicBezTo>
                    <a:pt x="1682" y="306"/>
                    <a:pt x="1696" y="285"/>
                    <a:pt x="1710" y="262"/>
                  </a:cubicBezTo>
                  <a:cubicBezTo>
                    <a:pt x="1716" y="269"/>
                    <a:pt x="1720" y="276"/>
                    <a:pt x="1724" y="284"/>
                  </a:cubicBezTo>
                  <a:cubicBezTo>
                    <a:pt x="1725" y="285"/>
                    <a:pt x="1725" y="287"/>
                    <a:pt x="1725" y="288"/>
                  </a:cubicBezTo>
                  <a:cubicBezTo>
                    <a:pt x="1710" y="307"/>
                    <a:pt x="1694" y="324"/>
                    <a:pt x="1678" y="340"/>
                  </a:cubicBezTo>
                  <a:moveTo>
                    <a:pt x="1194" y="335"/>
                  </a:moveTo>
                  <a:cubicBezTo>
                    <a:pt x="1193" y="334"/>
                    <a:pt x="1192" y="332"/>
                    <a:pt x="1190" y="331"/>
                  </a:cubicBezTo>
                  <a:cubicBezTo>
                    <a:pt x="1186" y="306"/>
                    <a:pt x="1183" y="281"/>
                    <a:pt x="1181" y="255"/>
                  </a:cubicBezTo>
                  <a:cubicBezTo>
                    <a:pt x="1186" y="267"/>
                    <a:pt x="1193" y="279"/>
                    <a:pt x="1200" y="290"/>
                  </a:cubicBezTo>
                  <a:cubicBezTo>
                    <a:pt x="1197" y="306"/>
                    <a:pt x="1195" y="321"/>
                    <a:pt x="1194" y="335"/>
                  </a:cubicBezTo>
                  <a:moveTo>
                    <a:pt x="1338" y="344"/>
                  </a:moveTo>
                  <a:cubicBezTo>
                    <a:pt x="1328" y="328"/>
                    <a:pt x="1319" y="311"/>
                    <a:pt x="1311" y="291"/>
                  </a:cubicBezTo>
                  <a:cubicBezTo>
                    <a:pt x="1319" y="278"/>
                    <a:pt x="1328" y="265"/>
                    <a:pt x="1338" y="253"/>
                  </a:cubicBezTo>
                  <a:cubicBezTo>
                    <a:pt x="1343" y="278"/>
                    <a:pt x="1349" y="301"/>
                    <a:pt x="1356" y="321"/>
                  </a:cubicBezTo>
                  <a:cubicBezTo>
                    <a:pt x="1350" y="328"/>
                    <a:pt x="1344" y="336"/>
                    <a:pt x="1338" y="344"/>
                  </a:cubicBezTo>
                  <a:moveTo>
                    <a:pt x="1457" y="336"/>
                  </a:moveTo>
                  <a:cubicBezTo>
                    <a:pt x="1455" y="318"/>
                    <a:pt x="1454" y="298"/>
                    <a:pt x="1454" y="275"/>
                  </a:cubicBezTo>
                  <a:cubicBezTo>
                    <a:pt x="1454" y="270"/>
                    <a:pt x="1454" y="264"/>
                    <a:pt x="1454" y="258"/>
                  </a:cubicBezTo>
                  <a:cubicBezTo>
                    <a:pt x="1458" y="257"/>
                    <a:pt x="1461" y="255"/>
                    <a:pt x="1464" y="253"/>
                  </a:cubicBezTo>
                  <a:cubicBezTo>
                    <a:pt x="1475" y="247"/>
                    <a:pt x="1486" y="243"/>
                    <a:pt x="1497" y="239"/>
                  </a:cubicBezTo>
                  <a:cubicBezTo>
                    <a:pt x="1493" y="269"/>
                    <a:pt x="1490" y="295"/>
                    <a:pt x="1488" y="319"/>
                  </a:cubicBezTo>
                  <a:cubicBezTo>
                    <a:pt x="1485" y="320"/>
                    <a:pt x="1483" y="320"/>
                    <a:pt x="1481" y="321"/>
                  </a:cubicBezTo>
                  <a:cubicBezTo>
                    <a:pt x="1473" y="326"/>
                    <a:pt x="1464" y="331"/>
                    <a:pt x="1457" y="336"/>
                  </a:cubicBezTo>
                  <a:moveTo>
                    <a:pt x="1176" y="315"/>
                  </a:moveTo>
                  <a:cubicBezTo>
                    <a:pt x="1169" y="306"/>
                    <a:pt x="1162" y="296"/>
                    <a:pt x="1155" y="286"/>
                  </a:cubicBezTo>
                  <a:cubicBezTo>
                    <a:pt x="1157" y="275"/>
                    <a:pt x="1161" y="257"/>
                    <a:pt x="1168" y="236"/>
                  </a:cubicBezTo>
                  <a:cubicBezTo>
                    <a:pt x="1170" y="262"/>
                    <a:pt x="1173" y="289"/>
                    <a:pt x="1176" y="315"/>
                  </a:cubicBezTo>
                  <a:moveTo>
                    <a:pt x="1270" y="356"/>
                  </a:moveTo>
                  <a:cubicBezTo>
                    <a:pt x="1248" y="336"/>
                    <a:pt x="1228" y="313"/>
                    <a:pt x="1211" y="286"/>
                  </a:cubicBezTo>
                  <a:cubicBezTo>
                    <a:pt x="1212" y="283"/>
                    <a:pt x="1212" y="280"/>
                    <a:pt x="1213" y="277"/>
                  </a:cubicBezTo>
                  <a:cubicBezTo>
                    <a:pt x="1217" y="262"/>
                    <a:pt x="1221" y="249"/>
                    <a:pt x="1227" y="235"/>
                  </a:cubicBezTo>
                  <a:cubicBezTo>
                    <a:pt x="1239" y="274"/>
                    <a:pt x="1256" y="306"/>
                    <a:pt x="1276" y="334"/>
                  </a:cubicBezTo>
                  <a:cubicBezTo>
                    <a:pt x="1274" y="342"/>
                    <a:pt x="1272" y="349"/>
                    <a:pt x="1270" y="356"/>
                  </a:cubicBezTo>
                  <a:moveTo>
                    <a:pt x="1659" y="317"/>
                  </a:moveTo>
                  <a:cubicBezTo>
                    <a:pt x="1653" y="312"/>
                    <a:pt x="1646" y="308"/>
                    <a:pt x="1638" y="304"/>
                  </a:cubicBezTo>
                  <a:cubicBezTo>
                    <a:pt x="1649" y="283"/>
                    <a:pt x="1661" y="260"/>
                    <a:pt x="1672" y="234"/>
                  </a:cubicBezTo>
                  <a:cubicBezTo>
                    <a:pt x="1684" y="239"/>
                    <a:pt x="1694" y="245"/>
                    <a:pt x="1702" y="253"/>
                  </a:cubicBezTo>
                  <a:cubicBezTo>
                    <a:pt x="1688" y="277"/>
                    <a:pt x="1674" y="298"/>
                    <a:pt x="1659" y="317"/>
                  </a:cubicBezTo>
                  <a:moveTo>
                    <a:pt x="1499" y="313"/>
                  </a:moveTo>
                  <a:cubicBezTo>
                    <a:pt x="1502" y="290"/>
                    <a:pt x="1505" y="264"/>
                    <a:pt x="1509" y="234"/>
                  </a:cubicBezTo>
                  <a:cubicBezTo>
                    <a:pt x="1524" y="229"/>
                    <a:pt x="1540" y="225"/>
                    <a:pt x="1555" y="223"/>
                  </a:cubicBezTo>
                  <a:cubicBezTo>
                    <a:pt x="1548" y="252"/>
                    <a:pt x="1541" y="278"/>
                    <a:pt x="1535" y="301"/>
                  </a:cubicBezTo>
                  <a:cubicBezTo>
                    <a:pt x="1523" y="304"/>
                    <a:pt x="1511" y="308"/>
                    <a:pt x="1499" y="313"/>
                  </a:cubicBezTo>
                  <a:moveTo>
                    <a:pt x="1627" y="300"/>
                  </a:moveTo>
                  <a:cubicBezTo>
                    <a:pt x="1617" y="298"/>
                    <a:pt x="1607" y="296"/>
                    <a:pt x="1596" y="295"/>
                  </a:cubicBezTo>
                  <a:cubicBezTo>
                    <a:pt x="1604" y="273"/>
                    <a:pt x="1613" y="248"/>
                    <a:pt x="1622" y="220"/>
                  </a:cubicBezTo>
                  <a:cubicBezTo>
                    <a:pt x="1637" y="222"/>
                    <a:pt x="1650" y="225"/>
                    <a:pt x="1662" y="229"/>
                  </a:cubicBezTo>
                  <a:cubicBezTo>
                    <a:pt x="1650" y="255"/>
                    <a:pt x="1638" y="279"/>
                    <a:pt x="1627" y="300"/>
                  </a:cubicBezTo>
                  <a:moveTo>
                    <a:pt x="1548" y="299"/>
                  </a:moveTo>
                  <a:cubicBezTo>
                    <a:pt x="1553" y="276"/>
                    <a:pt x="1560" y="250"/>
                    <a:pt x="1567" y="221"/>
                  </a:cubicBezTo>
                  <a:cubicBezTo>
                    <a:pt x="1578" y="219"/>
                    <a:pt x="1588" y="219"/>
                    <a:pt x="1598" y="219"/>
                  </a:cubicBezTo>
                  <a:cubicBezTo>
                    <a:pt x="1603" y="219"/>
                    <a:pt x="1607" y="219"/>
                    <a:pt x="1611" y="219"/>
                  </a:cubicBezTo>
                  <a:cubicBezTo>
                    <a:pt x="1602" y="247"/>
                    <a:pt x="1592" y="272"/>
                    <a:pt x="1583" y="295"/>
                  </a:cubicBezTo>
                  <a:cubicBezTo>
                    <a:pt x="1574" y="295"/>
                    <a:pt x="1565" y="296"/>
                    <a:pt x="1555" y="297"/>
                  </a:cubicBezTo>
                  <a:cubicBezTo>
                    <a:pt x="1553" y="298"/>
                    <a:pt x="1550" y="298"/>
                    <a:pt x="1548" y="299"/>
                  </a:cubicBezTo>
                  <a:moveTo>
                    <a:pt x="1743" y="324"/>
                  </a:moveTo>
                  <a:cubicBezTo>
                    <a:pt x="1743" y="312"/>
                    <a:pt x="1741" y="301"/>
                    <a:pt x="1738" y="291"/>
                  </a:cubicBezTo>
                  <a:cubicBezTo>
                    <a:pt x="1757" y="267"/>
                    <a:pt x="1776" y="242"/>
                    <a:pt x="1792" y="213"/>
                  </a:cubicBezTo>
                  <a:cubicBezTo>
                    <a:pt x="1798" y="228"/>
                    <a:pt x="1801" y="244"/>
                    <a:pt x="1801" y="260"/>
                  </a:cubicBezTo>
                  <a:cubicBezTo>
                    <a:pt x="1782" y="284"/>
                    <a:pt x="1763" y="305"/>
                    <a:pt x="1743" y="324"/>
                  </a:cubicBezTo>
                  <a:moveTo>
                    <a:pt x="1365" y="311"/>
                  </a:moveTo>
                  <a:cubicBezTo>
                    <a:pt x="1358" y="291"/>
                    <a:pt x="1352" y="268"/>
                    <a:pt x="1348" y="243"/>
                  </a:cubicBezTo>
                  <a:cubicBezTo>
                    <a:pt x="1360" y="229"/>
                    <a:pt x="1374" y="216"/>
                    <a:pt x="1389" y="204"/>
                  </a:cubicBezTo>
                  <a:cubicBezTo>
                    <a:pt x="1389" y="205"/>
                    <a:pt x="1389" y="205"/>
                    <a:pt x="1389" y="205"/>
                  </a:cubicBezTo>
                  <a:cubicBezTo>
                    <a:pt x="1389" y="234"/>
                    <a:pt x="1391" y="261"/>
                    <a:pt x="1394" y="285"/>
                  </a:cubicBezTo>
                  <a:cubicBezTo>
                    <a:pt x="1384" y="293"/>
                    <a:pt x="1374" y="302"/>
                    <a:pt x="1365" y="311"/>
                  </a:cubicBezTo>
                  <a:moveTo>
                    <a:pt x="1404" y="276"/>
                  </a:moveTo>
                  <a:cubicBezTo>
                    <a:pt x="1402" y="255"/>
                    <a:pt x="1400" y="230"/>
                    <a:pt x="1400" y="204"/>
                  </a:cubicBezTo>
                  <a:cubicBezTo>
                    <a:pt x="1400" y="201"/>
                    <a:pt x="1400" y="199"/>
                    <a:pt x="1400" y="196"/>
                  </a:cubicBezTo>
                  <a:cubicBezTo>
                    <a:pt x="1416" y="184"/>
                    <a:pt x="1432" y="174"/>
                    <a:pt x="1449" y="164"/>
                  </a:cubicBezTo>
                  <a:cubicBezTo>
                    <a:pt x="1446" y="196"/>
                    <a:pt x="1444" y="225"/>
                    <a:pt x="1443" y="251"/>
                  </a:cubicBezTo>
                  <a:cubicBezTo>
                    <a:pt x="1429" y="259"/>
                    <a:pt x="1417" y="267"/>
                    <a:pt x="1404" y="276"/>
                  </a:cubicBezTo>
                  <a:moveTo>
                    <a:pt x="1734" y="278"/>
                  </a:moveTo>
                  <a:cubicBezTo>
                    <a:pt x="1729" y="268"/>
                    <a:pt x="1724" y="259"/>
                    <a:pt x="1717" y="251"/>
                  </a:cubicBezTo>
                  <a:cubicBezTo>
                    <a:pt x="1732" y="225"/>
                    <a:pt x="1746" y="196"/>
                    <a:pt x="1759" y="163"/>
                  </a:cubicBezTo>
                  <a:cubicBezTo>
                    <a:pt x="1771" y="174"/>
                    <a:pt x="1780" y="186"/>
                    <a:pt x="1787" y="200"/>
                  </a:cubicBezTo>
                  <a:cubicBezTo>
                    <a:pt x="1770" y="229"/>
                    <a:pt x="1752" y="255"/>
                    <a:pt x="1734" y="278"/>
                  </a:cubicBezTo>
                  <a:moveTo>
                    <a:pt x="1282" y="322"/>
                  </a:moveTo>
                  <a:cubicBezTo>
                    <a:pt x="1262" y="293"/>
                    <a:pt x="1245" y="259"/>
                    <a:pt x="1234" y="219"/>
                  </a:cubicBezTo>
                  <a:cubicBezTo>
                    <a:pt x="1244" y="198"/>
                    <a:pt x="1256" y="179"/>
                    <a:pt x="1271" y="160"/>
                  </a:cubicBezTo>
                  <a:cubicBezTo>
                    <a:pt x="1273" y="211"/>
                    <a:pt x="1284" y="254"/>
                    <a:pt x="1298" y="290"/>
                  </a:cubicBezTo>
                  <a:cubicBezTo>
                    <a:pt x="1297" y="291"/>
                    <a:pt x="1297" y="292"/>
                    <a:pt x="1296" y="293"/>
                  </a:cubicBezTo>
                  <a:cubicBezTo>
                    <a:pt x="1290" y="302"/>
                    <a:pt x="1286" y="312"/>
                    <a:pt x="1282" y="322"/>
                  </a:cubicBezTo>
                  <a:moveTo>
                    <a:pt x="1203" y="273"/>
                  </a:moveTo>
                  <a:cubicBezTo>
                    <a:pt x="1193" y="257"/>
                    <a:pt x="1185" y="238"/>
                    <a:pt x="1178" y="219"/>
                  </a:cubicBezTo>
                  <a:cubicBezTo>
                    <a:pt x="1178" y="216"/>
                    <a:pt x="1177" y="213"/>
                    <a:pt x="1177" y="210"/>
                  </a:cubicBezTo>
                  <a:cubicBezTo>
                    <a:pt x="1185" y="191"/>
                    <a:pt x="1196" y="169"/>
                    <a:pt x="1210" y="146"/>
                  </a:cubicBezTo>
                  <a:cubicBezTo>
                    <a:pt x="1212" y="172"/>
                    <a:pt x="1216" y="196"/>
                    <a:pt x="1222" y="219"/>
                  </a:cubicBezTo>
                  <a:cubicBezTo>
                    <a:pt x="1214" y="237"/>
                    <a:pt x="1208" y="256"/>
                    <a:pt x="1203" y="273"/>
                  </a:cubicBezTo>
                  <a:moveTo>
                    <a:pt x="1148" y="264"/>
                  </a:moveTo>
                  <a:cubicBezTo>
                    <a:pt x="1141" y="235"/>
                    <a:pt x="1137" y="204"/>
                    <a:pt x="1134" y="173"/>
                  </a:cubicBezTo>
                  <a:cubicBezTo>
                    <a:pt x="1137" y="166"/>
                    <a:pt x="1142" y="155"/>
                    <a:pt x="1149" y="141"/>
                  </a:cubicBezTo>
                  <a:cubicBezTo>
                    <a:pt x="1149" y="142"/>
                    <a:pt x="1149" y="142"/>
                    <a:pt x="1149" y="143"/>
                  </a:cubicBezTo>
                  <a:cubicBezTo>
                    <a:pt x="1152" y="168"/>
                    <a:pt x="1157" y="192"/>
                    <a:pt x="1164" y="214"/>
                  </a:cubicBezTo>
                  <a:cubicBezTo>
                    <a:pt x="1156" y="233"/>
                    <a:pt x="1151" y="251"/>
                    <a:pt x="1148" y="264"/>
                  </a:cubicBezTo>
                  <a:moveTo>
                    <a:pt x="1455" y="245"/>
                  </a:moveTo>
                  <a:cubicBezTo>
                    <a:pt x="1456" y="219"/>
                    <a:pt x="1458" y="190"/>
                    <a:pt x="1462" y="158"/>
                  </a:cubicBezTo>
                  <a:cubicBezTo>
                    <a:pt x="1462" y="158"/>
                    <a:pt x="1462" y="158"/>
                    <a:pt x="1462" y="158"/>
                  </a:cubicBezTo>
                  <a:cubicBezTo>
                    <a:pt x="1479" y="149"/>
                    <a:pt x="1496" y="142"/>
                    <a:pt x="1514" y="136"/>
                  </a:cubicBezTo>
                  <a:cubicBezTo>
                    <a:pt x="1514" y="138"/>
                    <a:pt x="1513" y="141"/>
                    <a:pt x="1513" y="143"/>
                  </a:cubicBezTo>
                  <a:cubicBezTo>
                    <a:pt x="1507" y="173"/>
                    <a:pt x="1503" y="200"/>
                    <a:pt x="1499" y="225"/>
                  </a:cubicBezTo>
                  <a:cubicBezTo>
                    <a:pt x="1486" y="230"/>
                    <a:pt x="1473" y="235"/>
                    <a:pt x="1460" y="242"/>
                  </a:cubicBezTo>
                  <a:cubicBezTo>
                    <a:pt x="1458" y="243"/>
                    <a:pt x="1456" y="244"/>
                    <a:pt x="1455" y="245"/>
                  </a:cubicBezTo>
                  <a:moveTo>
                    <a:pt x="1708" y="243"/>
                  </a:moveTo>
                  <a:cubicBezTo>
                    <a:pt x="1699" y="235"/>
                    <a:pt x="1689" y="228"/>
                    <a:pt x="1677" y="222"/>
                  </a:cubicBezTo>
                  <a:cubicBezTo>
                    <a:pt x="1687" y="199"/>
                    <a:pt x="1696" y="174"/>
                    <a:pt x="1705" y="147"/>
                  </a:cubicBezTo>
                  <a:cubicBezTo>
                    <a:pt x="1707" y="142"/>
                    <a:pt x="1708" y="137"/>
                    <a:pt x="1710" y="132"/>
                  </a:cubicBezTo>
                  <a:cubicBezTo>
                    <a:pt x="1725" y="138"/>
                    <a:pt x="1739" y="146"/>
                    <a:pt x="1750" y="156"/>
                  </a:cubicBezTo>
                  <a:cubicBezTo>
                    <a:pt x="1738" y="187"/>
                    <a:pt x="1723" y="216"/>
                    <a:pt x="1708" y="243"/>
                  </a:cubicBezTo>
                  <a:moveTo>
                    <a:pt x="1511" y="221"/>
                  </a:moveTo>
                  <a:cubicBezTo>
                    <a:pt x="1515" y="198"/>
                    <a:pt x="1519" y="172"/>
                    <a:pt x="1524" y="145"/>
                  </a:cubicBezTo>
                  <a:cubicBezTo>
                    <a:pt x="1524" y="141"/>
                    <a:pt x="1525" y="136"/>
                    <a:pt x="1526" y="132"/>
                  </a:cubicBezTo>
                  <a:cubicBezTo>
                    <a:pt x="1542" y="127"/>
                    <a:pt x="1559" y="123"/>
                    <a:pt x="1575" y="121"/>
                  </a:cubicBezTo>
                  <a:cubicBezTo>
                    <a:pt x="1576" y="121"/>
                    <a:pt x="1577" y="120"/>
                    <a:pt x="1578" y="120"/>
                  </a:cubicBezTo>
                  <a:cubicBezTo>
                    <a:pt x="1577" y="128"/>
                    <a:pt x="1575" y="135"/>
                    <a:pt x="1573" y="143"/>
                  </a:cubicBezTo>
                  <a:cubicBezTo>
                    <a:pt x="1568" y="167"/>
                    <a:pt x="1563" y="189"/>
                    <a:pt x="1558" y="210"/>
                  </a:cubicBezTo>
                  <a:cubicBezTo>
                    <a:pt x="1542" y="212"/>
                    <a:pt x="1527" y="216"/>
                    <a:pt x="1511" y="221"/>
                  </a:cubicBezTo>
                  <a:moveTo>
                    <a:pt x="1667" y="218"/>
                  </a:moveTo>
                  <a:cubicBezTo>
                    <a:pt x="1654" y="213"/>
                    <a:pt x="1641" y="210"/>
                    <a:pt x="1626" y="208"/>
                  </a:cubicBezTo>
                  <a:cubicBezTo>
                    <a:pt x="1632" y="189"/>
                    <a:pt x="1639" y="168"/>
                    <a:pt x="1645" y="146"/>
                  </a:cubicBezTo>
                  <a:cubicBezTo>
                    <a:pt x="1647" y="137"/>
                    <a:pt x="1650" y="128"/>
                    <a:pt x="1652" y="118"/>
                  </a:cubicBezTo>
                  <a:cubicBezTo>
                    <a:pt x="1669" y="120"/>
                    <a:pt x="1685" y="124"/>
                    <a:pt x="1699" y="129"/>
                  </a:cubicBezTo>
                  <a:cubicBezTo>
                    <a:pt x="1698" y="133"/>
                    <a:pt x="1696" y="138"/>
                    <a:pt x="1695" y="143"/>
                  </a:cubicBezTo>
                  <a:cubicBezTo>
                    <a:pt x="1686" y="170"/>
                    <a:pt x="1676" y="195"/>
                    <a:pt x="1667" y="218"/>
                  </a:cubicBezTo>
                  <a:moveTo>
                    <a:pt x="1570" y="208"/>
                  </a:moveTo>
                  <a:cubicBezTo>
                    <a:pt x="1574" y="189"/>
                    <a:pt x="1579" y="168"/>
                    <a:pt x="1584" y="145"/>
                  </a:cubicBezTo>
                  <a:cubicBezTo>
                    <a:pt x="1586" y="137"/>
                    <a:pt x="1588" y="128"/>
                    <a:pt x="1590" y="119"/>
                  </a:cubicBezTo>
                  <a:cubicBezTo>
                    <a:pt x="1601" y="118"/>
                    <a:pt x="1612" y="117"/>
                    <a:pt x="1623" y="117"/>
                  </a:cubicBezTo>
                  <a:cubicBezTo>
                    <a:pt x="1629" y="117"/>
                    <a:pt x="1635" y="117"/>
                    <a:pt x="1641" y="118"/>
                  </a:cubicBezTo>
                  <a:cubicBezTo>
                    <a:pt x="1639" y="126"/>
                    <a:pt x="1636" y="134"/>
                    <a:pt x="1634" y="143"/>
                  </a:cubicBezTo>
                  <a:cubicBezTo>
                    <a:pt x="1628" y="166"/>
                    <a:pt x="1621" y="187"/>
                    <a:pt x="1615" y="207"/>
                  </a:cubicBezTo>
                  <a:cubicBezTo>
                    <a:pt x="1610" y="207"/>
                    <a:pt x="1605" y="207"/>
                    <a:pt x="1599" y="207"/>
                  </a:cubicBezTo>
                  <a:cubicBezTo>
                    <a:pt x="1590" y="207"/>
                    <a:pt x="1580" y="207"/>
                    <a:pt x="1570" y="208"/>
                  </a:cubicBezTo>
                  <a:moveTo>
                    <a:pt x="1164" y="169"/>
                  </a:moveTo>
                  <a:cubicBezTo>
                    <a:pt x="1162" y="160"/>
                    <a:pt x="1161" y="151"/>
                    <a:pt x="1160" y="141"/>
                  </a:cubicBezTo>
                  <a:cubicBezTo>
                    <a:pt x="1159" y="135"/>
                    <a:pt x="1159" y="129"/>
                    <a:pt x="1158" y="123"/>
                  </a:cubicBezTo>
                  <a:cubicBezTo>
                    <a:pt x="1160" y="120"/>
                    <a:pt x="1162" y="117"/>
                    <a:pt x="1163" y="114"/>
                  </a:cubicBezTo>
                  <a:cubicBezTo>
                    <a:pt x="1163" y="116"/>
                    <a:pt x="1163" y="117"/>
                    <a:pt x="1163" y="119"/>
                  </a:cubicBezTo>
                  <a:cubicBezTo>
                    <a:pt x="1163" y="136"/>
                    <a:pt x="1164" y="152"/>
                    <a:pt x="1164" y="169"/>
                  </a:cubicBezTo>
                  <a:moveTo>
                    <a:pt x="1306" y="278"/>
                  </a:moveTo>
                  <a:cubicBezTo>
                    <a:pt x="1292" y="241"/>
                    <a:pt x="1283" y="198"/>
                    <a:pt x="1281" y="148"/>
                  </a:cubicBezTo>
                  <a:cubicBezTo>
                    <a:pt x="1296" y="131"/>
                    <a:pt x="1313" y="115"/>
                    <a:pt x="1333" y="101"/>
                  </a:cubicBezTo>
                  <a:cubicBezTo>
                    <a:pt x="1332" y="115"/>
                    <a:pt x="1331" y="129"/>
                    <a:pt x="1331" y="142"/>
                  </a:cubicBezTo>
                  <a:cubicBezTo>
                    <a:pt x="1330" y="149"/>
                    <a:pt x="1330" y="155"/>
                    <a:pt x="1330" y="162"/>
                  </a:cubicBezTo>
                  <a:cubicBezTo>
                    <a:pt x="1330" y="190"/>
                    <a:pt x="1332" y="215"/>
                    <a:pt x="1336" y="239"/>
                  </a:cubicBezTo>
                  <a:cubicBezTo>
                    <a:pt x="1325" y="251"/>
                    <a:pt x="1314" y="264"/>
                    <a:pt x="1306" y="278"/>
                  </a:cubicBezTo>
                  <a:moveTo>
                    <a:pt x="1232" y="203"/>
                  </a:moveTo>
                  <a:cubicBezTo>
                    <a:pt x="1228" y="184"/>
                    <a:pt x="1222" y="164"/>
                    <a:pt x="1221" y="142"/>
                  </a:cubicBezTo>
                  <a:cubicBezTo>
                    <a:pt x="1220" y="138"/>
                    <a:pt x="1220" y="134"/>
                    <a:pt x="1220" y="130"/>
                  </a:cubicBezTo>
                  <a:cubicBezTo>
                    <a:pt x="1234" y="109"/>
                    <a:pt x="1253" y="87"/>
                    <a:pt x="1274" y="67"/>
                  </a:cubicBezTo>
                  <a:cubicBezTo>
                    <a:pt x="1273" y="83"/>
                    <a:pt x="1270" y="99"/>
                    <a:pt x="1270" y="115"/>
                  </a:cubicBezTo>
                  <a:cubicBezTo>
                    <a:pt x="1270" y="124"/>
                    <a:pt x="1271" y="134"/>
                    <a:pt x="1275" y="143"/>
                  </a:cubicBezTo>
                  <a:cubicBezTo>
                    <a:pt x="1275" y="143"/>
                    <a:pt x="1275" y="143"/>
                    <a:pt x="1275" y="143"/>
                  </a:cubicBezTo>
                  <a:cubicBezTo>
                    <a:pt x="1254" y="163"/>
                    <a:pt x="1242" y="183"/>
                    <a:pt x="1232" y="203"/>
                  </a:cubicBezTo>
                  <a:moveTo>
                    <a:pt x="1346" y="228"/>
                  </a:moveTo>
                  <a:cubicBezTo>
                    <a:pt x="1343" y="208"/>
                    <a:pt x="1342" y="186"/>
                    <a:pt x="1342" y="162"/>
                  </a:cubicBezTo>
                  <a:cubicBezTo>
                    <a:pt x="1342" y="156"/>
                    <a:pt x="1342" y="150"/>
                    <a:pt x="1342" y="143"/>
                  </a:cubicBezTo>
                  <a:cubicBezTo>
                    <a:pt x="1342" y="127"/>
                    <a:pt x="1343" y="110"/>
                    <a:pt x="1344" y="93"/>
                  </a:cubicBezTo>
                  <a:cubicBezTo>
                    <a:pt x="1361" y="81"/>
                    <a:pt x="1379" y="71"/>
                    <a:pt x="1399" y="61"/>
                  </a:cubicBezTo>
                  <a:cubicBezTo>
                    <a:pt x="1396" y="90"/>
                    <a:pt x="1393" y="117"/>
                    <a:pt x="1391" y="143"/>
                  </a:cubicBezTo>
                  <a:cubicBezTo>
                    <a:pt x="1390" y="159"/>
                    <a:pt x="1389" y="175"/>
                    <a:pt x="1389" y="190"/>
                  </a:cubicBezTo>
                  <a:cubicBezTo>
                    <a:pt x="1373" y="201"/>
                    <a:pt x="1359" y="214"/>
                    <a:pt x="1346" y="228"/>
                  </a:cubicBezTo>
                  <a:moveTo>
                    <a:pt x="1176" y="185"/>
                  </a:moveTo>
                  <a:cubicBezTo>
                    <a:pt x="1175" y="163"/>
                    <a:pt x="1174" y="140"/>
                    <a:pt x="1174" y="117"/>
                  </a:cubicBezTo>
                  <a:cubicBezTo>
                    <a:pt x="1174" y="110"/>
                    <a:pt x="1174" y="103"/>
                    <a:pt x="1175" y="96"/>
                  </a:cubicBezTo>
                  <a:cubicBezTo>
                    <a:pt x="1184" y="80"/>
                    <a:pt x="1195" y="64"/>
                    <a:pt x="1208" y="47"/>
                  </a:cubicBezTo>
                  <a:cubicBezTo>
                    <a:pt x="1208" y="57"/>
                    <a:pt x="1208" y="67"/>
                    <a:pt x="1208" y="76"/>
                  </a:cubicBezTo>
                  <a:cubicBezTo>
                    <a:pt x="1208" y="94"/>
                    <a:pt x="1208" y="110"/>
                    <a:pt x="1209" y="126"/>
                  </a:cubicBezTo>
                  <a:cubicBezTo>
                    <a:pt x="1195" y="147"/>
                    <a:pt x="1185" y="167"/>
                    <a:pt x="1176" y="185"/>
                  </a:cubicBezTo>
                  <a:moveTo>
                    <a:pt x="1755" y="144"/>
                  </a:moveTo>
                  <a:cubicBezTo>
                    <a:pt x="1743" y="135"/>
                    <a:pt x="1729" y="127"/>
                    <a:pt x="1713" y="121"/>
                  </a:cubicBezTo>
                  <a:cubicBezTo>
                    <a:pt x="1721" y="95"/>
                    <a:pt x="1728" y="68"/>
                    <a:pt x="1733" y="40"/>
                  </a:cubicBezTo>
                  <a:cubicBezTo>
                    <a:pt x="1748" y="50"/>
                    <a:pt x="1763" y="61"/>
                    <a:pt x="1778" y="75"/>
                  </a:cubicBezTo>
                  <a:cubicBezTo>
                    <a:pt x="1771" y="98"/>
                    <a:pt x="1764" y="121"/>
                    <a:pt x="1756" y="143"/>
                  </a:cubicBezTo>
                  <a:cubicBezTo>
                    <a:pt x="1755" y="143"/>
                    <a:pt x="1755" y="144"/>
                    <a:pt x="1755" y="144"/>
                  </a:cubicBezTo>
                  <a:moveTo>
                    <a:pt x="1133" y="149"/>
                  </a:moveTo>
                  <a:cubicBezTo>
                    <a:pt x="1132" y="134"/>
                    <a:pt x="1132" y="118"/>
                    <a:pt x="1132" y="103"/>
                  </a:cubicBezTo>
                  <a:cubicBezTo>
                    <a:pt x="1132" y="88"/>
                    <a:pt x="1132" y="74"/>
                    <a:pt x="1132" y="59"/>
                  </a:cubicBezTo>
                  <a:cubicBezTo>
                    <a:pt x="1134" y="56"/>
                    <a:pt x="1138" y="49"/>
                    <a:pt x="1144" y="39"/>
                  </a:cubicBezTo>
                  <a:cubicBezTo>
                    <a:pt x="1144" y="40"/>
                    <a:pt x="1144" y="40"/>
                    <a:pt x="1144" y="41"/>
                  </a:cubicBezTo>
                  <a:cubicBezTo>
                    <a:pt x="1144" y="69"/>
                    <a:pt x="1145" y="96"/>
                    <a:pt x="1147" y="121"/>
                  </a:cubicBezTo>
                  <a:cubicBezTo>
                    <a:pt x="1141" y="131"/>
                    <a:pt x="1136" y="141"/>
                    <a:pt x="1133" y="149"/>
                  </a:cubicBezTo>
                  <a:moveTo>
                    <a:pt x="1400" y="181"/>
                  </a:moveTo>
                  <a:cubicBezTo>
                    <a:pt x="1401" y="169"/>
                    <a:pt x="1401" y="157"/>
                    <a:pt x="1403" y="144"/>
                  </a:cubicBezTo>
                  <a:cubicBezTo>
                    <a:pt x="1405" y="117"/>
                    <a:pt x="1407" y="88"/>
                    <a:pt x="1410" y="58"/>
                  </a:cubicBezTo>
                  <a:cubicBezTo>
                    <a:pt x="1410" y="57"/>
                    <a:pt x="1410" y="56"/>
                    <a:pt x="1410" y="56"/>
                  </a:cubicBezTo>
                  <a:cubicBezTo>
                    <a:pt x="1420" y="52"/>
                    <a:pt x="1429" y="47"/>
                    <a:pt x="1439" y="44"/>
                  </a:cubicBezTo>
                  <a:cubicBezTo>
                    <a:pt x="1448" y="40"/>
                    <a:pt x="1457" y="37"/>
                    <a:pt x="1465" y="34"/>
                  </a:cubicBezTo>
                  <a:cubicBezTo>
                    <a:pt x="1461" y="71"/>
                    <a:pt x="1457" y="106"/>
                    <a:pt x="1453" y="137"/>
                  </a:cubicBezTo>
                  <a:cubicBezTo>
                    <a:pt x="1452" y="143"/>
                    <a:pt x="1452" y="143"/>
                    <a:pt x="1452" y="143"/>
                  </a:cubicBezTo>
                  <a:cubicBezTo>
                    <a:pt x="1452" y="145"/>
                    <a:pt x="1451" y="148"/>
                    <a:pt x="1451" y="150"/>
                  </a:cubicBezTo>
                  <a:cubicBezTo>
                    <a:pt x="1433" y="159"/>
                    <a:pt x="1416" y="170"/>
                    <a:pt x="1400" y="181"/>
                  </a:cubicBezTo>
                  <a:moveTo>
                    <a:pt x="1463" y="144"/>
                  </a:moveTo>
                  <a:cubicBezTo>
                    <a:pt x="1464" y="138"/>
                    <a:pt x="1464" y="138"/>
                    <a:pt x="1464" y="138"/>
                  </a:cubicBezTo>
                  <a:cubicBezTo>
                    <a:pt x="1468" y="106"/>
                    <a:pt x="1473" y="69"/>
                    <a:pt x="1477" y="30"/>
                  </a:cubicBezTo>
                  <a:cubicBezTo>
                    <a:pt x="1496" y="24"/>
                    <a:pt x="1515" y="19"/>
                    <a:pt x="1532" y="16"/>
                  </a:cubicBezTo>
                  <a:cubicBezTo>
                    <a:pt x="1527" y="55"/>
                    <a:pt x="1522" y="91"/>
                    <a:pt x="1516" y="123"/>
                  </a:cubicBezTo>
                  <a:cubicBezTo>
                    <a:pt x="1498" y="128"/>
                    <a:pt x="1481" y="136"/>
                    <a:pt x="1463" y="144"/>
                  </a:cubicBezTo>
                  <a:moveTo>
                    <a:pt x="1781" y="62"/>
                  </a:moveTo>
                  <a:cubicBezTo>
                    <a:pt x="1766" y="48"/>
                    <a:pt x="1750" y="37"/>
                    <a:pt x="1736" y="27"/>
                  </a:cubicBezTo>
                  <a:cubicBezTo>
                    <a:pt x="1737" y="23"/>
                    <a:pt x="1738" y="18"/>
                    <a:pt x="1738" y="14"/>
                  </a:cubicBezTo>
                  <a:cubicBezTo>
                    <a:pt x="1757" y="18"/>
                    <a:pt x="1773" y="23"/>
                    <a:pt x="1789" y="29"/>
                  </a:cubicBezTo>
                  <a:cubicBezTo>
                    <a:pt x="1786" y="40"/>
                    <a:pt x="1784" y="51"/>
                    <a:pt x="1781" y="62"/>
                  </a:cubicBezTo>
                  <a:moveTo>
                    <a:pt x="1281" y="131"/>
                  </a:moveTo>
                  <a:cubicBezTo>
                    <a:pt x="1281" y="128"/>
                    <a:pt x="1281" y="126"/>
                    <a:pt x="1281" y="124"/>
                  </a:cubicBezTo>
                  <a:cubicBezTo>
                    <a:pt x="1281" y="102"/>
                    <a:pt x="1282" y="80"/>
                    <a:pt x="1283" y="55"/>
                  </a:cubicBezTo>
                  <a:cubicBezTo>
                    <a:pt x="1299" y="39"/>
                    <a:pt x="1318" y="24"/>
                    <a:pt x="1339" y="9"/>
                  </a:cubicBezTo>
                  <a:cubicBezTo>
                    <a:pt x="1337" y="36"/>
                    <a:pt x="1335" y="62"/>
                    <a:pt x="1333" y="86"/>
                  </a:cubicBezTo>
                  <a:cubicBezTo>
                    <a:pt x="1313" y="100"/>
                    <a:pt x="1296" y="115"/>
                    <a:pt x="1281" y="131"/>
                  </a:cubicBezTo>
                  <a:moveTo>
                    <a:pt x="1703" y="117"/>
                  </a:moveTo>
                  <a:cubicBezTo>
                    <a:pt x="1688" y="112"/>
                    <a:pt x="1672" y="109"/>
                    <a:pt x="1655" y="107"/>
                  </a:cubicBezTo>
                  <a:cubicBezTo>
                    <a:pt x="1663" y="74"/>
                    <a:pt x="1669" y="41"/>
                    <a:pt x="1674" y="8"/>
                  </a:cubicBezTo>
                  <a:cubicBezTo>
                    <a:pt x="1684" y="12"/>
                    <a:pt x="1702" y="21"/>
                    <a:pt x="1723" y="34"/>
                  </a:cubicBezTo>
                  <a:cubicBezTo>
                    <a:pt x="1718" y="62"/>
                    <a:pt x="1711" y="90"/>
                    <a:pt x="1703" y="117"/>
                  </a:cubicBezTo>
                  <a:moveTo>
                    <a:pt x="1726" y="21"/>
                  </a:moveTo>
                  <a:cubicBezTo>
                    <a:pt x="1716" y="15"/>
                    <a:pt x="1707" y="11"/>
                    <a:pt x="1700" y="7"/>
                  </a:cubicBezTo>
                  <a:cubicBezTo>
                    <a:pt x="1709" y="8"/>
                    <a:pt x="1718" y="9"/>
                    <a:pt x="1727" y="11"/>
                  </a:cubicBezTo>
                  <a:cubicBezTo>
                    <a:pt x="1727" y="14"/>
                    <a:pt x="1726" y="18"/>
                    <a:pt x="1726" y="21"/>
                  </a:cubicBezTo>
                  <a:moveTo>
                    <a:pt x="1528" y="119"/>
                  </a:moveTo>
                  <a:cubicBezTo>
                    <a:pt x="1534" y="88"/>
                    <a:pt x="1539" y="52"/>
                    <a:pt x="1544" y="13"/>
                  </a:cubicBezTo>
                  <a:cubicBezTo>
                    <a:pt x="1563" y="9"/>
                    <a:pt x="1581" y="7"/>
                    <a:pt x="1598" y="5"/>
                  </a:cubicBezTo>
                  <a:cubicBezTo>
                    <a:pt x="1594" y="39"/>
                    <a:pt x="1588" y="73"/>
                    <a:pt x="1581" y="108"/>
                  </a:cubicBezTo>
                  <a:cubicBezTo>
                    <a:pt x="1579" y="108"/>
                    <a:pt x="1576" y="108"/>
                    <a:pt x="1574" y="109"/>
                  </a:cubicBezTo>
                  <a:cubicBezTo>
                    <a:pt x="1558" y="111"/>
                    <a:pt x="1543" y="115"/>
                    <a:pt x="1528" y="119"/>
                  </a:cubicBezTo>
                  <a:moveTo>
                    <a:pt x="1157" y="103"/>
                  </a:moveTo>
                  <a:cubicBezTo>
                    <a:pt x="1156" y="83"/>
                    <a:pt x="1155" y="61"/>
                    <a:pt x="1155" y="39"/>
                  </a:cubicBezTo>
                  <a:cubicBezTo>
                    <a:pt x="1155" y="34"/>
                    <a:pt x="1155" y="28"/>
                    <a:pt x="1155" y="22"/>
                  </a:cubicBezTo>
                  <a:cubicBezTo>
                    <a:pt x="1159" y="17"/>
                    <a:pt x="1163" y="11"/>
                    <a:pt x="1167" y="5"/>
                  </a:cubicBezTo>
                  <a:cubicBezTo>
                    <a:pt x="1165" y="34"/>
                    <a:pt x="1164" y="63"/>
                    <a:pt x="1164" y="92"/>
                  </a:cubicBezTo>
                  <a:cubicBezTo>
                    <a:pt x="1161" y="96"/>
                    <a:pt x="1159" y="99"/>
                    <a:pt x="1157" y="103"/>
                  </a:cubicBezTo>
                  <a:moveTo>
                    <a:pt x="1593" y="106"/>
                  </a:moveTo>
                  <a:cubicBezTo>
                    <a:pt x="1600" y="72"/>
                    <a:pt x="1605" y="38"/>
                    <a:pt x="1610" y="4"/>
                  </a:cubicBezTo>
                  <a:cubicBezTo>
                    <a:pt x="1621" y="3"/>
                    <a:pt x="1632" y="3"/>
                    <a:pt x="1642" y="3"/>
                  </a:cubicBezTo>
                  <a:cubicBezTo>
                    <a:pt x="1649" y="3"/>
                    <a:pt x="1656" y="3"/>
                    <a:pt x="1664" y="4"/>
                  </a:cubicBezTo>
                  <a:cubicBezTo>
                    <a:pt x="1659" y="38"/>
                    <a:pt x="1652" y="72"/>
                    <a:pt x="1644" y="106"/>
                  </a:cubicBezTo>
                  <a:cubicBezTo>
                    <a:pt x="1637" y="105"/>
                    <a:pt x="1630" y="105"/>
                    <a:pt x="1622" y="105"/>
                  </a:cubicBezTo>
                  <a:cubicBezTo>
                    <a:pt x="1613" y="105"/>
                    <a:pt x="1603" y="105"/>
                    <a:pt x="1593" y="106"/>
                  </a:cubicBezTo>
                  <a:moveTo>
                    <a:pt x="1805" y="0"/>
                  </a:moveTo>
                  <a:cubicBezTo>
                    <a:pt x="1794" y="0"/>
                    <a:pt x="1794" y="0"/>
                    <a:pt x="1794" y="0"/>
                  </a:cubicBezTo>
                  <a:cubicBezTo>
                    <a:pt x="1793" y="5"/>
                    <a:pt x="1792" y="11"/>
                    <a:pt x="1791" y="16"/>
                  </a:cubicBezTo>
                  <a:cubicBezTo>
                    <a:pt x="1789" y="15"/>
                    <a:pt x="1786" y="14"/>
                    <a:pt x="1784" y="13"/>
                  </a:cubicBezTo>
                  <a:cubicBezTo>
                    <a:pt x="1771" y="9"/>
                    <a:pt x="1756" y="5"/>
                    <a:pt x="1740" y="1"/>
                  </a:cubicBezTo>
                  <a:cubicBezTo>
                    <a:pt x="1740" y="1"/>
                    <a:pt x="1740" y="0"/>
                    <a:pt x="1740" y="0"/>
                  </a:cubicBezTo>
                  <a:cubicBezTo>
                    <a:pt x="1550" y="0"/>
                    <a:pt x="1550" y="0"/>
                    <a:pt x="1550" y="0"/>
                  </a:cubicBezTo>
                  <a:cubicBezTo>
                    <a:pt x="1549" y="0"/>
                    <a:pt x="1547" y="0"/>
                    <a:pt x="1545" y="1"/>
                  </a:cubicBezTo>
                  <a:cubicBezTo>
                    <a:pt x="1545" y="0"/>
                    <a:pt x="1545" y="0"/>
                    <a:pt x="1545" y="0"/>
                  </a:cubicBezTo>
                  <a:cubicBezTo>
                    <a:pt x="1534" y="0"/>
                    <a:pt x="1534" y="0"/>
                    <a:pt x="1534" y="0"/>
                  </a:cubicBezTo>
                  <a:cubicBezTo>
                    <a:pt x="1534" y="1"/>
                    <a:pt x="1534" y="2"/>
                    <a:pt x="1534" y="3"/>
                  </a:cubicBezTo>
                  <a:cubicBezTo>
                    <a:pt x="1516" y="7"/>
                    <a:pt x="1498" y="12"/>
                    <a:pt x="1479" y="17"/>
                  </a:cubicBezTo>
                  <a:cubicBezTo>
                    <a:pt x="1479" y="12"/>
                    <a:pt x="1480" y="6"/>
                    <a:pt x="1480" y="0"/>
                  </a:cubicBezTo>
                  <a:cubicBezTo>
                    <a:pt x="1469" y="0"/>
                    <a:pt x="1469" y="0"/>
                    <a:pt x="1469" y="0"/>
                  </a:cubicBezTo>
                  <a:cubicBezTo>
                    <a:pt x="1468" y="7"/>
                    <a:pt x="1468" y="14"/>
                    <a:pt x="1467" y="21"/>
                  </a:cubicBezTo>
                  <a:cubicBezTo>
                    <a:pt x="1457" y="25"/>
                    <a:pt x="1446" y="28"/>
                    <a:pt x="1435" y="32"/>
                  </a:cubicBezTo>
                  <a:cubicBezTo>
                    <a:pt x="1427" y="36"/>
                    <a:pt x="1419" y="39"/>
                    <a:pt x="1412" y="42"/>
                  </a:cubicBezTo>
                  <a:cubicBezTo>
                    <a:pt x="1413" y="28"/>
                    <a:pt x="1414" y="14"/>
                    <a:pt x="1416" y="0"/>
                  </a:cubicBezTo>
                  <a:cubicBezTo>
                    <a:pt x="1404" y="0"/>
                    <a:pt x="1404" y="0"/>
                    <a:pt x="1404" y="0"/>
                  </a:cubicBezTo>
                  <a:cubicBezTo>
                    <a:pt x="1403" y="16"/>
                    <a:pt x="1401" y="32"/>
                    <a:pt x="1400" y="48"/>
                  </a:cubicBezTo>
                  <a:cubicBezTo>
                    <a:pt x="1380" y="57"/>
                    <a:pt x="1362" y="67"/>
                    <a:pt x="1345" y="78"/>
                  </a:cubicBezTo>
                  <a:cubicBezTo>
                    <a:pt x="1347" y="54"/>
                    <a:pt x="1348" y="28"/>
                    <a:pt x="1350" y="1"/>
                  </a:cubicBezTo>
                  <a:cubicBezTo>
                    <a:pt x="1351" y="0"/>
                    <a:pt x="1352" y="0"/>
                    <a:pt x="1353" y="0"/>
                  </a:cubicBezTo>
                  <a:cubicBezTo>
                    <a:pt x="1332" y="0"/>
                    <a:pt x="1332" y="0"/>
                    <a:pt x="1332" y="0"/>
                  </a:cubicBezTo>
                  <a:cubicBezTo>
                    <a:pt x="1314" y="12"/>
                    <a:pt x="1298" y="25"/>
                    <a:pt x="1283" y="39"/>
                  </a:cubicBezTo>
                  <a:cubicBezTo>
                    <a:pt x="1284" y="26"/>
                    <a:pt x="1284" y="13"/>
                    <a:pt x="1285" y="0"/>
                  </a:cubicBezTo>
                  <a:cubicBezTo>
                    <a:pt x="1274" y="0"/>
                    <a:pt x="1274" y="0"/>
                    <a:pt x="1274" y="0"/>
                  </a:cubicBezTo>
                  <a:cubicBezTo>
                    <a:pt x="1273" y="17"/>
                    <a:pt x="1272" y="34"/>
                    <a:pt x="1272" y="50"/>
                  </a:cubicBezTo>
                  <a:cubicBezTo>
                    <a:pt x="1251" y="70"/>
                    <a:pt x="1234" y="90"/>
                    <a:pt x="1219" y="111"/>
                  </a:cubicBezTo>
                  <a:cubicBezTo>
                    <a:pt x="1219" y="100"/>
                    <a:pt x="1219" y="89"/>
                    <a:pt x="1219" y="78"/>
                  </a:cubicBezTo>
                  <a:cubicBezTo>
                    <a:pt x="1219" y="64"/>
                    <a:pt x="1219" y="48"/>
                    <a:pt x="1220" y="33"/>
                  </a:cubicBezTo>
                  <a:cubicBezTo>
                    <a:pt x="1228" y="22"/>
                    <a:pt x="1238" y="11"/>
                    <a:pt x="1248" y="0"/>
                  </a:cubicBezTo>
                  <a:cubicBezTo>
                    <a:pt x="1233" y="0"/>
                    <a:pt x="1233" y="0"/>
                    <a:pt x="1233" y="0"/>
                  </a:cubicBezTo>
                  <a:cubicBezTo>
                    <a:pt x="1228" y="4"/>
                    <a:pt x="1224" y="9"/>
                    <a:pt x="1220" y="14"/>
                  </a:cubicBezTo>
                  <a:cubicBezTo>
                    <a:pt x="1220" y="9"/>
                    <a:pt x="1221" y="4"/>
                    <a:pt x="1221" y="0"/>
                  </a:cubicBezTo>
                  <a:cubicBezTo>
                    <a:pt x="1210" y="0"/>
                    <a:pt x="1210" y="0"/>
                    <a:pt x="1210" y="0"/>
                  </a:cubicBezTo>
                  <a:cubicBezTo>
                    <a:pt x="1209" y="9"/>
                    <a:pt x="1209" y="19"/>
                    <a:pt x="1209" y="28"/>
                  </a:cubicBezTo>
                  <a:cubicBezTo>
                    <a:pt x="1196" y="44"/>
                    <a:pt x="1185" y="59"/>
                    <a:pt x="1175" y="74"/>
                  </a:cubicBezTo>
                  <a:cubicBezTo>
                    <a:pt x="1176" y="49"/>
                    <a:pt x="1177" y="24"/>
                    <a:pt x="1178" y="0"/>
                  </a:cubicBezTo>
                  <a:cubicBezTo>
                    <a:pt x="1157" y="0"/>
                    <a:pt x="1157" y="0"/>
                    <a:pt x="1157" y="0"/>
                  </a:cubicBezTo>
                  <a:cubicBezTo>
                    <a:pt x="1156" y="0"/>
                    <a:pt x="1156" y="1"/>
                    <a:pt x="1156" y="1"/>
                  </a:cubicBezTo>
                  <a:cubicBezTo>
                    <a:pt x="1156" y="1"/>
                    <a:pt x="1156" y="0"/>
                    <a:pt x="1156" y="0"/>
                  </a:cubicBezTo>
                  <a:cubicBezTo>
                    <a:pt x="1145" y="0"/>
                    <a:pt x="1145" y="0"/>
                    <a:pt x="1145" y="0"/>
                  </a:cubicBezTo>
                  <a:cubicBezTo>
                    <a:pt x="1144" y="6"/>
                    <a:pt x="1144" y="12"/>
                    <a:pt x="1144" y="18"/>
                  </a:cubicBezTo>
                  <a:cubicBezTo>
                    <a:pt x="1140" y="24"/>
                    <a:pt x="1137" y="30"/>
                    <a:pt x="1134" y="34"/>
                  </a:cubicBezTo>
                  <a:cubicBezTo>
                    <a:pt x="1135" y="23"/>
                    <a:pt x="1135" y="11"/>
                    <a:pt x="1136" y="0"/>
                  </a:cubicBezTo>
                  <a:cubicBezTo>
                    <a:pt x="1125" y="0"/>
                    <a:pt x="1125" y="0"/>
                    <a:pt x="1125" y="0"/>
                  </a:cubicBezTo>
                  <a:cubicBezTo>
                    <a:pt x="1124" y="11"/>
                    <a:pt x="1123" y="22"/>
                    <a:pt x="1123" y="33"/>
                  </a:cubicBezTo>
                  <a:cubicBezTo>
                    <a:pt x="1122" y="22"/>
                    <a:pt x="1122" y="22"/>
                    <a:pt x="1122" y="22"/>
                  </a:cubicBezTo>
                  <a:cubicBezTo>
                    <a:pt x="1122" y="22"/>
                    <a:pt x="1122" y="22"/>
                    <a:pt x="1121" y="22"/>
                  </a:cubicBezTo>
                  <a:cubicBezTo>
                    <a:pt x="1121" y="34"/>
                    <a:pt x="1121" y="34"/>
                    <a:pt x="1121" y="34"/>
                  </a:cubicBezTo>
                  <a:cubicBezTo>
                    <a:pt x="1122" y="34"/>
                    <a:pt x="1122" y="34"/>
                    <a:pt x="1123" y="34"/>
                  </a:cubicBezTo>
                  <a:cubicBezTo>
                    <a:pt x="1122" y="41"/>
                    <a:pt x="1122" y="48"/>
                    <a:pt x="1121" y="56"/>
                  </a:cubicBezTo>
                  <a:cubicBezTo>
                    <a:pt x="1121" y="56"/>
                    <a:pt x="1121" y="56"/>
                    <a:pt x="1121" y="56"/>
                  </a:cubicBezTo>
                  <a:cubicBezTo>
                    <a:pt x="1121" y="57"/>
                    <a:pt x="1121" y="57"/>
                    <a:pt x="1121" y="57"/>
                  </a:cubicBezTo>
                  <a:cubicBezTo>
                    <a:pt x="1121" y="57"/>
                    <a:pt x="1121" y="57"/>
                    <a:pt x="1121" y="57"/>
                  </a:cubicBezTo>
                  <a:cubicBezTo>
                    <a:pt x="1121" y="58"/>
                    <a:pt x="1121" y="58"/>
                    <a:pt x="1121" y="59"/>
                  </a:cubicBezTo>
                  <a:cubicBezTo>
                    <a:pt x="1121" y="146"/>
                    <a:pt x="1121" y="146"/>
                    <a:pt x="1121" y="146"/>
                  </a:cubicBezTo>
                  <a:cubicBezTo>
                    <a:pt x="1122" y="151"/>
                    <a:pt x="1122" y="157"/>
                    <a:pt x="1122" y="163"/>
                  </a:cubicBezTo>
                  <a:cubicBezTo>
                    <a:pt x="1122" y="163"/>
                    <a:pt x="1122" y="163"/>
                    <a:pt x="1121" y="163"/>
                  </a:cubicBezTo>
                  <a:cubicBezTo>
                    <a:pt x="1121" y="175"/>
                    <a:pt x="1121" y="175"/>
                    <a:pt x="1121" y="175"/>
                  </a:cubicBezTo>
                  <a:cubicBezTo>
                    <a:pt x="1121" y="175"/>
                    <a:pt x="1121" y="175"/>
                    <a:pt x="1121" y="175"/>
                  </a:cubicBezTo>
                  <a:cubicBezTo>
                    <a:pt x="1121" y="175"/>
                    <a:pt x="1121" y="175"/>
                    <a:pt x="1121" y="175"/>
                  </a:cubicBezTo>
                  <a:cubicBezTo>
                    <a:pt x="1121" y="179"/>
                    <a:pt x="1121" y="179"/>
                    <a:pt x="1121" y="179"/>
                  </a:cubicBezTo>
                  <a:cubicBezTo>
                    <a:pt x="1124" y="180"/>
                    <a:pt x="1124" y="180"/>
                    <a:pt x="1124" y="180"/>
                  </a:cubicBezTo>
                  <a:cubicBezTo>
                    <a:pt x="1124" y="190"/>
                    <a:pt x="1125" y="200"/>
                    <a:pt x="1127" y="209"/>
                  </a:cubicBezTo>
                  <a:cubicBezTo>
                    <a:pt x="1125" y="209"/>
                    <a:pt x="1123" y="210"/>
                    <a:pt x="1121" y="210"/>
                  </a:cubicBezTo>
                  <a:cubicBezTo>
                    <a:pt x="1121" y="222"/>
                    <a:pt x="1121" y="222"/>
                    <a:pt x="1121" y="222"/>
                  </a:cubicBezTo>
                  <a:cubicBezTo>
                    <a:pt x="1124" y="222"/>
                    <a:pt x="1126" y="221"/>
                    <a:pt x="1128" y="221"/>
                  </a:cubicBezTo>
                  <a:cubicBezTo>
                    <a:pt x="1130" y="232"/>
                    <a:pt x="1132" y="243"/>
                    <a:pt x="1134" y="255"/>
                  </a:cubicBezTo>
                  <a:cubicBezTo>
                    <a:pt x="1130" y="255"/>
                    <a:pt x="1126" y="256"/>
                    <a:pt x="1121" y="257"/>
                  </a:cubicBezTo>
                  <a:cubicBezTo>
                    <a:pt x="1121" y="270"/>
                    <a:pt x="1121" y="270"/>
                    <a:pt x="1121" y="270"/>
                  </a:cubicBezTo>
                  <a:cubicBezTo>
                    <a:pt x="1126" y="268"/>
                    <a:pt x="1132" y="267"/>
                    <a:pt x="1137" y="266"/>
                  </a:cubicBezTo>
                  <a:cubicBezTo>
                    <a:pt x="1138" y="270"/>
                    <a:pt x="1138" y="274"/>
                    <a:pt x="1139" y="277"/>
                  </a:cubicBezTo>
                  <a:cubicBezTo>
                    <a:pt x="1136" y="279"/>
                    <a:pt x="1136" y="279"/>
                    <a:pt x="1136" y="279"/>
                  </a:cubicBezTo>
                  <a:cubicBezTo>
                    <a:pt x="1138" y="281"/>
                    <a:pt x="1140" y="284"/>
                    <a:pt x="1142" y="286"/>
                  </a:cubicBezTo>
                  <a:cubicBezTo>
                    <a:pt x="1142" y="287"/>
                    <a:pt x="1142" y="288"/>
                    <a:pt x="1143" y="290"/>
                  </a:cubicBezTo>
                  <a:cubicBezTo>
                    <a:pt x="1142" y="295"/>
                    <a:pt x="1141" y="298"/>
                    <a:pt x="1141" y="298"/>
                  </a:cubicBezTo>
                  <a:cubicBezTo>
                    <a:pt x="1145" y="298"/>
                    <a:pt x="1145" y="298"/>
                    <a:pt x="1145" y="298"/>
                  </a:cubicBezTo>
                  <a:cubicBezTo>
                    <a:pt x="1154" y="330"/>
                    <a:pt x="1166" y="359"/>
                    <a:pt x="1181" y="387"/>
                  </a:cubicBezTo>
                  <a:cubicBezTo>
                    <a:pt x="1177" y="386"/>
                    <a:pt x="1172" y="386"/>
                    <a:pt x="1167" y="386"/>
                  </a:cubicBezTo>
                  <a:cubicBezTo>
                    <a:pt x="1155" y="386"/>
                    <a:pt x="1141" y="388"/>
                    <a:pt x="1126" y="392"/>
                  </a:cubicBezTo>
                  <a:cubicBezTo>
                    <a:pt x="1125" y="387"/>
                    <a:pt x="1123" y="383"/>
                    <a:pt x="1121" y="379"/>
                  </a:cubicBezTo>
                  <a:cubicBezTo>
                    <a:pt x="1121" y="409"/>
                    <a:pt x="1121" y="409"/>
                    <a:pt x="1121" y="409"/>
                  </a:cubicBezTo>
                  <a:cubicBezTo>
                    <a:pt x="1124" y="414"/>
                    <a:pt x="1126" y="419"/>
                    <a:pt x="1129" y="424"/>
                  </a:cubicBezTo>
                  <a:cubicBezTo>
                    <a:pt x="1127" y="424"/>
                    <a:pt x="1124" y="425"/>
                    <a:pt x="1121" y="426"/>
                  </a:cubicBezTo>
                  <a:cubicBezTo>
                    <a:pt x="1121" y="438"/>
                    <a:pt x="1121" y="438"/>
                    <a:pt x="1121" y="438"/>
                  </a:cubicBezTo>
                  <a:cubicBezTo>
                    <a:pt x="1126" y="437"/>
                    <a:pt x="1131" y="435"/>
                    <a:pt x="1136" y="434"/>
                  </a:cubicBezTo>
                  <a:cubicBezTo>
                    <a:pt x="1140" y="440"/>
                    <a:pt x="1144" y="446"/>
                    <a:pt x="1148" y="452"/>
                  </a:cubicBezTo>
                  <a:cubicBezTo>
                    <a:pt x="1139" y="454"/>
                    <a:pt x="1130" y="456"/>
                    <a:pt x="1121" y="458"/>
                  </a:cubicBezTo>
                  <a:cubicBezTo>
                    <a:pt x="1121" y="471"/>
                    <a:pt x="1121" y="471"/>
                    <a:pt x="1121" y="471"/>
                  </a:cubicBezTo>
                  <a:cubicBezTo>
                    <a:pt x="1133" y="467"/>
                    <a:pt x="1145" y="465"/>
                    <a:pt x="1156" y="463"/>
                  </a:cubicBezTo>
                  <a:cubicBezTo>
                    <a:pt x="1161" y="468"/>
                    <a:pt x="1167" y="474"/>
                    <a:pt x="1172" y="480"/>
                  </a:cubicBezTo>
                  <a:cubicBezTo>
                    <a:pt x="1155" y="482"/>
                    <a:pt x="1138" y="486"/>
                    <a:pt x="1121" y="490"/>
                  </a:cubicBezTo>
                  <a:cubicBezTo>
                    <a:pt x="1121" y="497"/>
                    <a:pt x="1121" y="497"/>
                    <a:pt x="1121" y="497"/>
                  </a:cubicBezTo>
                  <a:cubicBezTo>
                    <a:pt x="1144" y="497"/>
                    <a:pt x="1144" y="497"/>
                    <a:pt x="1144" y="497"/>
                  </a:cubicBezTo>
                  <a:cubicBezTo>
                    <a:pt x="1157" y="494"/>
                    <a:pt x="1170" y="492"/>
                    <a:pt x="1183" y="491"/>
                  </a:cubicBezTo>
                  <a:cubicBezTo>
                    <a:pt x="1185" y="493"/>
                    <a:pt x="1188" y="495"/>
                    <a:pt x="1190" y="497"/>
                  </a:cubicBezTo>
                  <a:cubicBezTo>
                    <a:pt x="1208" y="497"/>
                    <a:pt x="1208" y="497"/>
                    <a:pt x="1208" y="497"/>
                  </a:cubicBezTo>
                  <a:cubicBezTo>
                    <a:pt x="1205" y="495"/>
                    <a:pt x="1202" y="492"/>
                    <a:pt x="1200" y="490"/>
                  </a:cubicBezTo>
                  <a:cubicBezTo>
                    <a:pt x="1203" y="490"/>
                    <a:pt x="1207" y="489"/>
                    <a:pt x="1211" y="489"/>
                  </a:cubicBezTo>
                  <a:cubicBezTo>
                    <a:pt x="1225" y="489"/>
                    <a:pt x="1238" y="490"/>
                    <a:pt x="1252" y="493"/>
                  </a:cubicBezTo>
                  <a:cubicBezTo>
                    <a:pt x="1253" y="481"/>
                    <a:pt x="1253" y="481"/>
                    <a:pt x="1253" y="481"/>
                  </a:cubicBezTo>
                  <a:cubicBezTo>
                    <a:pt x="1239" y="479"/>
                    <a:pt x="1225" y="478"/>
                    <a:pt x="1211" y="478"/>
                  </a:cubicBezTo>
                  <a:cubicBezTo>
                    <a:pt x="1203" y="478"/>
                    <a:pt x="1195" y="478"/>
                    <a:pt x="1187" y="478"/>
                  </a:cubicBezTo>
                  <a:cubicBezTo>
                    <a:pt x="1181" y="473"/>
                    <a:pt x="1176" y="467"/>
                    <a:pt x="1170" y="461"/>
                  </a:cubicBezTo>
                  <a:cubicBezTo>
                    <a:pt x="1180" y="460"/>
                    <a:pt x="1189" y="459"/>
                    <a:pt x="1198" y="459"/>
                  </a:cubicBezTo>
                  <a:cubicBezTo>
                    <a:pt x="1209" y="459"/>
                    <a:pt x="1219" y="460"/>
                    <a:pt x="1229" y="462"/>
                  </a:cubicBezTo>
                  <a:cubicBezTo>
                    <a:pt x="1230" y="455"/>
                    <a:pt x="1230" y="455"/>
                    <a:pt x="1230" y="455"/>
                  </a:cubicBezTo>
                  <a:cubicBezTo>
                    <a:pt x="1245" y="470"/>
                    <a:pt x="1261" y="484"/>
                    <a:pt x="1279" y="497"/>
                  </a:cubicBezTo>
                  <a:cubicBezTo>
                    <a:pt x="1418" y="497"/>
                    <a:pt x="1418" y="497"/>
                    <a:pt x="1418" y="497"/>
                  </a:cubicBezTo>
                  <a:cubicBezTo>
                    <a:pt x="1418" y="497"/>
                    <a:pt x="1418" y="497"/>
                    <a:pt x="1418" y="496"/>
                  </a:cubicBezTo>
                  <a:cubicBezTo>
                    <a:pt x="1429" y="494"/>
                    <a:pt x="1439" y="492"/>
                    <a:pt x="1447" y="490"/>
                  </a:cubicBezTo>
                  <a:cubicBezTo>
                    <a:pt x="1445" y="492"/>
                    <a:pt x="1443" y="495"/>
                    <a:pt x="1440" y="497"/>
                  </a:cubicBezTo>
                  <a:cubicBezTo>
                    <a:pt x="1457" y="497"/>
                    <a:pt x="1457" y="497"/>
                    <a:pt x="1457" y="497"/>
                  </a:cubicBezTo>
                  <a:cubicBezTo>
                    <a:pt x="1463" y="491"/>
                    <a:pt x="1469" y="486"/>
                    <a:pt x="1474" y="483"/>
                  </a:cubicBezTo>
                  <a:cubicBezTo>
                    <a:pt x="1475" y="484"/>
                    <a:pt x="1477" y="485"/>
                    <a:pt x="1479" y="486"/>
                  </a:cubicBezTo>
                  <a:cubicBezTo>
                    <a:pt x="1480" y="489"/>
                    <a:pt x="1481" y="493"/>
                    <a:pt x="1482" y="497"/>
                  </a:cubicBezTo>
                  <a:cubicBezTo>
                    <a:pt x="1493" y="497"/>
                    <a:pt x="1493" y="497"/>
                    <a:pt x="1493" y="497"/>
                  </a:cubicBezTo>
                  <a:cubicBezTo>
                    <a:pt x="1493" y="496"/>
                    <a:pt x="1492" y="494"/>
                    <a:pt x="1492" y="493"/>
                  </a:cubicBezTo>
                  <a:cubicBezTo>
                    <a:pt x="1494" y="494"/>
                    <a:pt x="1497" y="496"/>
                    <a:pt x="1500" y="497"/>
                  </a:cubicBezTo>
                  <a:cubicBezTo>
                    <a:pt x="1528" y="497"/>
                    <a:pt x="1528" y="497"/>
                    <a:pt x="1528" y="497"/>
                  </a:cubicBezTo>
                  <a:cubicBezTo>
                    <a:pt x="1513" y="491"/>
                    <a:pt x="1501" y="485"/>
                    <a:pt x="1492" y="480"/>
                  </a:cubicBezTo>
                  <a:cubicBezTo>
                    <a:pt x="1510" y="479"/>
                    <a:pt x="1541" y="476"/>
                    <a:pt x="1578" y="470"/>
                  </a:cubicBezTo>
                  <a:cubicBezTo>
                    <a:pt x="1571" y="480"/>
                    <a:pt x="1562" y="489"/>
                    <a:pt x="1552" y="497"/>
                  </a:cubicBezTo>
                  <a:cubicBezTo>
                    <a:pt x="1570" y="497"/>
                    <a:pt x="1570" y="497"/>
                    <a:pt x="1570" y="497"/>
                  </a:cubicBezTo>
                  <a:cubicBezTo>
                    <a:pt x="1576" y="491"/>
                    <a:pt x="1582" y="484"/>
                    <a:pt x="1587" y="477"/>
                  </a:cubicBezTo>
                  <a:cubicBezTo>
                    <a:pt x="1589" y="474"/>
                    <a:pt x="1591" y="471"/>
                    <a:pt x="1592" y="468"/>
                  </a:cubicBezTo>
                  <a:cubicBezTo>
                    <a:pt x="1607" y="465"/>
                    <a:pt x="1622" y="462"/>
                    <a:pt x="1637" y="459"/>
                  </a:cubicBezTo>
                  <a:cubicBezTo>
                    <a:pt x="1624" y="473"/>
                    <a:pt x="1609" y="486"/>
                    <a:pt x="1592" y="497"/>
                  </a:cubicBezTo>
                  <a:cubicBezTo>
                    <a:pt x="1612" y="497"/>
                    <a:pt x="1612" y="497"/>
                    <a:pt x="1612" y="497"/>
                  </a:cubicBezTo>
                  <a:cubicBezTo>
                    <a:pt x="1629" y="484"/>
                    <a:pt x="1644" y="470"/>
                    <a:pt x="1656" y="454"/>
                  </a:cubicBezTo>
                  <a:cubicBezTo>
                    <a:pt x="1661" y="453"/>
                    <a:pt x="1667" y="451"/>
                    <a:pt x="1672" y="450"/>
                  </a:cubicBezTo>
                  <a:cubicBezTo>
                    <a:pt x="1656" y="467"/>
                    <a:pt x="1636" y="483"/>
                    <a:pt x="1615" y="497"/>
                  </a:cubicBezTo>
                  <a:cubicBezTo>
                    <a:pt x="1673" y="497"/>
                    <a:pt x="1673" y="497"/>
                    <a:pt x="1673" y="497"/>
                  </a:cubicBezTo>
                  <a:cubicBezTo>
                    <a:pt x="1701" y="479"/>
                    <a:pt x="1730" y="456"/>
                    <a:pt x="1758" y="427"/>
                  </a:cubicBezTo>
                  <a:cubicBezTo>
                    <a:pt x="1759" y="427"/>
                    <a:pt x="1759" y="426"/>
                    <a:pt x="1759" y="426"/>
                  </a:cubicBezTo>
                  <a:cubicBezTo>
                    <a:pt x="1760" y="426"/>
                    <a:pt x="1760" y="426"/>
                    <a:pt x="1760" y="426"/>
                  </a:cubicBezTo>
                  <a:cubicBezTo>
                    <a:pt x="1761" y="424"/>
                    <a:pt x="1763" y="423"/>
                    <a:pt x="1764" y="421"/>
                  </a:cubicBezTo>
                  <a:cubicBezTo>
                    <a:pt x="1766" y="419"/>
                    <a:pt x="1768" y="417"/>
                    <a:pt x="1769" y="415"/>
                  </a:cubicBezTo>
                  <a:cubicBezTo>
                    <a:pt x="1767" y="417"/>
                    <a:pt x="1766" y="419"/>
                    <a:pt x="1766" y="419"/>
                  </a:cubicBezTo>
                  <a:cubicBezTo>
                    <a:pt x="1767" y="420"/>
                    <a:pt x="1767" y="420"/>
                    <a:pt x="1767" y="420"/>
                  </a:cubicBezTo>
                  <a:cubicBezTo>
                    <a:pt x="1754" y="438"/>
                    <a:pt x="1740" y="455"/>
                    <a:pt x="1725" y="470"/>
                  </a:cubicBezTo>
                  <a:cubicBezTo>
                    <a:pt x="1715" y="480"/>
                    <a:pt x="1705" y="489"/>
                    <a:pt x="1695" y="497"/>
                  </a:cubicBezTo>
                  <a:cubicBezTo>
                    <a:pt x="1715" y="497"/>
                    <a:pt x="1715" y="497"/>
                    <a:pt x="1715" y="497"/>
                  </a:cubicBezTo>
                  <a:cubicBezTo>
                    <a:pt x="1749" y="472"/>
                    <a:pt x="1784" y="444"/>
                    <a:pt x="1818" y="412"/>
                  </a:cubicBezTo>
                  <a:cubicBezTo>
                    <a:pt x="1818" y="396"/>
                    <a:pt x="1818" y="396"/>
                    <a:pt x="1818" y="396"/>
                  </a:cubicBezTo>
                  <a:cubicBezTo>
                    <a:pt x="1799" y="414"/>
                    <a:pt x="1781" y="430"/>
                    <a:pt x="1762" y="445"/>
                  </a:cubicBezTo>
                  <a:cubicBezTo>
                    <a:pt x="1770" y="435"/>
                    <a:pt x="1778" y="424"/>
                    <a:pt x="1786" y="413"/>
                  </a:cubicBezTo>
                  <a:cubicBezTo>
                    <a:pt x="1793" y="404"/>
                    <a:pt x="1804" y="390"/>
                    <a:pt x="1818" y="372"/>
                  </a:cubicBezTo>
                  <a:cubicBezTo>
                    <a:pt x="1818" y="313"/>
                    <a:pt x="1818" y="313"/>
                    <a:pt x="1818" y="313"/>
                  </a:cubicBezTo>
                  <a:cubicBezTo>
                    <a:pt x="1806" y="339"/>
                    <a:pt x="1790" y="367"/>
                    <a:pt x="1769" y="395"/>
                  </a:cubicBezTo>
                  <a:cubicBezTo>
                    <a:pt x="1766" y="397"/>
                    <a:pt x="1763" y="399"/>
                    <a:pt x="1759" y="401"/>
                  </a:cubicBezTo>
                  <a:cubicBezTo>
                    <a:pt x="1791" y="358"/>
                    <a:pt x="1810" y="311"/>
                    <a:pt x="1812" y="267"/>
                  </a:cubicBezTo>
                  <a:cubicBezTo>
                    <a:pt x="1814" y="264"/>
                    <a:pt x="1816" y="262"/>
                    <a:pt x="1818" y="259"/>
                  </a:cubicBezTo>
                  <a:cubicBezTo>
                    <a:pt x="1818" y="237"/>
                    <a:pt x="1818" y="237"/>
                    <a:pt x="1818" y="237"/>
                  </a:cubicBezTo>
                  <a:cubicBezTo>
                    <a:pt x="1816" y="240"/>
                    <a:pt x="1813" y="243"/>
                    <a:pt x="1811" y="246"/>
                  </a:cubicBezTo>
                  <a:cubicBezTo>
                    <a:pt x="1810" y="231"/>
                    <a:pt x="1806" y="215"/>
                    <a:pt x="1800" y="201"/>
                  </a:cubicBezTo>
                  <a:cubicBezTo>
                    <a:pt x="1799" y="200"/>
                    <a:pt x="1799" y="200"/>
                    <a:pt x="1799" y="200"/>
                  </a:cubicBezTo>
                  <a:cubicBezTo>
                    <a:pt x="1806" y="189"/>
                    <a:pt x="1812" y="177"/>
                    <a:pt x="1818" y="165"/>
                  </a:cubicBezTo>
                  <a:cubicBezTo>
                    <a:pt x="1818" y="138"/>
                    <a:pt x="1818" y="138"/>
                    <a:pt x="1818" y="138"/>
                  </a:cubicBezTo>
                  <a:cubicBezTo>
                    <a:pt x="1810" y="155"/>
                    <a:pt x="1802" y="172"/>
                    <a:pt x="1793" y="188"/>
                  </a:cubicBezTo>
                  <a:cubicBezTo>
                    <a:pt x="1786" y="174"/>
                    <a:pt x="1776" y="162"/>
                    <a:pt x="1764" y="152"/>
                  </a:cubicBezTo>
                  <a:cubicBezTo>
                    <a:pt x="1765" y="150"/>
                    <a:pt x="1765" y="149"/>
                    <a:pt x="1766" y="147"/>
                  </a:cubicBezTo>
                  <a:cubicBezTo>
                    <a:pt x="1774" y="127"/>
                    <a:pt x="1781" y="106"/>
                    <a:pt x="1787" y="85"/>
                  </a:cubicBezTo>
                  <a:cubicBezTo>
                    <a:pt x="1798" y="97"/>
                    <a:pt x="1809" y="111"/>
                    <a:pt x="1818" y="127"/>
                  </a:cubicBezTo>
                  <a:cubicBezTo>
                    <a:pt x="1818" y="105"/>
                    <a:pt x="1818" y="105"/>
                    <a:pt x="1818" y="105"/>
                  </a:cubicBezTo>
                  <a:cubicBezTo>
                    <a:pt x="1809" y="92"/>
                    <a:pt x="1800" y="81"/>
                    <a:pt x="1790" y="71"/>
                  </a:cubicBezTo>
                  <a:cubicBezTo>
                    <a:pt x="1794" y="58"/>
                    <a:pt x="1797" y="46"/>
                    <a:pt x="1799" y="33"/>
                  </a:cubicBezTo>
                  <a:cubicBezTo>
                    <a:pt x="1806" y="35"/>
                    <a:pt x="1812" y="38"/>
                    <a:pt x="1818" y="41"/>
                  </a:cubicBezTo>
                  <a:cubicBezTo>
                    <a:pt x="1818" y="27"/>
                    <a:pt x="1818" y="27"/>
                    <a:pt x="1818" y="27"/>
                  </a:cubicBezTo>
                  <a:cubicBezTo>
                    <a:pt x="1813" y="25"/>
                    <a:pt x="1807" y="23"/>
                    <a:pt x="1802" y="20"/>
                  </a:cubicBezTo>
                  <a:cubicBezTo>
                    <a:pt x="1803" y="13"/>
                    <a:pt x="1804" y="7"/>
                    <a:pt x="1805"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81" name="Freeform 687"/>
            <p:cNvSpPr>
              <a:spLocks noEditPoints="1"/>
            </p:cNvSpPr>
            <p:nvPr/>
          </p:nvSpPr>
          <p:spPr bwMode="auto">
            <a:xfrm>
              <a:off x="2943" y="3008"/>
              <a:ext cx="1293" cy="910"/>
            </a:xfrm>
            <a:custGeom>
              <a:avLst/>
              <a:gdLst>
                <a:gd name="T0" fmla="*/ 1418 w 2097"/>
                <a:gd name="T1" fmla="*/ 901 h 1476"/>
                <a:gd name="T2" fmla="*/ 1749 w 2097"/>
                <a:gd name="T3" fmla="*/ 824 h 1476"/>
                <a:gd name="T4" fmla="*/ 1648 w 2097"/>
                <a:gd name="T5" fmla="*/ 810 h 1476"/>
                <a:gd name="T6" fmla="*/ 1896 w 2097"/>
                <a:gd name="T7" fmla="*/ 678 h 1476"/>
                <a:gd name="T8" fmla="*/ 1530 w 2097"/>
                <a:gd name="T9" fmla="*/ 669 h 1476"/>
                <a:gd name="T10" fmla="*/ 1413 w 2097"/>
                <a:gd name="T11" fmla="*/ 652 h 1476"/>
                <a:gd name="T12" fmla="*/ 1669 w 2097"/>
                <a:gd name="T13" fmla="*/ 538 h 1476"/>
                <a:gd name="T14" fmla="*/ 1538 w 2097"/>
                <a:gd name="T15" fmla="*/ 509 h 1476"/>
                <a:gd name="T16" fmla="*/ 1407 w 2097"/>
                <a:gd name="T17" fmla="*/ 903 h 1476"/>
                <a:gd name="T18" fmla="*/ 1938 w 2097"/>
                <a:gd name="T19" fmla="*/ 990 h 1476"/>
                <a:gd name="T20" fmla="*/ 2097 w 2097"/>
                <a:gd name="T21" fmla="*/ 595 h 1476"/>
                <a:gd name="T22" fmla="*/ 1341 w 2097"/>
                <a:gd name="T23" fmla="*/ 447 h 1476"/>
                <a:gd name="T24" fmla="*/ 1041 w 2097"/>
                <a:gd name="T25" fmla="*/ 395 h 1476"/>
                <a:gd name="T26" fmla="*/ 1174 w 2097"/>
                <a:gd name="T27" fmla="*/ 238 h 1476"/>
                <a:gd name="T28" fmla="*/ 990 w 2097"/>
                <a:gd name="T29" fmla="*/ 192 h 1476"/>
                <a:gd name="T30" fmla="*/ 852 w 2097"/>
                <a:gd name="T31" fmla="*/ 145 h 1476"/>
                <a:gd name="T32" fmla="*/ 855 w 2097"/>
                <a:gd name="T33" fmla="*/ 27 h 1476"/>
                <a:gd name="T34" fmla="*/ 698 w 2097"/>
                <a:gd name="T35" fmla="*/ 366 h 1476"/>
                <a:gd name="T36" fmla="*/ 1278 w 2097"/>
                <a:gd name="T37" fmla="*/ 487 h 1476"/>
                <a:gd name="T38" fmla="*/ 1399 w 2097"/>
                <a:gd name="T39" fmla="*/ 19 h 1476"/>
                <a:gd name="T40" fmla="*/ 1666 w 2097"/>
                <a:gd name="T41" fmla="*/ 1438 h 1476"/>
                <a:gd name="T42" fmla="*/ 1506 w 2097"/>
                <a:gd name="T43" fmla="*/ 1336 h 1476"/>
                <a:gd name="T44" fmla="*/ 1910 w 2097"/>
                <a:gd name="T45" fmla="*/ 1310 h 1476"/>
                <a:gd name="T46" fmla="*/ 1702 w 2097"/>
                <a:gd name="T47" fmla="*/ 1326 h 1476"/>
                <a:gd name="T48" fmla="*/ 1434 w 2097"/>
                <a:gd name="T49" fmla="*/ 1192 h 1476"/>
                <a:gd name="T50" fmla="*/ 1598 w 2097"/>
                <a:gd name="T51" fmla="*/ 1179 h 1476"/>
                <a:gd name="T52" fmla="*/ 1626 w 2097"/>
                <a:gd name="T53" fmla="*/ 1105 h 1476"/>
                <a:gd name="T54" fmla="*/ 2097 w 2097"/>
                <a:gd name="T55" fmla="*/ 990 h 1476"/>
                <a:gd name="T56" fmla="*/ 1399 w 2097"/>
                <a:gd name="T57" fmla="*/ 1036 h 1476"/>
                <a:gd name="T58" fmla="*/ 1399 w 2097"/>
                <a:gd name="T59" fmla="*/ 1464 h 1476"/>
                <a:gd name="T60" fmla="*/ 2097 w 2097"/>
                <a:gd name="T61" fmla="*/ 990 h 1476"/>
                <a:gd name="T62" fmla="*/ 824 w 2097"/>
                <a:gd name="T63" fmla="*/ 893 h 1476"/>
                <a:gd name="T64" fmla="*/ 757 w 2097"/>
                <a:gd name="T65" fmla="*/ 828 h 1476"/>
                <a:gd name="T66" fmla="*/ 750 w 2097"/>
                <a:gd name="T67" fmla="*/ 860 h 1476"/>
                <a:gd name="T68" fmla="*/ 901 w 2097"/>
                <a:gd name="T69" fmla="*/ 787 h 1476"/>
                <a:gd name="T70" fmla="*/ 1239 w 2097"/>
                <a:gd name="T71" fmla="*/ 673 h 1476"/>
                <a:gd name="T72" fmla="*/ 736 w 2097"/>
                <a:gd name="T73" fmla="*/ 650 h 1476"/>
                <a:gd name="T74" fmla="*/ 919 w 2097"/>
                <a:gd name="T75" fmla="*/ 571 h 1476"/>
                <a:gd name="T76" fmla="*/ 1149 w 2097"/>
                <a:gd name="T77" fmla="*/ 628 h 1476"/>
                <a:gd name="T78" fmla="*/ 1297 w 2097"/>
                <a:gd name="T79" fmla="*/ 494 h 1476"/>
                <a:gd name="T80" fmla="*/ 698 w 2097"/>
                <a:gd name="T81" fmla="*/ 501 h 1476"/>
                <a:gd name="T82" fmla="*/ 800 w 2097"/>
                <a:gd name="T83" fmla="*/ 986 h 1476"/>
                <a:gd name="T84" fmla="*/ 1312 w 2097"/>
                <a:gd name="T85" fmla="*/ 980 h 1476"/>
                <a:gd name="T86" fmla="*/ 1278 w 2097"/>
                <a:gd name="T87" fmla="*/ 524 h 1476"/>
                <a:gd name="T88" fmla="*/ 354 w 2097"/>
                <a:gd name="T89" fmla="*/ 305 h 1476"/>
                <a:gd name="T90" fmla="*/ 273 w 2097"/>
                <a:gd name="T91" fmla="*/ 234 h 1476"/>
                <a:gd name="T92" fmla="*/ 196 w 2097"/>
                <a:gd name="T93" fmla="*/ 186 h 1476"/>
                <a:gd name="T94" fmla="*/ 72 w 2097"/>
                <a:gd name="T95" fmla="*/ 95 h 1476"/>
                <a:gd name="T96" fmla="*/ 555 w 2097"/>
                <a:gd name="T97" fmla="*/ 158 h 1476"/>
                <a:gd name="T98" fmla="*/ 242 w 2097"/>
                <a:gd name="T99" fmla="*/ 14 h 1476"/>
                <a:gd name="T100" fmla="*/ 233 w 2097"/>
                <a:gd name="T101" fmla="*/ 4 h 1476"/>
                <a:gd name="T102" fmla="*/ 661 w 2097"/>
                <a:gd name="T103" fmla="*/ 494 h 1476"/>
                <a:gd name="T104" fmla="*/ 667 w 2097"/>
                <a:gd name="T105" fmla="*/ 139 h 1476"/>
                <a:gd name="T106" fmla="*/ 1948 w 2097"/>
                <a:gd name="T107" fmla="*/ 451 h 1476"/>
                <a:gd name="T108" fmla="*/ 1804 w 2097"/>
                <a:gd name="T109" fmla="*/ 450 h 1476"/>
                <a:gd name="T110" fmla="*/ 1404 w 2097"/>
                <a:gd name="T111" fmla="*/ 375 h 1476"/>
                <a:gd name="T112" fmla="*/ 2038 w 2097"/>
                <a:gd name="T113" fmla="*/ 400 h 1476"/>
                <a:gd name="T114" fmla="*/ 1945 w 2097"/>
                <a:gd name="T115" fmla="*/ 316 h 1476"/>
                <a:gd name="T116" fmla="*/ 1826 w 2097"/>
                <a:gd name="T117" fmla="*/ 200 h 1476"/>
                <a:gd name="T118" fmla="*/ 1680 w 2097"/>
                <a:gd name="T119" fmla="*/ 91 h 1476"/>
                <a:gd name="T120" fmla="*/ 1407 w 2097"/>
                <a:gd name="T121" fmla="*/ 430 h 1476"/>
                <a:gd name="T122" fmla="*/ 1945 w 2097"/>
                <a:gd name="T123" fmla="*/ 463 h 1476"/>
                <a:gd name="T124" fmla="*/ 2097 w 2097"/>
                <a:gd name="T125" fmla="*/ 81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7" h="1476">
                  <a:moveTo>
                    <a:pt x="698" y="494"/>
                  </a:moveTo>
                  <a:cubicBezTo>
                    <a:pt x="670" y="494"/>
                    <a:pt x="670" y="494"/>
                    <a:pt x="670" y="494"/>
                  </a:cubicBezTo>
                  <a:cubicBezTo>
                    <a:pt x="679" y="497"/>
                    <a:pt x="688" y="499"/>
                    <a:pt x="698" y="501"/>
                  </a:cubicBezTo>
                  <a:cubicBezTo>
                    <a:pt x="698" y="494"/>
                    <a:pt x="698" y="494"/>
                    <a:pt x="698" y="494"/>
                  </a:cubicBezTo>
                  <a:moveTo>
                    <a:pt x="1756" y="958"/>
                  </a:moveTo>
                  <a:cubicBezTo>
                    <a:pt x="1758" y="950"/>
                    <a:pt x="1759" y="942"/>
                    <a:pt x="1761" y="935"/>
                  </a:cubicBezTo>
                  <a:cubicBezTo>
                    <a:pt x="1761" y="932"/>
                    <a:pt x="1761" y="932"/>
                    <a:pt x="1761" y="932"/>
                  </a:cubicBezTo>
                  <a:cubicBezTo>
                    <a:pt x="1760" y="930"/>
                    <a:pt x="1760" y="930"/>
                    <a:pt x="1760" y="930"/>
                  </a:cubicBezTo>
                  <a:cubicBezTo>
                    <a:pt x="1757" y="925"/>
                    <a:pt x="1755" y="913"/>
                    <a:pt x="1755" y="899"/>
                  </a:cubicBezTo>
                  <a:cubicBezTo>
                    <a:pt x="1786" y="899"/>
                    <a:pt x="1820" y="898"/>
                    <a:pt x="1854" y="896"/>
                  </a:cubicBezTo>
                  <a:cubicBezTo>
                    <a:pt x="1854" y="906"/>
                    <a:pt x="1855" y="914"/>
                    <a:pt x="1857" y="919"/>
                  </a:cubicBezTo>
                  <a:cubicBezTo>
                    <a:pt x="1854" y="931"/>
                    <a:pt x="1851" y="942"/>
                    <a:pt x="1848" y="954"/>
                  </a:cubicBezTo>
                  <a:cubicBezTo>
                    <a:pt x="1817" y="956"/>
                    <a:pt x="1786" y="957"/>
                    <a:pt x="1756" y="958"/>
                  </a:cubicBezTo>
                  <a:moveTo>
                    <a:pt x="1701" y="958"/>
                  </a:moveTo>
                  <a:cubicBezTo>
                    <a:pt x="1684" y="958"/>
                    <a:pt x="1668" y="958"/>
                    <a:pt x="1652" y="958"/>
                  </a:cubicBezTo>
                  <a:cubicBezTo>
                    <a:pt x="1652" y="955"/>
                    <a:pt x="1653" y="952"/>
                    <a:pt x="1653" y="949"/>
                  </a:cubicBezTo>
                  <a:cubicBezTo>
                    <a:pt x="1653" y="947"/>
                    <a:pt x="1653" y="947"/>
                    <a:pt x="1653" y="947"/>
                  </a:cubicBezTo>
                  <a:cubicBezTo>
                    <a:pt x="1652" y="945"/>
                    <a:pt x="1652" y="945"/>
                    <a:pt x="1652" y="945"/>
                  </a:cubicBezTo>
                  <a:cubicBezTo>
                    <a:pt x="1648" y="938"/>
                    <a:pt x="1644" y="924"/>
                    <a:pt x="1644" y="896"/>
                  </a:cubicBezTo>
                  <a:cubicBezTo>
                    <a:pt x="1675" y="898"/>
                    <a:pt x="1708" y="898"/>
                    <a:pt x="1744" y="899"/>
                  </a:cubicBezTo>
                  <a:cubicBezTo>
                    <a:pt x="1744" y="914"/>
                    <a:pt x="1746" y="927"/>
                    <a:pt x="1749" y="934"/>
                  </a:cubicBezTo>
                  <a:cubicBezTo>
                    <a:pt x="1748" y="942"/>
                    <a:pt x="1746" y="950"/>
                    <a:pt x="1745" y="958"/>
                  </a:cubicBezTo>
                  <a:cubicBezTo>
                    <a:pt x="1730" y="958"/>
                    <a:pt x="1715" y="958"/>
                    <a:pt x="1701" y="958"/>
                  </a:cubicBezTo>
                  <a:moveTo>
                    <a:pt x="1641" y="958"/>
                  </a:moveTo>
                  <a:cubicBezTo>
                    <a:pt x="1606" y="957"/>
                    <a:pt x="1575" y="956"/>
                    <a:pt x="1549" y="955"/>
                  </a:cubicBezTo>
                  <a:cubicBezTo>
                    <a:pt x="1542" y="955"/>
                    <a:pt x="1542" y="955"/>
                    <a:pt x="1542" y="955"/>
                  </a:cubicBezTo>
                  <a:cubicBezTo>
                    <a:pt x="1535" y="940"/>
                    <a:pt x="1532" y="918"/>
                    <a:pt x="1531" y="892"/>
                  </a:cubicBezTo>
                  <a:cubicBezTo>
                    <a:pt x="1544" y="892"/>
                    <a:pt x="1559" y="893"/>
                    <a:pt x="1575" y="894"/>
                  </a:cubicBezTo>
                  <a:cubicBezTo>
                    <a:pt x="1593" y="894"/>
                    <a:pt x="1612" y="895"/>
                    <a:pt x="1632" y="896"/>
                  </a:cubicBezTo>
                  <a:cubicBezTo>
                    <a:pt x="1633" y="921"/>
                    <a:pt x="1636" y="939"/>
                    <a:pt x="1642" y="950"/>
                  </a:cubicBezTo>
                  <a:cubicBezTo>
                    <a:pt x="1641" y="953"/>
                    <a:pt x="1641" y="955"/>
                    <a:pt x="1641" y="958"/>
                  </a:cubicBezTo>
                  <a:moveTo>
                    <a:pt x="1430" y="960"/>
                  </a:moveTo>
                  <a:cubicBezTo>
                    <a:pt x="1424" y="944"/>
                    <a:pt x="1420" y="924"/>
                    <a:pt x="1418" y="901"/>
                  </a:cubicBezTo>
                  <a:cubicBezTo>
                    <a:pt x="1452" y="895"/>
                    <a:pt x="1485" y="892"/>
                    <a:pt x="1513" y="892"/>
                  </a:cubicBezTo>
                  <a:cubicBezTo>
                    <a:pt x="1516" y="892"/>
                    <a:pt x="1518" y="892"/>
                    <a:pt x="1520" y="892"/>
                  </a:cubicBezTo>
                  <a:cubicBezTo>
                    <a:pt x="1521" y="916"/>
                    <a:pt x="1524" y="938"/>
                    <a:pt x="1529" y="954"/>
                  </a:cubicBezTo>
                  <a:cubicBezTo>
                    <a:pt x="1525" y="954"/>
                    <a:pt x="1525" y="954"/>
                    <a:pt x="1525" y="954"/>
                  </a:cubicBezTo>
                  <a:cubicBezTo>
                    <a:pt x="1521" y="954"/>
                    <a:pt x="1517" y="954"/>
                    <a:pt x="1513" y="954"/>
                  </a:cubicBezTo>
                  <a:cubicBezTo>
                    <a:pt x="1487" y="954"/>
                    <a:pt x="1459" y="956"/>
                    <a:pt x="1430" y="960"/>
                  </a:cubicBezTo>
                  <a:moveTo>
                    <a:pt x="1860" y="953"/>
                  </a:moveTo>
                  <a:cubicBezTo>
                    <a:pt x="1863" y="942"/>
                    <a:pt x="1866" y="931"/>
                    <a:pt x="1868" y="920"/>
                  </a:cubicBezTo>
                  <a:cubicBezTo>
                    <a:pt x="1869" y="917"/>
                    <a:pt x="1869" y="917"/>
                    <a:pt x="1869" y="917"/>
                  </a:cubicBezTo>
                  <a:cubicBezTo>
                    <a:pt x="1868" y="915"/>
                    <a:pt x="1868" y="915"/>
                    <a:pt x="1868" y="915"/>
                  </a:cubicBezTo>
                  <a:cubicBezTo>
                    <a:pt x="1866" y="912"/>
                    <a:pt x="1865" y="905"/>
                    <a:pt x="1865" y="897"/>
                  </a:cubicBezTo>
                  <a:cubicBezTo>
                    <a:pt x="1865" y="896"/>
                    <a:pt x="1865" y="896"/>
                    <a:pt x="1865" y="896"/>
                  </a:cubicBezTo>
                  <a:cubicBezTo>
                    <a:pt x="1897" y="894"/>
                    <a:pt x="1930" y="892"/>
                    <a:pt x="1963" y="889"/>
                  </a:cubicBezTo>
                  <a:cubicBezTo>
                    <a:pt x="1963" y="889"/>
                    <a:pt x="1963" y="890"/>
                    <a:pt x="1963" y="891"/>
                  </a:cubicBezTo>
                  <a:cubicBezTo>
                    <a:pt x="1963" y="896"/>
                    <a:pt x="1964" y="900"/>
                    <a:pt x="1965" y="903"/>
                  </a:cubicBezTo>
                  <a:cubicBezTo>
                    <a:pt x="1961" y="917"/>
                    <a:pt x="1957" y="931"/>
                    <a:pt x="1953" y="944"/>
                  </a:cubicBezTo>
                  <a:cubicBezTo>
                    <a:pt x="1921" y="948"/>
                    <a:pt x="1890" y="951"/>
                    <a:pt x="1860" y="953"/>
                  </a:cubicBezTo>
                  <a:moveTo>
                    <a:pt x="1965" y="943"/>
                  </a:moveTo>
                  <a:cubicBezTo>
                    <a:pt x="1969" y="930"/>
                    <a:pt x="1972" y="918"/>
                    <a:pt x="1976" y="905"/>
                  </a:cubicBezTo>
                  <a:cubicBezTo>
                    <a:pt x="1976" y="902"/>
                    <a:pt x="1976" y="902"/>
                    <a:pt x="1976" y="902"/>
                  </a:cubicBezTo>
                  <a:cubicBezTo>
                    <a:pt x="1975" y="900"/>
                    <a:pt x="1975" y="900"/>
                    <a:pt x="1975" y="900"/>
                  </a:cubicBezTo>
                  <a:cubicBezTo>
                    <a:pt x="1974" y="898"/>
                    <a:pt x="1974" y="895"/>
                    <a:pt x="1974" y="891"/>
                  </a:cubicBezTo>
                  <a:cubicBezTo>
                    <a:pt x="1974" y="890"/>
                    <a:pt x="1974" y="889"/>
                    <a:pt x="1974" y="888"/>
                  </a:cubicBezTo>
                  <a:cubicBezTo>
                    <a:pt x="1999" y="885"/>
                    <a:pt x="2023" y="882"/>
                    <a:pt x="2048" y="878"/>
                  </a:cubicBezTo>
                  <a:cubicBezTo>
                    <a:pt x="2056" y="877"/>
                    <a:pt x="2064" y="875"/>
                    <a:pt x="2072" y="874"/>
                  </a:cubicBezTo>
                  <a:cubicBezTo>
                    <a:pt x="2072" y="877"/>
                    <a:pt x="2072" y="880"/>
                    <a:pt x="2072" y="882"/>
                  </a:cubicBezTo>
                  <a:cubicBezTo>
                    <a:pt x="2072" y="884"/>
                    <a:pt x="2072" y="886"/>
                    <a:pt x="2072" y="888"/>
                  </a:cubicBezTo>
                  <a:cubicBezTo>
                    <a:pt x="2068" y="901"/>
                    <a:pt x="2064" y="914"/>
                    <a:pt x="2060" y="927"/>
                  </a:cubicBezTo>
                  <a:cubicBezTo>
                    <a:pt x="2028" y="933"/>
                    <a:pt x="1996" y="938"/>
                    <a:pt x="1965" y="943"/>
                  </a:cubicBezTo>
                  <a:moveTo>
                    <a:pt x="1744" y="887"/>
                  </a:moveTo>
                  <a:cubicBezTo>
                    <a:pt x="1708" y="886"/>
                    <a:pt x="1674" y="886"/>
                    <a:pt x="1644" y="884"/>
                  </a:cubicBezTo>
                  <a:cubicBezTo>
                    <a:pt x="1644" y="868"/>
                    <a:pt x="1645" y="847"/>
                    <a:pt x="1647" y="822"/>
                  </a:cubicBezTo>
                  <a:cubicBezTo>
                    <a:pt x="1678" y="823"/>
                    <a:pt x="1712" y="824"/>
                    <a:pt x="1749" y="824"/>
                  </a:cubicBezTo>
                  <a:cubicBezTo>
                    <a:pt x="1746" y="847"/>
                    <a:pt x="1744" y="868"/>
                    <a:pt x="1744" y="887"/>
                  </a:cubicBezTo>
                  <a:moveTo>
                    <a:pt x="1755" y="887"/>
                  </a:moveTo>
                  <a:cubicBezTo>
                    <a:pt x="1755" y="869"/>
                    <a:pt x="1758" y="847"/>
                    <a:pt x="1761" y="824"/>
                  </a:cubicBezTo>
                  <a:cubicBezTo>
                    <a:pt x="1793" y="824"/>
                    <a:pt x="1827" y="824"/>
                    <a:pt x="1862" y="822"/>
                  </a:cubicBezTo>
                  <a:cubicBezTo>
                    <a:pt x="1858" y="845"/>
                    <a:pt x="1855" y="867"/>
                    <a:pt x="1854" y="884"/>
                  </a:cubicBezTo>
                  <a:cubicBezTo>
                    <a:pt x="1820" y="886"/>
                    <a:pt x="1787" y="887"/>
                    <a:pt x="1755" y="887"/>
                  </a:cubicBezTo>
                  <a:moveTo>
                    <a:pt x="1632" y="884"/>
                  </a:moveTo>
                  <a:cubicBezTo>
                    <a:pt x="1612" y="883"/>
                    <a:pt x="1593" y="882"/>
                    <a:pt x="1575" y="882"/>
                  </a:cubicBezTo>
                  <a:cubicBezTo>
                    <a:pt x="1559" y="881"/>
                    <a:pt x="1544" y="880"/>
                    <a:pt x="1530" y="880"/>
                  </a:cubicBezTo>
                  <a:cubicBezTo>
                    <a:pt x="1530" y="875"/>
                    <a:pt x="1530" y="869"/>
                    <a:pt x="1530" y="864"/>
                  </a:cubicBezTo>
                  <a:cubicBezTo>
                    <a:pt x="1530" y="849"/>
                    <a:pt x="1531" y="833"/>
                    <a:pt x="1531" y="818"/>
                  </a:cubicBezTo>
                  <a:cubicBezTo>
                    <a:pt x="1544" y="818"/>
                    <a:pt x="1559" y="819"/>
                    <a:pt x="1576" y="819"/>
                  </a:cubicBezTo>
                  <a:cubicBezTo>
                    <a:pt x="1594" y="820"/>
                    <a:pt x="1614" y="821"/>
                    <a:pt x="1636" y="822"/>
                  </a:cubicBezTo>
                  <a:cubicBezTo>
                    <a:pt x="1634" y="846"/>
                    <a:pt x="1632" y="866"/>
                    <a:pt x="1632" y="884"/>
                  </a:cubicBezTo>
                  <a:moveTo>
                    <a:pt x="1865" y="884"/>
                  </a:moveTo>
                  <a:cubicBezTo>
                    <a:pt x="1866" y="867"/>
                    <a:pt x="1869" y="845"/>
                    <a:pt x="1873" y="822"/>
                  </a:cubicBezTo>
                  <a:cubicBezTo>
                    <a:pt x="1906" y="820"/>
                    <a:pt x="1940" y="818"/>
                    <a:pt x="1975" y="814"/>
                  </a:cubicBezTo>
                  <a:cubicBezTo>
                    <a:pt x="1969" y="838"/>
                    <a:pt x="1966" y="860"/>
                    <a:pt x="1964" y="877"/>
                  </a:cubicBezTo>
                  <a:cubicBezTo>
                    <a:pt x="1930" y="880"/>
                    <a:pt x="1897" y="882"/>
                    <a:pt x="1865" y="884"/>
                  </a:cubicBezTo>
                  <a:moveTo>
                    <a:pt x="1975" y="875"/>
                  </a:moveTo>
                  <a:cubicBezTo>
                    <a:pt x="1977" y="859"/>
                    <a:pt x="1981" y="837"/>
                    <a:pt x="1986" y="813"/>
                  </a:cubicBezTo>
                  <a:cubicBezTo>
                    <a:pt x="2015" y="810"/>
                    <a:pt x="2043" y="807"/>
                    <a:pt x="2072" y="802"/>
                  </a:cubicBezTo>
                  <a:cubicBezTo>
                    <a:pt x="2077" y="801"/>
                    <a:pt x="2083" y="800"/>
                    <a:pt x="2088" y="799"/>
                  </a:cubicBezTo>
                  <a:cubicBezTo>
                    <a:pt x="2082" y="823"/>
                    <a:pt x="2077" y="845"/>
                    <a:pt x="2074" y="861"/>
                  </a:cubicBezTo>
                  <a:cubicBezTo>
                    <a:pt x="2041" y="867"/>
                    <a:pt x="2008" y="872"/>
                    <a:pt x="1975" y="875"/>
                  </a:cubicBezTo>
                  <a:moveTo>
                    <a:pt x="1812" y="754"/>
                  </a:moveTo>
                  <a:cubicBezTo>
                    <a:pt x="1833" y="754"/>
                    <a:pt x="1854" y="754"/>
                    <a:pt x="1876" y="753"/>
                  </a:cubicBezTo>
                  <a:cubicBezTo>
                    <a:pt x="1872" y="772"/>
                    <a:pt x="1868" y="791"/>
                    <a:pt x="1864" y="810"/>
                  </a:cubicBezTo>
                  <a:cubicBezTo>
                    <a:pt x="1829" y="812"/>
                    <a:pt x="1795" y="812"/>
                    <a:pt x="1762" y="812"/>
                  </a:cubicBezTo>
                  <a:cubicBezTo>
                    <a:pt x="1765" y="793"/>
                    <a:pt x="1768" y="773"/>
                    <a:pt x="1772" y="754"/>
                  </a:cubicBezTo>
                  <a:cubicBezTo>
                    <a:pt x="1785" y="754"/>
                    <a:pt x="1798" y="754"/>
                    <a:pt x="1812" y="754"/>
                  </a:cubicBezTo>
                  <a:moveTo>
                    <a:pt x="1751" y="812"/>
                  </a:moveTo>
                  <a:cubicBezTo>
                    <a:pt x="1714" y="812"/>
                    <a:pt x="1679" y="811"/>
                    <a:pt x="1648" y="810"/>
                  </a:cubicBezTo>
                  <a:cubicBezTo>
                    <a:pt x="1650" y="793"/>
                    <a:pt x="1652" y="772"/>
                    <a:pt x="1655" y="750"/>
                  </a:cubicBezTo>
                  <a:cubicBezTo>
                    <a:pt x="1687" y="751"/>
                    <a:pt x="1723" y="753"/>
                    <a:pt x="1761" y="754"/>
                  </a:cubicBezTo>
                  <a:cubicBezTo>
                    <a:pt x="1757" y="772"/>
                    <a:pt x="1754" y="792"/>
                    <a:pt x="1751" y="812"/>
                  </a:cubicBezTo>
                  <a:moveTo>
                    <a:pt x="1876" y="809"/>
                  </a:moveTo>
                  <a:cubicBezTo>
                    <a:pt x="1879" y="791"/>
                    <a:pt x="1883" y="772"/>
                    <a:pt x="1887" y="753"/>
                  </a:cubicBezTo>
                  <a:cubicBezTo>
                    <a:pt x="1921" y="752"/>
                    <a:pt x="1956" y="750"/>
                    <a:pt x="1991" y="747"/>
                  </a:cubicBezTo>
                  <a:cubicBezTo>
                    <a:pt x="1986" y="765"/>
                    <a:pt x="1981" y="784"/>
                    <a:pt x="1977" y="802"/>
                  </a:cubicBezTo>
                  <a:cubicBezTo>
                    <a:pt x="1943" y="805"/>
                    <a:pt x="1909" y="808"/>
                    <a:pt x="1876" y="809"/>
                  </a:cubicBezTo>
                  <a:moveTo>
                    <a:pt x="1414" y="830"/>
                  </a:moveTo>
                  <a:cubicBezTo>
                    <a:pt x="1414" y="823"/>
                    <a:pt x="1414" y="814"/>
                    <a:pt x="1414" y="805"/>
                  </a:cubicBezTo>
                  <a:cubicBezTo>
                    <a:pt x="1414" y="795"/>
                    <a:pt x="1414" y="784"/>
                    <a:pt x="1414" y="777"/>
                  </a:cubicBezTo>
                  <a:cubicBezTo>
                    <a:pt x="1414" y="772"/>
                    <a:pt x="1414" y="765"/>
                    <a:pt x="1414" y="760"/>
                  </a:cubicBezTo>
                  <a:cubicBezTo>
                    <a:pt x="1451" y="752"/>
                    <a:pt x="1486" y="744"/>
                    <a:pt x="1515" y="744"/>
                  </a:cubicBezTo>
                  <a:cubicBezTo>
                    <a:pt x="1516" y="744"/>
                    <a:pt x="1517" y="744"/>
                    <a:pt x="1518" y="745"/>
                  </a:cubicBezTo>
                  <a:cubicBezTo>
                    <a:pt x="1521" y="745"/>
                    <a:pt x="1523" y="757"/>
                    <a:pt x="1525" y="757"/>
                  </a:cubicBezTo>
                  <a:cubicBezTo>
                    <a:pt x="1524" y="776"/>
                    <a:pt x="1522" y="808"/>
                    <a:pt x="1521" y="831"/>
                  </a:cubicBezTo>
                  <a:cubicBezTo>
                    <a:pt x="1521" y="831"/>
                    <a:pt x="1521" y="831"/>
                    <a:pt x="1521" y="831"/>
                  </a:cubicBezTo>
                  <a:cubicBezTo>
                    <a:pt x="1520" y="831"/>
                    <a:pt x="1520" y="831"/>
                    <a:pt x="1520" y="831"/>
                  </a:cubicBezTo>
                  <a:cubicBezTo>
                    <a:pt x="1519" y="842"/>
                    <a:pt x="1519" y="853"/>
                    <a:pt x="1519" y="863"/>
                  </a:cubicBezTo>
                  <a:cubicBezTo>
                    <a:pt x="1519" y="869"/>
                    <a:pt x="1519" y="874"/>
                    <a:pt x="1519" y="880"/>
                  </a:cubicBezTo>
                  <a:cubicBezTo>
                    <a:pt x="1517" y="880"/>
                    <a:pt x="1515" y="880"/>
                    <a:pt x="1513" y="880"/>
                  </a:cubicBezTo>
                  <a:cubicBezTo>
                    <a:pt x="1484" y="880"/>
                    <a:pt x="1451" y="883"/>
                    <a:pt x="1417" y="889"/>
                  </a:cubicBezTo>
                  <a:cubicBezTo>
                    <a:pt x="1415" y="870"/>
                    <a:pt x="1414" y="850"/>
                    <a:pt x="1414" y="830"/>
                  </a:cubicBezTo>
                  <a:cubicBezTo>
                    <a:pt x="1414" y="830"/>
                    <a:pt x="1414" y="830"/>
                    <a:pt x="1414" y="830"/>
                  </a:cubicBezTo>
                  <a:moveTo>
                    <a:pt x="1637" y="810"/>
                  </a:moveTo>
                  <a:cubicBezTo>
                    <a:pt x="1615" y="809"/>
                    <a:pt x="1594" y="808"/>
                    <a:pt x="1576" y="807"/>
                  </a:cubicBezTo>
                  <a:cubicBezTo>
                    <a:pt x="1560" y="807"/>
                    <a:pt x="1545" y="806"/>
                    <a:pt x="1532" y="806"/>
                  </a:cubicBezTo>
                  <a:cubicBezTo>
                    <a:pt x="1533" y="783"/>
                    <a:pt x="1535" y="762"/>
                    <a:pt x="1536" y="744"/>
                  </a:cubicBezTo>
                  <a:cubicBezTo>
                    <a:pt x="1552" y="744"/>
                    <a:pt x="1569" y="745"/>
                    <a:pt x="1589" y="746"/>
                  </a:cubicBezTo>
                  <a:cubicBezTo>
                    <a:pt x="1606" y="747"/>
                    <a:pt x="1624" y="748"/>
                    <a:pt x="1644" y="749"/>
                  </a:cubicBezTo>
                  <a:cubicBezTo>
                    <a:pt x="1641" y="771"/>
                    <a:pt x="1639" y="791"/>
                    <a:pt x="1637" y="810"/>
                  </a:cubicBezTo>
                  <a:moveTo>
                    <a:pt x="1818" y="679"/>
                  </a:moveTo>
                  <a:cubicBezTo>
                    <a:pt x="1843" y="679"/>
                    <a:pt x="1869" y="679"/>
                    <a:pt x="1896" y="678"/>
                  </a:cubicBezTo>
                  <a:cubicBezTo>
                    <a:pt x="1891" y="695"/>
                    <a:pt x="1885" y="717"/>
                    <a:pt x="1879" y="741"/>
                  </a:cubicBezTo>
                  <a:cubicBezTo>
                    <a:pt x="1856" y="742"/>
                    <a:pt x="1834" y="742"/>
                    <a:pt x="1812" y="742"/>
                  </a:cubicBezTo>
                  <a:cubicBezTo>
                    <a:pt x="1799" y="742"/>
                    <a:pt x="1787" y="742"/>
                    <a:pt x="1774" y="742"/>
                  </a:cubicBezTo>
                  <a:cubicBezTo>
                    <a:pt x="1778" y="720"/>
                    <a:pt x="1783" y="699"/>
                    <a:pt x="1787" y="683"/>
                  </a:cubicBezTo>
                  <a:cubicBezTo>
                    <a:pt x="1787" y="682"/>
                    <a:pt x="1788" y="680"/>
                    <a:pt x="1788" y="679"/>
                  </a:cubicBezTo>
                  <a:cubicBezTo>
                    <a:pt x="1798" y="679"/>
                    <a:pt x="1808" y="679"/>
                    <a:pt x="1818" y="679"/>
                  </a:cubicBezTo>
                  <a:moveTo>
                    <a:pt x="1763" y="742"/>
                  </a:moveTo>
                  <a:cubicBezTo>
                    <a:pt x="1725" y="741"/>
                    <a:pt x="1689" y="740"/>
                    <a:pt x="1657" y="738"/>
                  </a:cubicBezTo>
                  <a:cubicBezTo>
                    <a:pt x="1659" y="726"/>
                    <a:pt x="1661" y="713"/>
                    <a:pt x="1663" y="700"/>
                  </a:cubicBezTo>
                  <a:cubicBezTo>
                    <a:pt x="1664" y="692"/>
                    <a:pt x="1665" y="684"/>
                    <a:pt x="1666" y="676"/>
                  </a:cubicBezTo>
                  <a:cubicBezTo>
                    <a:pt x="1700" y="677"/>
                    <a:pt x="1737" y="678"/>
                    <a:pt x="1777" y="679"/>
                  </a:cubicBezTo>
                  <a:cubicBezTo>
                    <a:pt x="1776" y="680"/>
                    <a:pt x="1776" y="680"/>
                    <a:pt x="1776" y="680"/>
                  </a:cubicBezTo>
                  <a:cubicBezTo>
                    <a:pt x="1773" y="694"/>
                    <a:pt x="1768" y="716"/>
                    <a:pt x="1763" y="742"/>
                  </a:cubicBezTo>
                  <a:moveTo>
                    <a:pt x="1890" y="741"/>
                  </a:moveTo>
                  <a:cubicBezTo>
                    <a:pt x="1896" y="717"/>
                    <a:pt x="1902" y="695"/>
                    <a:pt x="1908" y="678"/>
                  </a:cubicBezTo>
                  <a:cubicBezTo>
                    <a:pt x="1942" y="677"/>
                    <a:pt x="1978" y="675"/>
                    <a:pt x="2014" y="672"/>
                  </a:cubicBezTo>
                  <a:cubicBezTo>
                    <a:pt x="2008" y="690"/>
                    <a:pt x="2001" y="712"/>
                    <a:pt x="1994" y="735"/>
                  </a:cubicBezTo>
                  <a:cubicBezTo>
                    <a:pt x="1959" y="738"/>
                    <a:pt x="1924" y="740"/>
                    <a:pt x="1890" y="741"/>
                  </a:cubicBezTo>
                  <a:moveTo>
                    <a:pt x="1646" y="737"/>
                  </a:moveTo>
                  <a:cubicBezTo>
                    <a:pt x="1625" y="736"/>
                    <a:pt x="1607" y="735"/>
                    <a:pt x="1590" y="734"/>
                  </a:cubicBezTo>
                  <a:cubicBezTo>
                    <a:pt x="1570" y="733"/>
                    <a:pt x="1552" y="732"/>
                    <a:pt x="1537" y="732"/>
                  </a:cubicBezTo>
                  <a:cubicBezTo>
                    <a:pt x="1538" y="726"/>
                    <a:pt x="1538" y="721"/>
                    <a:pt x="1538" y="716"/>
                  </a:cubicBezTo>
                  <a:cubicBezTo>
                    <a:pt x="1539" y="703"/>
                    <a:pt x="1540" y="687"/>
                    <a:pt x="1541" y="669"/>
                  </a:cubicBezTo>
                  <a:cubicBezTo>
                    <a:pt x="1554" y="670"/>
                    <a:pt x="1568" y="671"/>
                    <a:pt x="1584" y="672"/>
                  </a:cubicBezTo>
                  <a:cubicBezTo>
                    <a:pt x="1605" y="673"/>
                    <a:pt x="1629" y="674"/>
                    <a:pt x="1655" y="675"/>
                  </a:cubicBezTo>
                  <a:cubicBezTo>
                    <a:pt x="1654" y="683"/>
                    <a:pt x="1653" y="691"/>
                    <a:pt x="1652" y="698"/>
                  </a:cubicBezTo>
                  <a:cubicBezTo>
                    <a:pt x="1650" y="712"/>
                    <a:pt x="1648" y="725"/>
                    <a:pt x="1646" y="737"/>
                  </a:cubicBezTo>
                  <a:moveTo>
                    <a:pt x="1414" y="745"/>
                  </a:moveTo>
                  <a:cubicBezTo>
                    <a:pt x="1414" y="741"/>
                    <a:pt x="1414" y="737"/>
                    <a:pt x="1414" y="733"/>
                  </a:cubicBezTo>
                  <a:cubicBezTo>
                    <a:pt x="1414" y="718"/>
                    <a:pt x="1414" y="702"/>
                    <a:pt x="1413" y="685"/>
                  </a:cubicBezTo>
                  <a:cubicBezTo>
                    <a:pt x="1451" y="675"/>
                    <a:pt x="1485" y="669"/>
                    <a:pt x="1513" y="669"/>
                  </a:cubicBezTo>
                  <a:cubicBezTo>
                    <a:pt x="1514" y="669"/>
                    <a:pt x="1515" y="669"/>
                    <a:pt x="1516" y="669"/>
                  </a:cubicBezTo>
                  <a:cubicBezTo>
                    <a:pt x="1521" y="669"/>
                    <a:pt x="1525" y="669"/>
                    <a:pt x="1530" y="669"/>
                  </a:cubicBezTo>
                  <a:cubicBezTo>
                    <a:pt x="1529" y="686"/>
                    <a:pt x="1528" y="702"/>
                    <a:pt x="1527" y="715"/>
                  </a:cubicBezTo>
                  <a:cubicBezTo>
                    <a:pt x="1527" y="720"/>
                    <a:pt x="1526" y="726"/>
                    <a:pt x="1526" y="731"/>
                  </a:cubicBezTo>
                  <a:cubicBezTo>
                    <a:pt x="1524" y="731"/>
                    <a:pt x="1521" y="731"/>
                    <a:pt x="1519" y="731"/>
                  </a:cubicBezTo>
                  <a:cubicBezTo>
                    <a:pt x="1517" y="731"/>
                    <a:pt x="1515" y="731"/>
                    <a:pt x="1514" y="731"/>
                  </a:cubicBezTo>
                  <a:cubicBezTo>
                    <a:pt x="1485" y="731"/>
                    <a:pt x="1451" y="736"/>
                    <a:pt x="1414" y="745"/>
                  </a:cubicBezTo>
                  <a:moveTo>
                    <a:pt x="1845" y="607"/>
                  </a:moveTo>
                  <a:cubicBezTo>
                    <a:pt x="1868" y="607"/>
                    <a:pt x="1892" y="606"/>
                    <a:pt x="1917" y="606"/>
                  </a:cubicBezTo>
                  <a:cubicBezTo>
                    <a:pt x="1912" y="627"/>
                    <a:pt x="1907" y="647"/>
                    <a:pt x="1901" y="662"/>
                  </a:cubicBezTo>
                  <a:cubicBezTo>
                    <a:pt x="1901" y="663"/>
                    <a:pt x="1900" y="665"/>
                    <a:pt x="1900" y="666"/>
                  </a:cubicBezTo>
                  <a:cubicBezTo>
                    <a:pt x="1872" y="667"/>
                    <a:pt x="1845" y="667"/>
                    <a:pt x="1819" y="667"/>
                  </a:cubicBezTo>
                  <a:cubicBezTo>
                    <a:pt x="1810" y="667"/>
                    <a:pt x="1800" y="667"/>
                    <a:pt x="1791" y="667"/>
                  </a:cubicBezTo>
                  <a:cubicBezTo>
                    <a:pt x="1795" y="649"/>
                    <a:pt x="1799" y="628"/>
                    <a:pt x="1803" y="606"/>
                  </a:cubicBezTo>
                  <a:cubicBezTo>
                    <a:pt x="1817" y="606"/>
                    <a:pt x="1831" y="607"/>
                    <a:pt x="1845" y="607"/>
                  </a:cubicBezTo>
                  <a:moveTo>
                    <a:pt x="1779" y="667"/>
                  </a:moveTo>
                  <a:cubicBezTo>
                    <a:pt x="1739" y="666"/>
                    <a:pt x="1702" y="665"/>
                    <a:pt x="1668" y="664"/>
                  </a:cubicBezTo>
                  <a:cubicBezTo>
                    <a:pt x="1670" y="645"/>
                    <a:pt x="1672" y="624"/>
                    <a:pt x="1674" y="602"/>
                  </a:cubicBezTo>
                  <a:cubicBezTo>
                    <a:pt x="1710" y="604"/>
                    <a:pt x="1749" y="605"/>
                    <a:pt x="1792" y="606"/>
                  </a:cubicBezTo>
                  <a:cubicBezTo>
                    <a:pt x="1788" y="628"/>
                    <a:pt x="1784" y="649"/>
                    <a:pt x="1779" y="667"/>
                  </a:cubicBezTo>
                  <a:moveTo>
                    <a:pt x="1912" y="666"/>
                  </a:moveTo>
                  <a:cubicBezTo>
                    <a:pt x="1918" y="649"/>
                    <a:pt x="1923" y="628"/>
                    <a:pt x="1929" y="605"/>
                  </a:cubicBezTo>
                  <a:cubicBezTo>
                    <a:pt x="1966" y="604"/>
                    <a:pt x="2004" y="602"/>
                    <a:pt x="2044" y="599"/>
                  </a:cubicBezTo>
                  <a:cubicBezTo>
                    <a:pt x="2038" y="616"/>
                    <a:pt x="2032" y="632"/>
                    <a:pt x="2026" y="644"/>
                  </a:cubicBezTo>
                  <a:cubicBezTo>
                    <a:pt x="2024" y="649"/>
                    <a:pt x="2021" y="654"/>
                    <a:pt x="2019" y="660"/>
                  </a:cubicBezTo>
                  <a:cubicBezTo>
                    <a:pt x="1983" y="662"/>
                    <a:pt x="1947" y="664"/>
                    <a:pt x="1912" y="666"/>
                  </a:cubicBezTo>
                  <a:moveTo>
                    <a:pt x="1656" y="663"/>
                  </a:moveTo>
                  <a:cubicBezTo>
                    <a:pt x="1630" y="662"/>
                    <a:pt x="1606" y="661"/>
                    <a:pt x="1584" y="660"/>
                  </a:cubicBezTo>
                  <a:cubicBezTo>
                    <a:pt x="1568" y="659"/>
                    <a:pt x="1554" y="658"/>
                    <a:pt x="1542" y="657"/>
                  </a:cubicBezTo>
                  <a:cubicBezTo>
                    <a:pt x="1543" y="638"/>
                    <a:pt x="1544" y="617"/>
                    <a:pt x="1545" y="595"/>
                  </a:cubicBezTo>
                  <a:cubicBezTo>
                    <a:pt x="1557" y="596"/>
                    <a:pt x="1572" y="597"/>
                    <a:pt x="1588" y="598"/>
                  </a:cubicBezTo>
                  <a:cubicBezTo>
                    <a:pt x="1610" y="599"/>
                    <a:pt x="1635" y="600"/>
                    <a:pt x="1663" y="602"/>
                  </a:cubicBezTo>
                  <a:cubicBezTo>
                    <a:pt x="1661" y="624"/>
                    <a:pt x="1659" y="645"/>
                    <a:pt x="1656" y="663"/>
                  </a:cubicBezTo>
                  <a:moveTo>
                    <a:pt x="1413" y="672"/>
                  </a:moveTo>
                  <a:cubicBezTo>
                    <a:pt x="1413" y="666"/>
                    <a:pt x="1413" y="659"/>
                    <a:pt x="1413" y="652"/>
                  </a:cubicBezTo>
                  <a:cubicBezTo>
                    <a:pt x="1413" y="639"/>
                    <a:pt x="1413" y="625"/>
                    <a:pt x="1413" y="612"/>
                  </a:cubicBezTo>
                  <a:cubicBezTo>
                    <a:pt x="1451" y="601"/>
                    <a:pt x="1485" y="594"/>
                    <a:pt x="1512" y="594"/>
                  </a:cubicBezTo>
                  <a:cubicBezTo>
                    <a:pt x="1513" y="594"/>
                    <a:pt x="1514" y="594"/>
                    <a:pt x="1514" y="594"/>
                  </a:cubicBezTo>
                  <a:cubicBezTo>
                    <a:pt x="1520" y="594"/>
                    <a:pt x="1526" y="595"/>
                    <a:pt x="1534" y="595"/>
                  </a:cubicBezTo>
                  <a:cubicBezTo>
                    <a:pt x="1533" y="617"/>
                    <a:pt x="1532" y="638"/>
                    <a:pt x="1531" y="657"/>
                  </a:cubicBezTo>
                  <a:cubicBezTo>
                    <a:pt x="1526" y="657"/>
                    <a:pt x="1521" y="657"/>
                    <a:pt x="1517" y="657"/>
                  </a:cubicBezTo>
                  <a:cubicBezTo>
                    <a:pt x="1515" y="657"/>
                    <a:pt x="1514" y="657"/>
                    <a:pt x="1513" y="657"/>
                  </a:cubicBezTo>
                  <a:cubicBezTo>
                    <a:pt x="1484" y="657"/>
                    <a:pt x="1450" y="663"/>
                    <a:pt x="1413" y="672"/>
                  </a:cubicBezTo>
                  <a:moveTo>
                    <a:pt x="1845" y="595"/>
                  </a:moveTo>
                  <a:cubicBezTo>
                    <a:pt x="1831" y="595"/>
                    <a:pt x="1818" y="594"/>
                    <a:pt x="1806" y="594"/>
                  </a:cubicBezTo>
                  <a:cubicBezTo>
                    <a:pt x="1809" y="574"/>
                    <a:pt x="1813" y="554"/>
                    <a:pt x="1816" y="534"/>
                  </a:cubicBezTo>
                  <a:cubicBezTo>
                    <a:pt x="1836" y="535"/>
                    <a:pt x="1857" y="535"/>
                    <a:pt x="1878" y="535"/>
                  </a:cubicBezTo>
                  <a:cubicBezTo>
                    <a:pt x="1896" y="535"/>
                    <a:pt x="1914" y="535"/>
                    <a:pt x="1932" y="534"/>
                  </a:cubicBezTo>
                  <a:cubicBezTo>
                    <a:pt x="1928" y="554"/>
                    <a:pt x="1924" y="574"/>
                    <a:pt x="1920" y="594"/>
                  </a:cubicBezTo>
                  <a:cubicBezTo>
                    <a:pt x="1894" y="594"/>
                    <a:pt x="1869" y="595"/>
                    <a:pt x="1845" y="595"/>
                  </a:cubicBezTo>
                  <a:moveTo>
                    <a:pt x="1794" y="594"/>
                  </a:moveTo>
                  <a:cubicBezTo>
                    <a:pt x="1751" y="593"/>
                    <a:pt x="1711" y="592"/>
                    <a:pt x="1676" y="590"/>
                  </a:cubicBezTo>
                  <a:cubicBezTo>
                    <a:pt x="1677" y="574"/>
                    <a:pt x="1679" y="557"/>
                    <a:pt x="1680" y="540"/>
                  </a:cubicBezTo>
                  <a:cubicBezTo>
                    <a:pt x="1681" y="536"/>
                    <a:pt x="1681" y="533"/>
                    <a:pt x="1681" y="529"/>
                  </a:cubicBezTo>
                  <a:cubicBezTo>
                    <a:pt x="1719" y="531"/>
                    <a:pt x="1760" y="533"/>
                    <a:pt x="1805" y="534"/>
                  </a:cubicBezTo>
                  <a:cubicBezTo>
                    <a:pt x="1802" y="554"/>
                    <a:pt x="1798" y="574"/>
                    <a:pt x="1794" y="594"/>
                  </a:cubicBezTo>
                  <a:moveTo>
                    <a:pt x="1931" y="593"/>
                  </a:moveTo>
                  <a:cubicBezTo>
                    <a:pt x="1936" y="574"/>
                    <a:pt x="1940" y="554"/>
                    <a:pt x="1943" y="534"/>
                  </a:cubicBezTo>
                  <a:cubicBezTo>
                    <a:pt x="1983" y="533"/>
                    <a:pt x="2024" y="532"/>
                    <a:pt x="2065" y="529"/>
                  </a:cubicBezTo>
                  <a:cubicBezTo>
                    <a:pt x="2059" y="549"/>
                    <a:pt x="2054" y="568"/>
                    <a:pt x="2048" y="587"/>
                  </a:cubicBezTo>
                  <a:cubicBezTo>
                    <a:pt x="2008" y="590"/>
                    <a:pt x="1969" y="592"/>
                    <a:pt x="1931" y="593"/>
                  </a:cubicBezTo>
                  <a:moveTo>
                    <a:pt x="1664" y="590"/>
                  </a:moveTo>
                  <a:cubicBezTo>
                    <a:pt x="1636" y="589"/>
                    <a:pt x="1610" y="587"/>
                    <a:pt x="1588" y="586"/>
                  </a:cubicBezTo>
                  <a:cubicBezTo>
                    <a:pt x="1572" y="585"/>
                    <a:pt x="1558" y="584"/>
                    <a:pt x="1545" y="583"/>
                  </a:cubicBezTo>
                  <a:cubicBezTo>
                    <a:pt x="1546" y="564"/>
                    <a:pt x="1547" y="542"/>
                    <a:pt x="1548" y="521"/>
                  </a:cubicBezTo>
                  <a:cubicBezTo>
                    <a:pt x="1561" y="522"/>
                    <a:pt x="1575" y="523"/>
                    <a:pt x="1591" y="524"/>
                  </a:cubicBezTo>
                  <a:cubicBezTo>
                    <a:pt x="1614" y="526"/>
                    <a:pt x="1641" y="527"/>
                    <a:pt x="1670" y="529"/>
                  </a:cubicBezTo>
                  <a:cubicBezTo>
                    <a:pt x="1670" y="532"/>
                    <a:pt x="1670" y="535"/>
                    <a:pt x="1669" y="538"/>
                  </a:cubicBezTo>
                  <a:cubicBezTo>
                    <a:pt x="1668" y="556"/>
                    <a:pt x="1666" y="573"/>
                    <a:pt x="1664" y="590"/>
                  </a:cubicBezTo>
                  <a:moveTo>
                    <a:pt x="1414" y="599"/>
                  </a:moveTo>
                  <a:cubicBezTo>
                    <a:pt x="1414" y="578"/>
                    <a:pt x="1414" y="558"/>
                    <a:pt x="1414" y="538"/>
                  </a:cubicBezTo>
                  <a:cubicBezTo>
                    <a:pt x="1451" y="527"/>
                    <a:pt x="1484" y="520"/>
                    <a:pt x="1510" y="520"/>
                  </a:cubicBezTo>
                  <a:cubicBezTo>
                    <a:pt x="1511" y="520"/>
                    <a:pt x="1512" y="520"/>
                    <a:pt x="1512" y="520"/>
                  </a:cubicBezTo>
                  <a:cubicBezTo>
                    <a:pt x="1519" y="520"/>
                    <a:pt x="1528" y="520"/>
                    <a:pt x="1537" y="521"/>
                  </a:cubicBezTo>
                  <a:cubicBezTo>
                    <a:pt x="1536" y="540"/>
                    <a:pt x="1535" y="560"/>
                    <a:pt x="1534" y="583"/>
                  </a:cubicBezTo>
                  <a:cubicBezTo>
                    <a:pt x="1527" y="583"/>
                    <a:pt x="1520" y="582"/>
                    <a:pt x="1514" y="582"/>
                  </a:cubicBezTo>
                  <a:cubicBezTo>
                    <a:pt x="1514" y="582"/>
                    <a:pt x="1513" y="582"/>
                    <a:pt x="1512" y="582"/>
                  </a:cubicBezTo>
                  <a:cubicBezTo>
                    <a:pt x="1484" y="582"/>
                    <a:pt x="1451" y="589"/>
                    <a:pt x="1414" y="599"/>
                  </a:cubicBezTo>
                  <a:moveTo>
                    <a:pt x="2086" y="494"/>
                  </a:moveTo>
                  <a:cubicBezTo>
                    <a:pt x="2074" y="494"/>
                    <a:pt x="2074" y="494"/>
                    <a:pt x="2074" y="494"/>
                  </a:cubicBezTo>
                  <a:cubicBezTo>
                    <a:pt x="2072" y="502"/>
                    <a:pt x="2070" y="509"/>
                    <a:pt x="2068" y="516"/>
                  </a:cubicBezTo>
                  <a:cubicBezTo>
                    <a:pt x="2026" y="519"/>
                    <a:pt x="1985" y="521"/>
                    <a:pt x="1946" y="522"/>
                  </a:cubicBezTo>
                  <a:cubicBezTo>
                    <a:pt x="1947" y="514"/>
                    <a:pt x="1948" y="507"/>
                    <a:pt x="1950" y="500"/>
                  </a:cubicBezTo>
                  <a:cubicBezTo>
                    <a:pt x="1950" y="498"/>
                    <a:pt x="1950" y="496"/>
                    <a:pt x="1951" y="494"/>
                  </a:cubicBezTo>
                  <a:cubicBezTo>
                    <a:pt x="1939" y="494"/>
                    <a:pt x="1939" y="494"/>
                    <a:pt x="1939" y="494"/>
                  </a:cubicBezTo>
                  <a:cubicBezTo>
                    <a:pt x="1939" y="495"/>
                    <a:pt x="1939" y="496"/>
                    <a:pt x="1939" y="497"/>
                  </a:cubicBezTo>
                  <a:cubicBezTo>
                    <a:pt x="1937" y="505"/>
                    <a:pt x="1936" y="514"/>
                    <a:pt x="1934" y="522"/>
                  </a:cubicBezTo>
                  <a:cubicBezTo>
                    <a:pt x="1915" y="523"/>
                    <a:pt x="1896" y="523"/>
                    <a:pt x="1878" y="523"/>
                  </a:cubicBezTo>
                  <a:cubicBezTo>
                    <a:pt x="1858" y="523"/>
                    <a:pt x="1838" y="523"/>
                    <a:pt x="1818" y="522"/>
                  </a:cubicBezTo>
                  <a:cubicBezTo>
                    <a:pt x="1820" y="513"/>
                    <a:pt x="1822" y="503"/>
                    <a:pt x="1823" y="494"/>
                  </a:cubicBezTo>
                  <a:cubicBezTo>
                    <a:pt x="1812" y="494"/>
                    <a:pt x="1812" y="494"/>
                    <a:pt x="1812" y="494"/>
                  </a:cubicBezTo>
                  <a:cubicBezTo>
                    <a:pt x="1810" y="503"/>
                    <a:pt x="1809" y="512"/>
                    <a:pt x="1807" y="522"/>
                  </a:cubicBezTo>
                  <a:cubicBezTo>
                    <a:pt x="1762" y="521"/>
                    <a:pt x="1720" y="519"/>
                    <a:pt x="1682" y="517"/>
                  </a:cubicBezTo>
                  <a:cubicBezTo>
                    <a:pt x="1683" y="510"/>
                    <a:pt x="1684" y="502"/>
                    <a:pt x="1685" y="494"/>
                  </a:cubicBezTo>
                  <a:cubicBezTo>
                    <a:pt x="1673" y="494"/>
                    <a:pt x="1673" y="494"/>
                    <a:pt x="1673" y="494"/>
                  </a:cubicBezTo>
                  <a:cubicBezTo>
                    <a:pt x="1673" y="501"/>
                    <a:pt x="1672" y="509"/>
                    <a:pt x="1671" y="517"/>
                  </a:cubicBezTo>
                  <a:cubicBezTo>
                    <a:pt x="1642" y="515"/>
                    <a:pt x="1615" y="514"/>
                    <a:pt x="1592" y="512"/>
                  </a:cubicBezTo>
                  <a:cubicBezTo>
                    <a:pt x="1576" y="511"/>
                    <a:pt x="1562" y="510"/>
                    <a:pt x="1549" y="509"/>
                  </a:cubicBezTo>
                  <a:cubicBezTo>
                    <a:pt x="1549" y="504"/>
                    <a:pt x="1550" y="499"/>
                    <a:pt x="1550" y="494"/>
                  </a:cubicBezTo>
                  <a:cubicBezTo>
                    <a:pt x="1539" y="494"/>
                    <a:pt x="1539" y="494"/>
                    <a:pt x="1539" y="494"/>
                  </a:cubicBezTo>
                  <a:cubicBezTo>
                    <a:pt x="1538" y="499"/>
                    <a:pt x="1538" y="504"/>
                    <a:pt x="1538" y="509"/>
                  </a:cubicBezTo>
                  <a:cubicBezTo>
                    <a:pt x="1528" y="508"/>
                    <a:pt x="1519" y="508"/>
                    <a:pt x="1512" y="508"/>
                  </a:cubicBezTo>
                  <a:cubicBezTo>
                    <a:pt x="1512" y="508"/>
                    <a:pt x="1511" y="508"/>
                    <a:pt x="1510" y="508"/>
                  </a:cubicBezTo>
                  <a:cubicBezTo>
                    <a:pt x="1484" y="508"/>
                    <a:pt x="1451" y="515"/>
                    <a:pt x="1414" y="526"/>
                  </a:cubicBezTo>
                  <a:cubicBezTo>
                    <a:pt x="1415" y="515"/>
                    <a:pt x="1415" y="504"/>
                    <a:pt x="1415" y="494"/>
                  </a:cubicBezTo>
                  <a:cubicBezTo>
                    <a:pt x="1404" y="494"/>
                    <a:pt x="1404" y="494"/>
                    <a:pt x="1404" y="494"/>
                  </a:cubicBezTo>
                  <a:cubicBezTo>
                    <a:pt x="1404" y="505"/>
                    <a:pt x="1403" y="517"/>
                    <a:pt x="1403" y="529"/>
                  </a:cubicBezTo>
                  <a:cubicBezTo>
                    <a:pt x="1402" y="529"/>
                    <a:pt x="1400" y="530"/>
                    <a:pt x="1399" y="530"/>
                  </a:cubicBezTo>
                  <a:cubicBezTo>
                    <a:pt x="1399" y="543"/>
                    <a:pt x="1399" y="543"/>
                    <a:pt x="1399" y="543"/>
                  </a:cubicBezTo>
                  <a:cubicBezTo>
                    <a:pt x="1400" y="543"/>
                    <a:pt x="1402" y="542"/>
                    <a:pt x="1403" y="542"/>
                  </a:cubicBezTo>
                  <a:cubicBezTo>
                    <a:pt x="1403" y="562"/>
                    <a:pt x="1403" y="582"/>
                    <a:pt x="1402" y="602"/>
                  </a:cubicBezTo>
                  <a:cubicBezTo>
                    <a:pt x="1401" y="603"/>
                    <a:pt x="1400" y="603"/>
                    <a:pt x="1399" y="603"/>
                  </a:cubicBezTo>
                  <a:cubicBezTo>
                    <a:pt x="1399" y="616"/>
                    <a:pt x="1399" y="616"/>
                    <a:pt x="1399" y="616"/>
                  </a:cubicBezTo>
                  <a:cubicBezTo>
                    <a:pt x="1400" y="616"/>
                    <a:pt x="1401" y="615"/>
                    <a:pt x="1402" y="615"/>
                  </a:cubicBezTo>
                  <a:cubicBezTo>
                    <a:pt x="1402" y="628"/>
                    <a:pt x="1402" y="640"/>
                    <a:pt x="1402" y="652"/>
                  </a:cubicBezTo>
                  <a:cubicBezTo>
                    <a:pt x="1402" y="660"/>
                    <a:pt x="1402" y="668"/>
                    <a:pt x="1402" y="675"/>
                  </a:cubicBezTo>
                  <a:cubicBezTo>
                    <a:pt x="1401" y="675"/>
                    <a:pt x="1400" y="676"/>
                    <a:pt x="1399" y="676"/>
                  </a:cubicBezTo>
                  <a:cubicBezTo>
                    <a:pt x="1399" y="688"/>
                    <a:pt x="1399" y="688"/>
                    <a:pt x="1399" y="688"/>
                  </a:cubicBezTo>
                  <a:cubicBezTo>
                    <a:pt x="1400" y="688"/>
                    <a:pt x="1401" y="688"/>
                    <a:pt x="1402" y="688"/>
                  </a:cubicBezTo>
                  <a:cubicBezTo>
                    <a:pt x="1402" y="709"/>
                    <a:pt x="1403" y="725"/>
                    <a:pt x="1403" y="733"/>
                  </a:cubicBezTo>
                  <a:cubicBezTo>
                    <a:pt x="1403" y="738"/>
                    <a:pt x="1403" y="742"/>
                    <a:pt x="1403" y="748"/>
                  </a:cubicBezTo>
                  <a:cubicBezTo>
                    <a:pt x="1401" y="748"/>
                    <a:pt x="1400" y="748"/>
                    <a:pt x="1399" y="749"/>
                  </a:cubicBezTo>
                  <a:cubicBezTo>
                    <a:pt x="1399" y="761"/>
                    <a:pt x="1399" y="761"/>
                    <a:pt x="1399" y="761"/>
                  </a:cubicBezTo>
                  <a:cubicBezTo>
                    <a:pt x="1400" y="761"/>
                    <a:pt x="1401" y="760"/>
                    <a:pt x="1403" y="760"/>
                  </a:cubicBezTo>
                  <a:cubicBezTo>
                    <a:pt x="1403" y="763"/>
                    <a:pt x="1403" y="767"/>
                    <a:pt x="1403" y="770"/>
                  </a:cubicBezTo>
                  <a:cubicBezTo>
                    <a:pt x="1403" y="779"/>
                    <a:pt x="1403" y="788"/>
                    <a:pt x="1403" y="797"/>
                  </a:cubicBezTo>
                  <a:cubicBezTo>
                    <a:pt x="1403" y="805"/>
                    <a:pt x="1403" y="812"/>
                    <a:pt x="1403" y="820"/>
                  </a:cubicBezTo>
                  <a:cubicBezTo>
                    <a:pt x="1401" y="820"/>
                    <a:pt x="1400" y="820"/>
                    <a:pt x="1399" y="821"/>
                  </a:cubicBezTo>
                  <a:cubicBezTo>
                    <a:pt x="1399" y="833"/>
                    <a:pt x="1399" y="833"/>
                    <a:pt x="1399" y="833"/>
                  </a:cubicBezTo>
                  <a:cubicBezTo>
                    <a:pt x="1400" y="833"/>
                    <a:pt x="1402" y="832"/>
                    <a:pt x="1403" y="832"/>
                  </a:cubicBezTo>
                  <a:cubicBezTo>
                    <a:pt x="1403" y="852"/>
                    <a:pt x="1404" y="872"/>
                    <a:pt x="1406" y="891"/>
                  </a:cubicBezTo>
                  <a:cubicBezTo>
                    <a:pt x="1403" y="892"/>
                    <a:pt x="1401" y="892"/>
                    <a:pt x="1399" y="893"/>
                  </a:cubicBezTo>
                  <a:cubicBezTo>
                    <a:pt x="1399" y="905"/>
                    <a:pt x="1399" y="905"/>
                    <a:pt x="1399" y="905"/>
                  </a:cubicBezTo>
                  <a:cubicBezTo>
                    <a:pt x="1402" y="904"/>
                    <a:pt x="1404" y="904"/>
                    <a:pt x="1407" y="903"/>
                  </a:cubicBezTo>
                  <a:cubicBezTo>
                    <a:pt x="1409" y="925"/>
                    <a:pt x="1413" y="945"/>
                    <a:pt x="1418" y="962"/>
                  </a:cubicBezTo>
                  <a:cubicBezTo>
                    <a:pt x="1412" y="963"/>
                    <a:pt x="1405" y="963"/>
                    <a:pt x="1399" y="965"/>
                  </a:cubicBezTo>
                  <a:cubicBezTo>
                    <a:pt x="1399" y="977"/>
                    <a:pt x="1399" y="977"/>
                    <a:pt x="1399" y="977"/>
                  </a:cubicBezTo>
                  <a:cubicBezTo>
                    <a:pt x="1407" y="975"/>
                    <a:pt x="1415" y="974"/>
                    <a:pt x="1423" y="973"/>
                  </a:cubicBezTo>
                  <a:cubicBezTo>
                    <a:pt x="1424" y="976"/>
                    <a:pt x="1425" y="978"/>
                    <a:pt x="1427" y="981"/>
                  </a:cubicBezTo>
                  <a:cubicBezTo>
                    <a:pt x="1427" y="984"/>
                    <a:pt x="1427" y="987"/>
                    <a:pt x="1427" y="990"/>
                  </a:cubicBezTo>
                  <a:cubicBezTo>
                    <a:pt x="1438" y="990"/>
                    <a:pt x="1438" y="990"/>
                    <a:pt x="1438" y="990"/>
                  </a:cubicBezTo>
                  <a:cubicBezTo>
                    <a:pt x="1438" y="987"/>
                    <a:pt x="1438" y="983"/>
                    <a:pt x="1438" y="979"/>
                  </a:cubicBezTo>
                  <a:cubicBezTo>
                    <a:pt x="1438" y="977"/>
                    <a:pt x="1438" y="977"/>
                    <a:pt x="1438" y="977"/>
                  </a:cubicBezTo>
                  <a:cubicBezTo>
                    <a:pt x="1437" y="976"/>
                    <a:pt x="1437" y="976"/>
                    <a:pt x="1437" y="976"/>
                  </a:cubicBezTo>
                  <a:cubicBezTo>
                    <a:pt x="1436" y="974"/>
                    <a:pt x="1436" y="973"/>
                    <a:pt x="1435" y="971"/>
                  </a:cubicBezTo>
                  <a:cubicBezTo>
                    <a:pt x="1462" y="968"/>
                    <a:pt x="1489" y="966"/>
                    <a:pt x="1513" y="966"/>
                  </a:cubicBezTo>
                  <a:cubicBezTo>
                    <a:pt x="1517" y="966"/>
                    <a:pt x="1521" y="966"/>
                    <a:pt x="1525" y="966"/>
                  </a:cubicBezTo>
                  <a:cubicBezTo>
                    <a:pt x="1534" y="966"/>
                    <a:pt x="1534" y="966"/>
                    <a:pt x="1534" y="966"/>
                  </a:cubicBezTo>
                  <a:cubicBezTo>
                    <a:pt x="1534" y="974"/>
                    <a:pt x="1533" y="982"/>
                    <a:pt x="1532" y="990"/>
                  </a:cubicBezTo>
                  <a:cubicBezTo>
                    <a:pt x="1543" y="990"/>
                    <a:pt x="1543" y="990"/>
                    <a:pt x="1543" y="990"/>
                  </a:cubicBezTo>
                  <a:cubicBezTo>
                    <a:pt x="1544" y="982"/>
                    <a:pt x="1545" y="975"/>
                    <a:pt x="1545" y="967"/>
                  </a:cubicBezTo>
                  <a:cubicBezTo>
                    <a:pt x="1549" y="967"/>
                    <a:pt x="1549" y="967"/>
                    <a:pt x="1549" y="967"/>
                  </a:cubicBezTo>
                  <a:cubicBezTo>
                    <a:pt x="1575" y="968"/>
                    <a:pt x="1605" y="969"/>
                    <a:pt x="1639" y="970"/>
                  </a:cubicBezTo>
                  <a:cubicBezTo>
                    <a:pt x="1638" y="977"/>
                    <a:pt x="1637" y="983"/>
                    <a:pt x="1636" y="990"/>
                  </a:cubicBezTo>
                  <a:cubicBezTo>
                    <a:pt x="1647" y="990"/>
                    <a:pt x="1647" y="990"/>
                    <a:pt x="1647" y="990"/>
                  </a:cubicBezTo>
                  <a:cubicBezTo>
                    <a:pt x="1648" y="984"/>
                    <a:pt x="1649" y="977"/>
                    <a:pt x="1650" y="970"/>
                  </a:cubicBezTo>
                  <a:cubicBezTo>
                    <a:pt x="1667" y="970"/>
                    <a:pt x="1684" y="970"/>
                    <a:pt x="1702" y="970"/>
                  </a:cubicBezTo>
                  <a:cubicBezTo>
                    <a:pt x="1715" y="970"/>
                    <a:pt x="1728" y="970"/>
                    <a:pt x="1742" y="970"/>
                  </a:cubicBezTo>
                  <a:cubicBezTo>
                    <a:pt x="1741" y="977"/>
                    <a:pt x="1739" y="984"/>
                    <a:pt x="1738" y="990"/>
                  </a:cubicBezTo>
                  <a:cubicBezTo>
                    <a:pt x="1749" y="990"/>
                    <a:pt x="1749" y="990"/>
                    <a:pt x="1749" y="990"/>
                  </a:cubicBezTo>
                  <a:cubicBezTo>
                    <a:pt x="1751" y="984"/>
                    <a:pt x="1752" y="977"/>
                    <a:pt x="1754" y="970"/>
                  </a:cubicBezTo>
                  <a:cubicBezTo>
                    <a:pt x="1783" y="969"/>
                    <a:pt x="1814" y="968"/>
                    <a:pt x="1845" y="966"/>
                  </a:cubicBezTo>
                  <a:cubicBezTo>
                    <a:pt x="1843" y="974"/>
                    <a:pt x="1841" y="982"/>
                    <a:pt x="1839" y="990"/>
                  </a:cubicBezTo>
                  <a:cubicBezTo>
                    <a:pt x="1850" y="990"/>
                    <a:pt x="1850" y="990"/>
                    <a:pt x="1850" y="990"/>
                  </a:cubicBezTo>
                  <a:cubicBezTo>
                    <a:pt x="1853" y="982"/>
                    <a:pt x="1855" y="974"/>
                    <a:pt x="1857" y="965"/>
                  </a:cubicBezTo>
                  <a:cubicBezTo>
                    <a:pt x="1887" y="963"/>
                    <a:pt x="1918" y="960"/>
                    <a:pt x="1949" y="957"/>
                  </a:cubicBezTo>
                  <a:cubicBezTo>
                    <a:pt x="1946" y="968"/>
                    <a:pt x="1942" y="979"/>
                    <a:pt x="1938" y="990"/>
                  </a:cubicBezTo>
                  <a:cubicBezTo>
                    <a:pt x="1950" y="990"/>
                    <a:pt x="1950" y="990"/>
                    <a:pt x="1950" y="990"/>
                  </a:cubicBezTo>
                  <a:cubicBezTo>
                    <a:pt x="1954" y="979"/>
                    <a:pt x="1958" y="967"/>
                    <a:pt x="1961" y="955"/>
                  </a:cubicBezTo>
                  <a:cubicBezTo>
                    <a:pt x="1976" y="953"/>
                    <a:pt x="1992" y="951"/>
                    <a:pt x="2007" y="949"/>
                  </a:cubicBezTo>
                  <a:cubicBezTo>
                    <a:pt x="2023" y="946"/>
                    <a:pt x="2039" y="943"/>
                    <a:pt x="2055" y="940"/>
                  </a:cubicBezTo>
                  <a:cubicBezTo>
                    <a:pt x="2049" y="957"/>
                    <a:pt x="2043" y="974"/>
                    <a:pt x="2037" y="990"/>
                  </a:cubicBezTo>
                  <a:cubicBezTo>
                    <a:pt x="2049" y="990"/>
                    <a:pt x="2049" y="990"/>
                    <a:pt x="2049" y="990"/>
                  </a:cubicBezTo>
                  <a:cubicBezTo>
                    <a:pt x="2056" y="973"/>
                    <a:pt x="2062" y="956"/>
                    <a:pt x="2068" y="938"/>
                  </a:cubicBezTo>
                  <a:cubicBezTo>
                    <a:pt x="2078" y="936"/>
                    <a:pt x="2088" y="934"/>
                    <a:pt x="2097" y="932"/>
                  </a:cubicBezTo>
                  <a:cubicBezTo>
                    <a:pt x="2097" y="919"/>
                    <a:pt x="2097" y="919"/>
                    <a:pt x="2097" y="919"/>
                  </a:cubicBezTo>
                  <a:cubicBezTo>
                    <a:pt x="2089" y="921"/>
                    <a:pt x="2081" y="923"/>
                    <a:pt x="2072" y="925"/>
                  </a:cubicBezTo>
                  <a:cubicBezTo>
                    <a:pt x="2076" y="913"/>
                    <a:pt x="2080" y="902"/>
                    <a:pt x="2083" y="890"/>
                  </a:cubicBezTo>
                  <a:cubicBezTo>
                    <a:pt x="2085" y="888"/>
                    <a:pt x="2085" y="888"/>
                    <a:pt x="2085" y="888"/>
                  </a:cubicBezTo>
                  <a:cubicBezTo>
                    <a:pt x="2083" y="885"/>
                    <a:pt x="2083" y="885"/>
                    <a:pt x="2083" y="885"/>
                  </a:cubicBezTo>
                  <a:cubicBezTo>
                    <a:pt x="2083" y="885"/>
                    <a:pt x="2083" y="883"/>
                    <a:pt x="2083" y="882"/>
                  </a:cubicBezTo>
                  <a:cubicBezTo>
                    <a:pt x="2083" y="880"/>
                    <a:pt x="2083" y="876"/>
                    <a:pt x="2084" y="872"/>
                  </a:cubicBezTo>
                  <a:cubicBezTo>
                    <a:pt x="2088" y="871"/>
                    <a:pt x="2093" y="870"/>
                    <a:pt x="2097" y="869"/>
                  </a:cubicBezTo>
                  <a:cubicBezTo>
                    <a:pt x="2097" y="857"/>
                    <a:pt x="2097" y="857"/>
                    <a:pt x="2097" y="857"/>
                  </a:cubicBezTo>
                  <a:cubicBezTo>
                    <a:pt x="2094" y="858"/>
                    <a:pt x="2090" y="859"/>
                    <a:pt x="2086" y="859"/>
                  </a:cubicBezTo>
                  <a:cubicBezTo>
                    <a:pt x="2088" y="846"/>
                    <a:pt x="2092" y="828"/>
                    <a:pt x="2097" y="809"/>
                  </a:cubicBezTo>
                  <a:cubicBezTo>
                    <a:pt x="2097" y="766"/>
                    <a:pt x="2097" y="766"/>
                    <a:pt x="2097" y="766"/>
                  </a:cubicBezTo>
                  <a:cubicBezTo>
                    <a:pt x="2095" y="773"/>
                    <a:pt x="2093" y="780"/>
                    <a:pt x="2092" y="787"/>
                  </a:cubicBezTo>
                  <a:cubicBezTo>
                    <a:pt x="2057" y="793"/>
                    <a:pt x="2023" y="797"/>
                    <a:pt x="1989" y="801"/>
                  </a:cubicBezTo>
                  <a:cubicBezTo>
                    <a:pt x="1993" y="783"/>
                    <a:pt x="1998" y="764"/>
                    <a:pt x="2003" y="746"/>
                  </a:cubicBezTo>
                  <a:cubicBezTo>
                    <a:pt x="2034" y="744"/>
                    <a:pt x="2066" y="740"/>
                    <a:pt x="2097" y="736"/>
                  </a:cubicBezTo>
                  <a:cubicBezTo>
                    <a:pt x="2097" y="724"/>
                    <a:pt x="2097" y="724"/>
                    <a:pt x="2097" y="724"/>
                  </a:cubicBezTo>
                  <a:cubicBezTo>
                    <a:pt x="2067" y="728"/>
                    <a:pt x="2036" y="731"/>
                    <a:pt x="2006" y="734"/>
                  </a:cubicBezTo>
                  <a:cubicBezTo>
                    <a:pt x="2013" y="711"/>
                    <a:pt x="2020" y="689"/>
                    <a:pt x="2027" y="671"/>
                  </a:cubicBezTo>
                  <a:cubicBezTo>
                    <a:pt x="2050" y="669"/>
                    <a:pt x="2074" y="667"/>
                    <a:pt x="2097" y="664"/>
                  </a:cubicBezTo>
                  <a:cubicBezTo>
                    <a:pt x="2097" y="652"/>
                    <a:pt x="2097" y="652"/>
                    <a:pt x="2097" y="652"/>
                  </a:cubicBezTo>
                  <a:cubicBezTo>
                    <a:pt x="2075" y="654"/>
                    <a:pt x="2054" y="657"/>
                    <a:pt x="2032" y="658"/>
                  </a:cubicBezTo>
                  <a:cubicBezTo>
                    <a:pt x="2033" y="655"/>
                    <a:pt x="2034" y="653"/>
                    <a:pt x="2036" y="650"/>
                  </a:cubicBezTo>
                  <a:cubicBezTo>
                    <a:pt x="2043" y="636"/>
                    <a:pt x="2049" y="618"/>
                    <a:pt x="2056" y="599"/>
                  </a:cubicBezTo>
                  <a:cubicBezTo>
                    <a:pt x="2070" y="597"/>
                    <a:pt x="2084" y="596"/>
                    <a:pt x="2097" y="595"/>
                  </a:cubicBezTo>
                  <a:cubicBezTo>
                    <a:pt x="2097" y="583"/>
                    <a:pt x="2097" y="583"/>
                    <a:pt x="2097" y="583"/>
                  </a:cubicBezTo>
                  <a:cubicBezTo>
                    <a:pt x="2085" y="584"/>
                    <a:pt x="2072" y="585"/>
                    <a:pt x="2060" y="586"/>
                  </a:cubicBezTo>
                  <a:cubicBezTo>
                    <a:pt x="2066" y="567"/>
                    <a:pt x="2071" y="547"/>
                    <a:pt x="2077" y="528"/>
                  </a:cubicBezTo>
                  <a:cubicBezTo>
                    <a:pt x="2084" y="527"/>
                    <a:pt x="2091" y="527"/>
                    <a:pt x="2097" y="526"/>
                  </a:cubicBezTo>
                  <a:cubicBezTo>
                    <a:pt x="2097" y="514"/>
                    <a:pt x="2097" y="514"/>
                    <a:pt x="2097" y="514"/>
                  </a:cubicBezTo>
                  <a:cubicBezTo>
                    <a:pt x="2092" y="515"/>
                    <a:pt x="2086" y="515"/>
                    <a:pt x="2080" y="516"/>
                  </a:cubicBezTo>
                  <a:cubicBezTo>
                    <a:pt x="2082" y="508"/>
                    <a:pt x="2084" y="501"/>
                    <a:pt x="2086" y="494"/>
                  </a:cubicBezTo>
                  <a:moveTo>
                    <a:pt x="698" y="487"/>
                  </a:moveTo>
                  <a:cubicBezTo>
                    <a:pt x="698" y="494"/>
                    <a:pt x="698" y="494"/>
                    <a:pt x="698" y="494"/>
                  </a:cubicBezTo>
                  <a:cubicBezTo>
                    <a:pt x="722" y="494"/>
                    <a:pt x="722" y="494"/>
                    <a:pt x="722" y="494"/>
                  </a:cubicBezTo>
                  <a:cubicBezTo>
                    <a:pt x="717" y="493"/>
                    <a:pt x="712" y="492"/>
                    <a:pt x="707" y="491"/>
                  </a:cubicBezTo>
                  <a:cubicBezTo>
                    <a:pt x="704" y="490"/>
                    <a:pt x="701" y="488"/>
                    <a:pt x="698" y="487"/>
                  </a:cubicBezTo>
                  <a:moveTo>
                    <a:pt x="698" y="467"/>
                  </a:moveTo>
                  <a:cubicBezTo>
                    <a:pt x="698" y="481"/>
                    <a:pt x="698" y="481"/>
                    <a:pt x="698" y="481"/>
                  </a:cubicBezTo>
                  <a:cubicBezTo>
                    <a:pt x="707" y="485"/>
                    <a:pt x="715" y="490"/>
                    <a:pt x="723" y="494"/>
                  </a:cubicBezTo>
                  <a:cubicBezTo>
                    <a:pt x="749" y="494"/>
                    <a:pt x="749" y="494"/>
                    <a:pt x="749" y="494"/>
                  </a:cubicBezTo>
                  <a:cubicBezTo>
                    <a:pt x="732" y="486"/>
                    <a:pt x="715" y="477"/>
                    <a:pt x="698" y="467"/>
                  </a:cubicBezTo>
                  <a:moveTo>
                    <a:pt x="1317" y="489"/>
                  </a:moveTo>
                  <a:cubicBezTo>
                    <a:pt x="1310" y="487"/>
                    <a:pt x="1303" y="484"/>
                    <a:pt x="1295" y="480"/>
                  </a:cubicBezTo>
                  <a:cubicBezTo>
                    <a:pt x="1317" y="471"/>
                    <a:pt x="1339" y="461"/>
                    <a:pt x="1363" y="450"/>
                  </a:cubicBezTo>
                  <a:cubicBezTo>
                    <a:pt x="1370" y="454"/>
                    <a:pt x="1377" y="459"/>
                    <a:pt x="1385" y="462"/>
                  </a:cubicBezTo>
                  <a:cubicBezTo>
                    <a:pt x="1363" y="470"/>
                    <a:pt x="1341" y="479"/>
                    <a:pt x="1317" y="489"/>
                  </a:cubicBezTo>
                  <a:moveTo>
                    <a:pt x="1235" y="489"/>
                  </a:moveTo>
                  <a:cubicBezTo>
                    <a:pt x="1217" y="484"/>
                    <a:pt x="1198" y="477"/>
                    <a:pt x="1179" y="467"/>
                  </a:cubicBezTo>
                  <a:cubicBezTo>
                    <a:pt x="1194" y="461"/>
                    <a:pt x="1209" y="455"/>
                    <a:pt x="1224" y="449"/>
                  </a:cubicBezTo>
                  <a:cubicBezTo>
                    <a:pt x="1237" y="460"/>
                    <a:pt x="1251" y="469"/>
                    <a:pt x="1264" y="477"/>
                  </a:cubicBezTo>
                  <a:cubicBezTo>
                    <a:pt x="1254" y="481"/>
                    <a:pt x="1245" y="485"/>
                    <a:pt x="1235" y="489"/>
                  </a:cubicBezTo>
                  <a:moveTo>
                    <a:pt x="1278" y="472"/>
                  </a:moveTo>
                  <a:cubicBezTo>
                    <a:pt x="1264" y="464"/>
                    <a:pt x="1250" y="455"/>
                    <a:pt x="1236" y="444"/>
                  </a:cubicBezTo>
                  <a:cubicBezTo>
                    <a:pt x="1249" y="439"/>
                    <a:pt x="1262" y="433"/>
                    <a:pt x="1275" y="427"/>
                  </a:cubicBezTo>
                  <a:cubicBezTo>
                    <a:pt x="1288" y="422"/>
                    <a:pt x="1300" y="417"/>
                    <a:pt x="1313" y="412"/>
                  </a:cubicBezTo>
                  <a:cubicBezTo>
                    <a:pt x="1326" y="423"/>
                    <a:pt x="1338" y="433"/>
                    <a:pt x="1351" y="442"/>
                  </a:cubicBezTo>
                  <a:cubicBezTo>
                    <a:pt x="1348" y="444"/>
                    <a:pt x="1344" y="445"/>
                    <a:pt x="1341" y="447"/>
                  </a:cubicBezTo>
                  <a:cubicBezTo>
                    <a:pt x="1340" y="447"/>
                    <a:pt x="1338" y="448"/>
                    <a:pt x="1337" y="448"/>
                  </a:cubicBezTo>
                  <a:cubicBezTo>
                    <a:pt x="1318" y="456"/>
                    <a:pt x="1298" y="464"/>
                    <a:pt x="1278" y="472"/>
                  </a:cubicBezTo>
                  <a:moveTo>
                    <a:pt x="1082" y="487"/>
                  </a:moveTo>
                  <a:cubicBezTo>
                    <a:pt x="1049" y="471"/>
                    <a:pt x="1016" y="450"/>
                    <a:pt x="982" y="425"/>
                  </a:cubicBezTo>
                  <a:cubicBezTo>
                    <a:pt x="1002" y="420"/>
                    <a:pt x="1023" y="413"/>
                    <a:pt x="1044" y="406"/>
                  </a:cubicBezTo>
                  <a:cubicBezTo>
                    <a:pt x="1050" y="404"/>
                    <a:pt x="1056" y="402"/>
                    <a:pt x="1061" y="400"/>
                  </a:cubicBezTo>
                  <a:cubicBezTo>
                    <a:pt x="1091" y="425"/>
                    <a:pt x="1121" y="448"/>
                    <a:pt x="1151" y="465"/>
                  </a:cubicBezTo>
                  <a:cubicBezTo>
                    <a:pt x="1131" y="473"/>
                    <a:pt x="1110" y="479"/>
                    <a:pt x="1090" y="485"/>
                  </a:cubicBezTo>
                  <a:cubicBezTo>
                    <a:pt x="1087" y="486"/>
                    <a:pt x="1085" y="487"/>
                    <a:pt x="1082" y="487"/>
                  </a:cubicBezTo>
                  <a:moveTo>
                    <a:pt x="1165" y="460"/>
                  </a:moveTo>
                  <a:cubicBezTo>
                    <a:pt x="1135" y="443"/>
                    <a:pt x="1105" y="421"/>
                    <a:pt x="1074" y="395"/>
                  </a:cubicBezTo>
                  <a:cubicBezTo>
                    <a:pt x="1095" y="387"/>
                    <a:pt x="1117" y="379"/>
                    <a:pt x="1139" y="370"/>
                  </a:cubicBezTo>
                  <a:cubicBezTo>
                    <a:pt x="1164" y="396"/>
                    <a:pt x="1189" y="420"/>
                    <a:pt x="1213" y="441"/>
                  </a:cubicBezTo>
                  <a:cubicBezTo>
                    <a:pt x="1197" y="447"/>
                    <a:pt x="1181" y="454"/>
                    <a:pt x="1165" y="460"/>
                  </a:cubicBezTo>
                  <a:moveTo>
                    <a:pt x="873" y="432"/>
                  </a:moveTo>
                  <a:cubicBezTo>
                    <a:pt x="845" y="413"/>
                    <a:pt x="818" y="392"/>
                    <a:pt x="791" y="371"/>
                  </a:cubicBezTo>
                  <a:cubicBezTo>
                    <a:pt x="799" y="370"/>
                    <a:pt x="807" y="369"/>
                    <a:pt x="815" y="367"/>
                  </a:cubicBezTo>
                  <a:cubicBezTo>
                    <a:pt x="836" y="364"/>
                    <a:pt x="858" y="360"/>
                    <a:pt x="880" y="354"/>
                  </a:cubicBezTo>
                  <a:cubicBezTo>
                    <a:pt x="905" y="377"/>
                    <a:pt x="930" y="399"/>
                    <a:pt x="955" y="419"/>
                  </a:cubicBezTo>
                  <a:cubicBezTo>
                    <a:pt x="928" y="425"/>
                    <a:pt x="900" y="429"/>
                    <a:pt x="873" y="432"/>
                  </a:cubicBezTo>
                  <a:moveTo>
                    <a:pt x="1225" y="436"/>
                  </a:moveTo>
                  <a:cubicBezTo>
                    <a:pt x="1201" y="416"/>
                    <a:pt x="1176" y="392"/>
                    <a:pt x="1150" y="365"/>
                  </a:cubicBezTo>
                  <a:cubicBezTo>
                    <a:pt x="1171" y="356"/>
                    <a:pt x="1191" y="348"/>
                    <a:pt x="1212" y="338"/>
                  </a:cubicBezTo>
                  <a:cubicBezTo>
                    <a:pt x="1219" y="335"/>
                    <a:pt x="1227" y="332"/>
                    <a:pt x="1234" y="329"/>
                  </a:cubicBezTo>
                  <a:cubicBezTo>
                    <a:pt x="1257" y="356"/>
                    <a:pt x="1281" y="381"/>
                    <a:pt x="1303" y="403"/>
                  </a:cubicBezTo>
                  <a:cubicBezTo>
                    <a:pt x="1293" y="407"/>
                    <a:pt x="1282" y="412"/>
                    <a:pt x="1271" y="416"/>
                  </a:cubicBezTo>
                  <a:cubicBezTo>
                    <a:pt x="1256" y="423"/>
                    <a:pt x="1240" y="429"/>
                    <a:pt x="1225" y="436"/>
                  </a:cubicBezTo>
                  <a:moveTo>
                    <a:pt x="970" y="415"/>
                  </a:moveTo>
                  <a:cubicBezTo>
                    <a:pt x="944" y="396"/>
                    <a:pt x="919" y="374"/>
                    <a:pt x="893" y="351"/>
                  </a:cubicBezTo>
                  <a:cubicBezTo>
                    <a:pt x="899" y="349"/>
                    <a:pt x="905" y="347"/>
                    <a:pt x="911" y="346"/>
                  </a:cubicBezTo>
                  <a:cubicBezTo>
                    <a:pt x="931" y="340"/>
                    <a:pt x="952" y="332"/>
                    <a:pt x="978" y="322"/>
                  </a:cubicBezTo>
                  <a:cubicBezTo>
                    <a:pt x="1002" y="347"/>
                    <a:pt x="1027" y="370"/>
                    <a:pt x="1051" y="391"/>
                  </a:cubicBezTo>
                  <a:cubicBezTo>
                    <a:pt x="1048" y="392"/>
                    <a:pt x="1044" y="394"/>
                    <a:pt x="1041" y="395"/>
                  </a:cubicBezTo>
                  <a:cubicBezTo>
                    <a:pt x="1016" y="403"/>
                    <a:pt x="992" y="410"/>
                    <a:pt x="970" y="415"/>
                  </a:cubicBezTo>
                  <a:moveTo>
                    <a:pt x="1315" y="398"/>
                  </a:moveTo>
                  <a:cubicBezTo>
                    <a:pt x="1292" y="377"/>
                    <a:pt x="1269" y="352"/>
                    <a:pt x="1245" y="324"/>
                  </a:cubicBezTo>
                  <a:cubicBezTo>
                    <a:pt x="1270" y="313"/>
                    <a:pt x="1296" y="303"/>
                    <a:pt x="1322" y="292"/>
                  </a:cubicBezTo>
                  <a:cubicBezTo>
                    <a:pt x="1343" y="321"/>
                    <a:pt x="1364" y="347"/>
                    <a:pt x="1384" y="370"/>
                  </a:cubicBezTo>
                  <a:cubicBezTo>
                    <a:pt x="1361" y="379"/>
                    <a:pt x="1338" y="388"/>
                    <a:pt x="1315" y="398"/>
                  </a:cubicBezTo>
                  <a:moveTo>
                    <a:pt x="1064" y="386"/>
                  </a:moveTo>
                  <a:cubicBezTo>
                    <a:pt x="1039" y="365"/>
                    <a:pt x="1014" y="342"/>
                    <a:pt x="990" y="318"/>
                  </a:cubicBezTo>
                  <a:cubicBezTo>
                    <a:pt x="992" y="317"/>
                    <a:pt x="994" y="316"/>
                    <a:pt x="995" y="315"/>
                  </a:cubicBezTo>
                  <a:cubicBezTo>
                    <a:pt x="1018" y="306"/>
                    <a:pt x="1042" y="296"/>
                    <a:pt x="1066" y="286"/>
                  </a:cubicBezTo>
                  <a:cubicBezTo>
                    <a:pt x="1087" y="312"/>
                    <a:pt x="1109" y="337"/>
                    <a:pt x="1130" y="360"/>
                  </a:cubicBezTo>
                  <a:cubicBezTo>
                    <a:pt x="1108" y="370"/>
                    <a:pt x="1085" y="378"/>
                    <a:pt x="1064" y="386"/>
                  </a:cubicBezTo>
                  <a:moveTo>
                    <a:pt x="778" y="360"/>
                  </a:moveTo>
                  <a:cubicBezTo>
                    <a:pt x="754" y="341"/>
                    <a:pt x="731" y="322"/>
                    <a:pt x="709" y="302"/>
                  </a:cubicBezTo>
                  <a:cubicBezTo>
                    <a:pt x="741" y="297"/>
                    <a:pt x="773" y="290"/>
                    <a:pt x="804" y="281"/>
                  </a:cubicBezTo>
                  <a:cubicBezTo>
                    <a:pt x="825" y="303"/>
                    <a:pt x="847" y="324"/>
                    <a:pt x="869" y="345"/>
                  </a:cubicBezTo>
                  <a:cubicBezTo>
                    <a:pt x="839" y="352"/>
                    <a:pt x="808" y="357"/>
                    <a:pt x="778" y="360"/>
                  </a:cubicBezTo>
                  <a:moveTo>
                    <a:pt x="883" y="341"/>
                  </a:moveTo>
                  <a:cubicBezTo>
                    <a:pt x="860" y="321"/>
                    <a:pt x="838" y="299"/>
                    <a:pt x="816" y="277"/>
                  </a:cubicBezTo>
                  <a:cubicBezTo>
                    <a:pt x="833" y="272"/>
                    <a:pt x="849" y="267"/>
                    <a:pt x="864" y="261"/>
                  </a:cubicBezTo>
                  <a:cubicBezTo>
                    <a:pt x="877" y="256"/>
                    <a:pt x="890" y="250"/>
                    <a:pt x="904" y="244"/>
                  </a:cubicBezTo>
                  <a:cubicBezTo>
                    <a:pt x="925" y="267"/>
                    <a:pt x="947" y="291"/>
                    <a:pt x="969" y="313"/>
                  </a:cubicBezTo>
                  <a:cubicBezTo>
                    <a:pt x="946" y="322"/>
                    <a:pt x="926" y="329"/>
                    <a:pt x="908" y="334"/>
                  </a:cubicBezTo>
                  <a:cubicBezTo>
                    <a:pt x="900" y="337"/>
                    <a:pt x="891" y="339"/>
                    <a:pt x="883" y="341"/>
                  </a:cubicBezTo>
                  <a:moveTo>
                    <a:pt x="1142" y="356"/>
                  </a:moveTo>
                  <a:cubicBezTo>
                    <a:pt x="1120" y="332"/>
                    <a:pt x="1099" y="307"/>
                    <a:pt x="1077" y="281"/>
                  </a:cubicBezTo>
                  <a:cubicBezTo>
                    <a:pt x="1096" y="273"/>
                    <a:pt x="1116" y="264"/>
                    <a:pt x="1137" y="255"/>
                  </a:cubicBezTo>
                  <a:cubicBezTo>
                    <a:pt x="1146" y="251"/>
                    <a:pt x="1155" y="247"/>
                    <a:pt x="1164" y="243"/>
                  </a:cubicBezTo>
                  <a:cubicBezTo>
                    <a:pt x="1184" y="269"/>
                    <a:pt x="1205" y="295"/>
                    <a:pt x="1226" y="320"/>
                  </a:cubicBezTo>
                  <a:cubicBezTo>
                    <a:pt x="1220" y="322"/>
                    <a:pt x="1214" y="325"/>
                    <a:pt x="1208" y="327"/>
                  </a:cubicBezTo>
                  <a:cubicBezTo>
                    <a:pt x="1185" y="337"/>
                    <a:pt x="1163" y="347"/>
                    <a:pt x="1142" y="356"/>
                  </a:cubicBezTo>
                  <a:moveTo>
                    <a:pt x="1237" y="315"/>
                  </a:moveTo>
                  <a:cubicBezTo>
                    <a:pt x="1216" y="291"/>
                    <a:pt x="1195" y="265"/>
                    <a:pt x="1174" y="238"/>
                  </a:cubicBezTo>
                  <a:cubicBezTo>
                    <a:pt x="1202" y="226"/>
                    <a:pt x="1230" y="213"/>
                    <a:pt x="1259" y="202"/>
                  </a:cubicBezTo>
                  <a:cubicBezTo>
                    <a:pt x="1278" y="230"/>
                    <a:pt x="1296" y="257"/>
                    <a:pt x="1315" y="282"/>
                  </a:cubicBezTo>
                  <a:cubicBezTo>
                    <a:pt x="1289" y="293"/>
                    <a:pt x="1263" y="304"/>
                    <a:pt x="1237" y="315"/>
                  </a:cubicBezTo>
                  <a:moveTo>
                    <a:pt x="981" y="308"/>
                  </a:moveTo>
                  <a:cubicBezTo>
                    <a:pt x="959" y="286"/>
                    <a:pt x="937" y="263"/>
                    <a:pt x="915" y="239"/>
                  </a:cubicBezTo>
                  <a:cubicBezTo>
                    <a:pt x="923" y="236"/>
                    <a:pt x="931" y="232"/>
                    <a:pt x="939" y="228"/>
                  </a:cubicBezTo>
                  <a:cubicBezTo>
                    <a:pt x="947" y="225"/>
                    <a:pt x="947" y="225"/>
                    <a:pt x="947" y="225"/>
                  </a:cubicBezTo>
                  <a:cubicBezTo>
                    <a:pt x="963" y="217"/>
                    <a:pt x="980" y="209"/>
                    <a:pt x="998" y="201"/>
                  </a:cubicBezTo>
                  <a:cubicBezTo>
                    <a:pt x="1018" y="226"/>
                    <a:pt x="1038" y="252"/>
                    <a:pt x="1058" y="276"/>
                  </a:cubicBezTo>
                  <a:cubicBezTo>
                    <a:pt x="1035" y="286"/>
                    <a:pt x="1013" y="296"/>
                    <a:pt x="992" y="304"/>
                  </a:cubicBezTo>
                  <a:cubicBezTo>
                    <a:pt x="988" y="306"/>
                    <a:pt x="984" y="307"/>
                    <a:pt x="981" y="308"/>
                  </a:cubicBezTo>
                  <a:moveTo>
                    <a:pt x="807" y="268"/>
                  </a:moveTo>
                  <a:cubicBezTo>
                    <a:pt x="786" y="247"/>
                    <a:pt x="766" y="226"/>
                    <a:pt x="746" y="205"/>
                  </a:cubicBezTo>
                  <a:cubicBezTo>
                    <a:pt x="771" y="197"/>
                    <a:pt x="795" y="187"/>
                    <a:pt x="818" y="176"/>
                  </a:cubicBezTo>
                  <a:cubicBezTo>
                    <a:pt x="823" y="173"/>
                    <a:pt x="829" y="170"/>
                    <a:pt x="835" y="167"/>
                  </a:cubicBezTo>
                  <a:cubicBezTo>
                    <a:pt x="855" y="189"/>
                    <a:pt x="875" y="212"/>
                    <a:pt x="896" y="235"/>
                  </a:cubicBezTo>
                  <a:cubicBezTo>
                    <a:pt x="884" y="240"/>
                    <a:pt x="872" y="245"/>
                    <a:pt x="861" y="249"/>
                  </a:cubicBezTo>
                  <a:cubicBezTo>
                    <a:pt x="843" y="256"/>
                    <a:pt x="825" y="262"/>
                    <a:pt x="807" y="268"/>
                  </a:cubicBezTo>
                  <a:moveTo>
                    <a:pt x="1069" y="272"/>
                  </a:moveTo>
                  <a:cubicBezTo>
                    <a:pt x="1049" y="247"/>
                    <a:pt x="1028" y="221"/>
                    <a:pt x="1008" y="196"/>
                  </a:cubicBezTo>
                  <a:cubicBezTo>
                    <a:pt x="1024" y="188"/>
                    <a:pt x="1041" y="180"/>
                    <a:pt x="1058" y="172"/>
                  </a:cubicBezTo>
                  <a:cubicBezTo>
                    <a:pt x="1071" y="166"/>
                    <a:pt x="1083" y="159"/>
                    <a:pt x="1096" y="153"/>
                  </a:cubicBezTo>
                  <a:cubicBezTo>
                    <a:pt x="1096" y="154"/>
                    <a:pt x="1096" y="154"/>
                    <a:pt x="1097" y="155"/>
                  </a:cubicBezTo>
                  <a:cubicBezTo>
                    <a:pt x="1116" y="181"/>
                    <a:pt x="1136" y="207"/>
                    <a:pt x="1156" y="233"/>
                  </a:cubicBezTo>
                  <a:cubicBezTo>
                    <a:pt x="1148" y="237"/>
                    <a:pt x="1140" y="240"/>
                    <a:pt x="1132" y="244"/>
                  </a:cubicBezTo>
                  <a:cubicBezTo>
                    <a:pt x="1111" y="253"/>
                    <a:pt x="1090" y="263"/>
                    <a:pt x="1069" y="272"/>
                  </a:cubicBezTo>
                  <a:moveTo>
                    <a:pt x="907" y="230"/>
                  </a:moveTo>
                  <a:cubicBezTo>
                    <a:pt x="886" y="207"/>
                    <a:pt x="865" y="184"/>
                    <a:pt x="845" y="162"/>
                  </a:cubicBezTo>
                  <a:cubicBezTo>
                    <a:pt x="849" y="160"/>
                    <a:pt x="853" y="158"/>
                    <a:pt x="857" y="156"/>
                  </a:cubicBezTo>
                  <a:cubicBezTo>
                    <a:pt x="870" y="149"/>
                    <a:pt x="883" y="141"/>
                    <a:pt x="898" y="134"/>
                  </a:cubicBezTo>
                  <a:cubicBezTo>
                    <a:pt x="909" y="129"/>
                    <a:pt x="920" y="123"/>
                    <a:pt x="931" y="117"/>
                  </a:cubicBezTo>
                  <a:cubicBezTo>
                    <a:pt x="948" y="139"/>
                    <a:pt x="966" y="162"/>
                    <a:pt x="985" y="185"/>
                  </a:cubicBezTo>
                  <a:cubicBezTo>
                    <a:pt x="986" y="187"/>
                    <a:pt x="988" y="189"/>
                    <a:pt x="990" y="192"/>
                  </a:cubicBezTo>
                  <a:cubicBezTo>
                    <a:pt x="974" y="199"/>
                    <a:pt x="958" y="207"/>
                    <a:pt x="942" y="214"/>
                  </a:cubicBezTo>
                  <a:cubicBezTo>
                    <a:pt x="935" y="217"/>
                    <a:pt x="935" y="217"/>
                    <a:pt x="935" y="217"/>
                  </a:cubicBezTo>
                  <a:cubicBezTo>
                    <a:pt x="925" y="222"/>
                    <a:pt x="916" y="226"/>
                    <a:pt x="907" y="230"/>
                  </a:cubicBezTo>
                  <a:moveTo>
                    <a:pt x="1167" y="228"/>
                  </a:moveTo>
                  <a:cubicBezTo>
                    <a:pt x="1147" y="202"/>
                    <a:pt x="1126" y="175"/>
                    <a:pt x="1106" y="148"/>
                  </a:cubicBezTo>
                  <a:cubicBezTo>
                    <a:pt x="1135" y="134"/>
                    <a:pt x="1164" y="120"/>
                    <a:pt x="1194" y="107"/>
                  </a:cubicBezTo>
                  <a:cubicBezTo>
                    <a:pt x="1206" y="125"/>
                    <a:pt x="1219" y="143"/>
                    <a:pt x="1231" y="160"/>
                  </a:cubicBezTo>
                  <a:cubicBezTo>
                    <a:pt x="1238" y="171"/>
                    <a:pt x="1245" y="181"/>
                    <a:pt x="1252" y="192"/>
                  </a:cubicBezTo>
                  <a:cubicBezTo>
                    <a:pt x="1223" y="204"/>
                    <a:pt x="1195" y="216"/>
                    <a:pt x="1167" y="228"/>
                  </a:cubicBezTo>
                  <a:moveTo>
                    <a:pt x="1001" y="186"/>
                  </a:moveTo>
                  <a:cubicBezTo>
                    <a:pt x="998" y="183"/>
                    <a:pt x="996" y="180"/>
                    <a:pt x="993" y="177"/>
                  </a:cubicBezTo>
                  <a:cubicBezTo>
                    <a:pt x="975" y="155"/>
                    <a:pt x="958" y="133"/>
                    <a:pt x="941" y="112"/>
                  </a:cubicBezTo>
                  <a:cubicBezTo>
                    <a:pt x="950" y="107"/>
                    <a:pt x="959" y="103"/>
                    <a:pt x="967" y="98"/>
                  </a:cubicBezTo>
                  <a:cubicBezTo>
                    <a:pt x="987" y="88"/>
                    <a:pt x="1008" y="77"/>
                    <a:pt x="1029" y="66"/>
                  </a:cubicBezTo>
                  <a:cubicBezTo>
                    <a:pt x="1049" y="91"/>
                    <a:pt x="1069" y="118"/>
                    <a:pt x="1088" y="144"/>
                  </a:cubicBezTo>
                  <a:cubicBezTo>
                    <a:pt x="1077" y="149"/>
                    <a:pt x="1065" y="155"/>
                    <a:pt x="1054" y="161"/>
                  </a:cubicBezTo>
                  <a:cubicBezTo>
                    <a:pt x="1035" y="170"/>
                    <a:pt x="1018" y="178"/>
                    <a:pt x="1001" y="186"/>
                  </a:cubicBezTo>
                  <a:moveTo>
                    <a:pt x="1262" y="187"/>
                  </a:moveTo>
                  <a:cubicBezTo>
                    <a:pt x="1255" y="176"/>
                    <a:pt x="1247" y="165"/>
                    <a:pt x="1240" y="153"/>
                  </a:cubicBezTo>
                  <a:cubicBezTo>
                    <a:pt x="1228" y="136"/>
                    <a:pt x="1216" y="119"/>
                    <a:pt x="1205" y="102"/>
                  </a:cubicBezTo>
                  <a:cubicBezTo>
                    <a:pt x="1235" y="89"/>
                    <a:pt x="1266" y="76"/>
                    <a:pt x="1296" y="65"/>
                  </a:cubicBezTo>
                  <a:cubicBezTo>
                    <a:pt x="1314" y="94"/>
                    <a:pt x="1331" y="124"/>
                    <a:pt x="1348" y="154"/>
                  </a:cubicBezTo>
                  <a:cubicBezTo>
                    <a:pt x="1319" y="164"/>
                    <a:pt x="1291" y="175"/>
                    <a:pt x="1262" y="187"/>
                  </a:cubicBezTo>
                  <a:moveTo>
                    <a:pt x="837" y="152"/>
                  </a:moveTo>
                  <a:cubicBezTo>
                    <a:pt x="817" y="130"/>
                    <a:pt x="797" y="107"/>
                    <a:pt x="778" y="86"/>
                  </a:cubicBezTo>
                  <a:cubicBezTo>
                    <a:pt x="785" y="82"/>
                    <a:pt x="785" y="82"/>
                    <a:pt x="785" y="82"/>
                  </a:cubicBezTo>
                  <a:cubicBezTo>
                    <a:pt x="804" y="70"/>
                    <a:pt x="826" y="57"/>
                    <a:pt x="849" y="43"/>
                  </a:cubicBezTo>
                  <a:cubicBezTo>
                    <a:pt x="860" y="37"/>
                    <a:pt x="860" y="37"/>
                    <a:pt x="860" y="37"/>
                  </a:cubicBezTo>
                  <a:cubicBezTo>
                    <a:pt x="861" y="37"/>
                    <a:pt x="862" y="36"/>
                    <a:pt x="863" y="36"/>
                  </a:cubicBezTo>
                  <a:cubicBezTo>
                    <a:pt x="870" y="44"/>
                    <a:pt x="876" y="52"/>
                    <a:pt x="884" y="60"/>
                  </a:cubicBezTo>
                  <a:cubicBezTo>
                    <a:pt x="897" y="76"/>
                    <a:pt x="910" y="92"/>
                    <a:pt x="923" y="108"/>
                  </a:cubicBezTo>
                  <a:cubicBezTo>
                    <a:pt x="913" y="113"/>
                    <a:pt x="903" y="118"/>
                    <a:pt x="893" y="123"/>
                  </a:cubicBezTo>
                  <a:cubicBezTo>
                    <a:pt x="879" y="131"/>
                    <a:pt x="865" y="138"/>
                    <a:pt x="852" y="145"/>
                  </a:cubicBezTo>
                  <a:cubicBezTo>
                    <a:pt x="847" y="147"/>
                    <a:pt x="842" y="150"/>
                    <a:pt x="837" y="152"/>
                  </a:cubicBezTo>
                  <a:moveTo>
                    <a:pt x="1099" y="139"/>
                  </a:moveTo>
                  <a:cubicBezTo>
                    <a:pt x="1079" y="113"/>
                    <a:pt x="1059" y="86"/>
                    <a:pt x="1040" y="61"/>
                  </a:cubicBezTo>
                  <a:cubicBezTo>
                    <a:pt x="1069" y="46"/>
                    <a:pt x="1099" y="31"/>
                    <a:pt x="1130" y="16"/>
                  </a:cubicBezTo>
                  <a:cubicBezTo>
                    <a:pt x="1149" y="42"/>
                    <a:pt x="1168" y="69"/>
                    <a:pt x="1187" y="97"/>
                  </a:cubicBezTo>
                  <a:cubicBezTo>
                    <a:pt x="1157" y="111"/>
                    <a:pt x="1128" y="125"/>
                    <a:pt x="1099" y="139"/>
                  </a:cubicBezTo>
                  <a:moveTo>
                    <a:pt x="1269" y="0"/>
                  </a:moveTo>
                  <a:cubicBezTo>
                    <a:pt x="1256" y="0"/>
                    <a:pt x="1256" y="0"/>
                    <a:pt x="1256" y="0"/>
                  </a:cubicBezTo>
                  <a:cubicBezTo>
                    <a:pt x="1268" y="18"/>
                    <a:pt x="1279" y="36"/>
                    <a:pt x="1290" y="54"/>
                  </a:cubicBezTo>
                  <a:cubicBezTo>
                    <a:pt x="1259" y="66"/>
                    <a:pt x="1228" y="79"/>
                    <a:pt x="1198" y="92"/>
                  </a:cubicBezTo>
                  <a:cubicBezTo>
                    <a:pt x="1179" y="65"/>
                    <a:pt x="1160" y="38"/>
                    <a:pt x="1141" y="11"/>
                  </a:cubicBezTo>
                  <a:cubicBezTo>
                    <a:pt x="1149" y="7"/>
                    <a:pt x="1157" y="4"/>
                    <a:pt x="1165" y="0"/>
                  </a:cubicBezTo>
                  <a:cubicBezTo>
                    <a:pt x="1137" y="0"/>
                    <a:pt x="1137" y="0"/>
                    <a:pt x="1137" y="0"/>
                  </a:cubicBezTo>
                  <a:cubicBezTo>
                    <a:pt x="1136" y="0"/>
                    <a:pt x="1135" y="1"/>
                    <a:pt x="1133" y="2"/>
                  </a:cubicBezTo>
                  <a:cubicBezTo>
                    <a:pt x="1133" y="1"/>
                    <a:pt x="1133" y="0"/>
                    <a:pt x="1132" y="0"/>
                  </a:cubicBezTo>
                  <a:cubicBezTo>
                    <a:pt x="1118" y="0"/>
                    <a:pt x="1118" y="0"/>
                    <a:pt x="1118" y="0"/>
                  </a:cubicBezTo>
                  <a:cubicBezTo>
                    <a:pt x="1120" y="2"/>
                    <a:pt x="1121" y="4"/>
                    <a:pt x="1123" y="7"/>
                  </a:cubicBezTo>
                  <a:cubicBezTo>
                    <a:pt x="1092" y="21"/>
                    <a:pt x="1061" y="36"/>
                    <a:pt x="1032" y="51"/>
                  </a:cubicBezTo>
                  <a:cubicBezTo>
                    <a:pt x="1024" y="41"/>
                    <a:pt x="1017" y="31"/>
                    <a:pt x="1009" y="22"/>
                  </a:cubicBezTo>
                  <a:cubicBezTo>
                    <a:pt x="1003" y="14"/>
                    <a:pt x="997" y="7"/>
                    <a:pt x="992" y="0"/>
                  </a:cubicBezTo>
                  <a:cubicBezTo>
                    <a:pt x="977" y="0"/>
                    <a:pt x="977" y="0"/>
                    <a:pt x="977" y="0"/>
                  </a:cubicBezTo>
                  <a:cubicBezTo>
                    <a:pt x="984" y="10"/>
                    <a:pt x="992" y="20"/>
                    <a:pt x="1000" y="30"/>
                  </a:cubicBezTo>
                  <a:cubicBezTo>
                    <a:pt x="1008" y="38"/>
                    <a:pt x="1015" y="48"/>
                    <a:pt x="1022" y="57"/>
                  </a:cubicBezTo>
                  <a:cubicBezTo>
                    <a:pt x="1001" y="67"/>
                    <a:pt x="982" y="77"/>
                    <a:pt x="963" y="87"/>
                  </a:cubicBezTo>
                  <a:cubicBezTo>
                    <a:pt x="953" y="93"/>
                    <a:pt x="943" y="98"/>
                    <a:pt x="934" y="103"/>
                  </a:cubicBezTo>
                  <a:cubicBezTo>
                    <a:pt x="919" y="85"/>
                    <a:pt x="906" y="68"/>
                    <a:pt x="892" y="52"/>
                  </a:cubicBezTo>
                  <a:cubicBezTo>
                    <a:pt x="885" y="45"/>
                    <a:pt x="879" y="37"/>
                    <a:pt x="873" y="30"/>
                  </a:cubicBezTo>
                  <a:cubicBezTo>
                    <a:pt x="890" y="20"/>
                    <a:pt x="908" y="10"/>
                    <a:pt x="927" y="0"/>
                  </a:cubicBezTo>
                  <a:cubicBezTo>
                    <a:pt x="902" y="0"/>
                    <a:pt x="902" y="0"/>
                    <a:pt x="902" y="0"/>
                  </a:cubicBezTo>
                  <a:cubicBezTo>
                    <a:pt x="890" y="7"/>
                    <a:pt x="877" y="14"/>
                    <a:pt x="865" y="21"/>
                  </a:cubicBezTo>
                  <a:cubicBezTo>
                    <a:pt x="859" y="14"/>
                    <a:pt x="854" y="7"/>
                    <a:pt x="848" y="0"/>
                  </a:cubicBezTo>
                  <a:cubicBezTo>
                    <a:pt x="834" y="0"/>
                    <a:pt x="834" y="0"/>
                    <a:pt x="834" y="0"/>
                  </a:cubicBezTo>
                  <a:cubicBezTo>
                    <a:pt x="840" y="9"/>
                    <a:pt x="848" y="17"/>
                    <a:pt x="855" y="27"/>
                  </a:cubicBezTo>
                  <a:cubicBezTo>
                    <a:pt x="855" y="27"/>
                    <a:pt x="855" y="27"/>
                    <a:pt x="855" y="27"/>
                  </a:cubicBezTo>
                  <a:cubicBezTo>
                    <a:pt x="844" y="33"/>
                    <a:pt x="844" y="33"/>
                    <a:pt x="844" y="33"/>
                  </a:cubicBezTo>
                  <a:cubicBezTo>
                    <a:pt x="820" y="46"/>
                    <a:pt x="798" y="60"/>
                    <a:pt x="779" y="72"/>
                  </a:cubicBezTo>
                  <a:cubicBezTo>
                    <a:pt x="770" y="78"/>
                    <a:pt x="770" y="78"/>
                    <a:pt x="770" y="78"/>
                  </a:cubicBezTo>
                  <a:cubicBezTo>
                    <a:pt x="750" y="55"/>
                    <a:pt x="731" y="33"/>
                    <a:pt x="714" y="13"/>
                  </a:cubicBezTo>
                  <a:cubicBezTo>
                    <a:pt x="717" y="11"/>
                    <a:pt x="721" y="8"/>
                    <a:pt x="725" y="6"/>
                  </a:cubicBezTo>
                  <a:cubicBezTo>
                    <a:pt x="727" y="4"/>
                    <a:pt x="730" y="2"/>
                    <a:pt x="732" y="0"/>
                  </a:cubicBezTo>
                  <a:cubicBezTo>
                    <a:pt x="712" y="0"/>
                    <a:pt x="712" y="0"/>
                    <a:pt x="712" y="0"/>
                  </a:cubicBezTo>
                  <a:cubicBezTo>
                    <a:pt x="710" y="1"/>
                    <a:pt x="708" y="3"/>
                    <a:pt x="706" y="4"/>
                  </a:cubicBezTo>
                  <a:cubicBezTo>
                    <a:pt x="705" y="3"/>
                    <a:pt x="704" y="1"/>
                    <a:pt x="702" y="0"/>
                  </a:cubicBezTo>
                  <a:cubicBezTo>
                    <a:pt x="698" y="0"/>
                    <a:pt x="698" y="0"/>
                    <a:pt x="698" y="0"/>
                  </a:cubicBezTo>
                  <a:cubicBezTo>
                    <a:pt x="698" y="24"/>
                    <a:pt x="698" y="24"/>
                    <a:pt x="698" y="24"/>
                  </a:cubicBezTo>
                  <a:cubicBezTo>
                    <a:pt x="700" y="22"/>
                    <a:pt x="702" y="21"/>
                    <a:pt x="704" y="20"/>
                  </a:cubicBezTo>
                  <a:cubicBezTo>
                    <a:pt x="721" y="40"/>
                    <a:pt x="740" y="62"/>
                    <a:pt x="760" y="84"/>
                  </a:cubicBezTo>
                  <a:cubicBezTo>
                    <a:pt x="741" y="95"/>
                    <a:pt x="720" y="105"/>
                    <a:pt x="698" y="114"/>
                  </a:cubicBezTo>
                  <a:cubicBezTo>
                    <a:pt x="698" y="127"/>
                    <a:pt x="698" y="127"/>
                    <a:pt x="698" y="127"/>
                  </a:cubicBezTo>
                  <a:cubicBezTo>
                    <a:pt x="723" y="117"/>
                    <a:pt x="746" y="106"/>
                    <a:pt x="768" y="93"/>
                  </a:cubicBezTo>
                  <a:cubicBezTo>
                    <a:pt x="787" y="113"/>
                    <a:pt x="807" y="135"/>
                    <a:pt x="827" y="158"/>
                  </a:cubicBezTo>
                  <a:cubicBezTo>
                    <a:pt x="822" y="160"/>
                    <a:pt x="818" y="163"/>
                    <a:pt x="813" y="165"/>
                  </a:cubicBezTo>
                  <a:cubicBezTo>
                    <a:pt x="789" y="177"/>
                    <a:pt x="763" y="187"/>
                    <a:pt x="737" y="196"/>
                  </a:cubicBezTo>
                  <a:cubicBezTo>
                    <a:pt x="728" y="187"/>
                    <a:pt x="720" y="178"/>
                    <a:pt x="711" y="169"/>
                  </a:cubicBezTo>
                  <a:cubicBezTo>
                    <a:pt x="707" y="165"/>
                    <a:pt x="703" y="160"/>
                    <a:pt x="698" y="155"/>
                  </a:cubicBezTo>
                  <a:cubicBezTo>
                    <a:pt x="698" y="172"/>
                    <a:pt x="698" y="172"/>
                    <a:pt x="698" y="172"/>
                  </a:cubicBezTo>
                  <a:cubicBezTo>
                    <a:pt x="700" y="174"/>
                    <a:pt x="702" y="176"/>
                    <a:pt x="704" y="178"/>
                  </a:cubicBezTo>
                  <a:cubicBezTo>
                    <a:pt x="710" y="185"/>
                    <a:pt x="717" y="192"/>
                    <a:pt x="724" y="200"/>
                  </a:cubicBezTo>
                  <a:cubicBezTo>
                    <a:pt x="716" y="202"/>
                    <a:pt x="707" y="205"/>
                    <a:pt x="698" y="207"/>
                  </a:cubicBezTo>
                  <a:cubicBezTo>
                    <a:pt x="698" y="219"/>
                    <a:pt x="698" y="219"/>
                    <a:pt x="698" y="219"/>
                  </a:cubicBezTo>
                  <a:cubicBezTo>
                    <a:pt x="710" y="216"/>
                    <a:pt x="722" y="213"/>
                    <a:pt x="734" y="209"/>
                  </a:cubicBezTo>
                  <a:cubicBezTo>
                    <a:pt x="753" y="230"/>
                    <a:pt x="773" y="251"/>
                    <a:pt x="794" y="272"/>
                  </a:cubicBezTo>
                  <a:cubicBezTo>
                    <a:pt x="763" y="280"/>
                    <a:pt x="731" y="286"/>
                    <a:pt x="698" y="291"/>
                  </a:cubicBezTo>
                  <a:cubicBezTo>
                    <a:pt x="698" y="308"/>
                    <a:pt x="698" y="308"/>
                    <a:pt x="698" y="308"/>
                  </a:cubicBezTo>
                  <a:cubicBezTo>
                    <a:pt x="719" y="326"/>
                    <a:pt x="740" y="344"/>
                    <a:pt x="761" y="362"/>
                  </a:cubicBezTo>
                  <a:cubicBezTo>
                    <a:pt x="740" y="364"/>
                    <a:pt x="719" y="365"/>
                    <a:pt x="698" y="366"/>
                  </a:cubicBezTo>
                  <a:cubicBezTo>
                    <a:pt x="698" y="378"/>
                    <a:pt x="698" y="378"/>
                    <a:pt x="698" y="378"/>
                  </a:cubicBezTo>
                  <a:cubicBezTo>
                    <a:pt x="723" y="377"/>
                    <a:pt x="749" y="375"/>
                    <a:pt x="775" y="373"/>
                  </a:cubicBezTo>
                  <a:cubicBezTo>
                    <a:pt x="801" y="394"/>
                    <a:pt x="828" y="415"/>
                    <a:pt x="855" y="434"/>
                  </a:cubicBezTo>
                  <a:cubicBezTo>
                    <a:pt x="833" y="435"/>
                    <a:pt x="811" y="436"/>
                    <a:pt x="790" y="436"/>
                  </a:cubicBezTo>
                  <a:cubicBezTo>
                    <a:pt x="772" y="436"/>
                    <a:pt x="755" y="436"/>
                    <a:pt x="737" y="435"/>
                  </a:cubicBezTo>
                  <a:cubicBezTo>
                    <a:pt x="724" y="426"/>
                    <a:pt x="711" y="416"/>
                    <a:pt x="698" y="407"/>
                  </a:cubicBezTo>
                  <a:cubicBezTo>
                    <a:pt x="698" y="422"/>
                    <a:pt x="698" y="422"/>
                    <a:pt x="698" y="422"/>
                  </a:cubicBezTo>
                  <a:cubicBezTo>
                    <a:pt x="704" y="425"/>
                    <a:pt x="709" y="429"/>
                    <a:pt x="714" y="433"/>
                  </a:cubicBezTo>
                  <a:cubicBezTo>
                    <a:pt x="709" y="432"/>
                    <a:pt x="704" y="432"/>
                    <a:pt x="698" y="431"/>
                  </a:cubicBezTo>
                  <a:cubicBezTo>
                    <a:pt x="698" y="443"/>
                    <a:pt x="698" y="443"/>
                    <a:pt x="698" y="443"/>
                  </a:cubicBezTo>
                  <a:cubicBezTo>
                    <a:pt x="710" y="445"/>
                    <a:pt x="722" y="446"/>
                    <a:pt x="734" y="446"/>
                  </a:cubicBezTo>
                  <a:cubicBezTo>
                    <a:pt x="759" y="464"/>
                    <a:pt x="785" y="480"/>
                    <a:pt x="811" y="494"/>
                  </a:cubicBezTo>
                  <a:cubicBezTo>
                    <a:pt x="835" y="494"/>
                    <a:pt x="835" y="494"/>
                    <a:pt x="835" y="494"/>
                  </a:cubicBezTo>
                  <a:cubicBezTo>
                    <a:pt x="809" y="480"/>
                    <a:pt x="783" y="465"/>
                    <a:pt x="757" y="448"/>
                  </a:cubicBezTo>
                  <a:cubicBezTo>
                    <a:pt x="768" y="448"/>
                    <a:pt x="779" y="448"/>
                    <a:pt x="791" y="448"/>
                  </a:cubicBezTo>
                  <a:cubicBezTo>
                    <a:pt x="817" y="448"/>
                    <a:pt x="843" y="447"/>
                    <a:pt x="870" y="444"/>
                  </a:cubicBezTo>
                  <a:cubicBezTo>
                    <a:pt x="897" y="463"/>
                    <a:pt x="925" y="480"/>
                    <a:pt x="952" y="494"/>
                  </a:cubicBezTo>
                  <a:cubicBezTo>
                    <a:pt x="977" y="494"/>
                    <a:pt x="977" y="494"/>
                    <a:pt x="977" y="494"/>
                  </a:cubicBezTo>
                  <a:cubicBezTo>
                    <a:pt x="948" y="480"/>
                    <a:pt x="918" y="462"/>
                    <a:pt x="888" y="442"/>
                  </a:cubicBezTo>
                  <a:cubicBezTo>
                    <a:pt x="896" y="441"/>
                    <a:pt x="905" y="440"/>
                    <a:pt x="913" y="439"/>
                  </a:cubicBezTo>
                  <a:cubicBezTo>
                    <a:pt x="928" y="437"/>
                    <a:pt x="943" y="434"/>
                    <a:pt x="958" y="431"/>
                  </a:cubicBezTo>
                  <a:cubicBezTo>
                    <a:pt x="961" y="430"/>
                    <a:pt x="964" y="429"/>
                    <a:pt x="968" y="428"/>
                  </a:cubicBezTo>
                  <a:cubicBezTo>
                    <a:pt x="1000" y="453"/>
                    <a:pt x="1033" y="475"/>
                    <a:pt x="1065" y="492"/>
                  </a:cubicBezTo>
                  <a:cubicBezTo>
                    <a:pt x="1061" y="493"/>
                    <a:pt x="1058" y="494"/>
                    <a:pt x="1054" y="494"/>
                  </a:cubicBezTo>
                  <a:cubicBezTo>
                    <a:pt x="1101" y="494"/>
                    <a:pt x="1101" y="494"/>
                    <a:pt x="1101" y="494"/>
                  </a:cubicBezTo>
                  <a:cubicBezTo>
                    <a:pt x="1122" y="488"/>
                    <a:pt x="1143" y="481"/>
                    <a:pt x="1164" y="473"/>
                  </a:cubicBezTo>
                  <a:cubicBezTo>
                    <a:pt x="1181" y="482"/>
                    <a:pt x="1197" y="489"/>
                    <a:pt x="1213" y="494"/>
                  </a:cubicBezTo>
                  <a:cubicBezTo>
                    <a:pt x="1262" y="494"/>
                    <a:pt x="1262" y="494"/>
                    <a:pt x="1262" y="494"/>
                  </a:cubicBezTo>
                  <a:cubicBezTo>
                    <a:pt x="1264" y="493"/>
                    <a:pt x="1266" y="492"/>
                    <a:pt x="1269" y="492"/>
                  </a:cubicBezTo>
                  <a:cubicBezTo>
                    <a:pt x="1269" y="492"/>
                    <a:pt x="1268" y="493"/>
                    <a:pt x="1268" y="494"/>
                  </a:cubicBezTo>
                  <a:cubicBezTo>
                    <a:pt x="1279" y="494"/>
                    <a:pt x="1279" y="494"/>
                    <a:pt x="1279" y="494"/>
                  </a:cubicBezTo>
                  <a:cubicBezTo>
                    <a:pt x="1279" y="491"/>
                    <a:pt x="1280" y="489"/>
                    <a:pt x="1280" y="488"/>
                  </a:cubicBezTo>
                  <a:cubicBezTo>
                    <a:pt x="1278" y="487"/>
                    <a:pt x="1278" y="487"/>
                    <a:pt x="1278" y="487"/>
                  </a:cubicBezTo>
                  <a:cubicBezTo>
                    <a:pt x="1279" y="487"/>
                    <a:pt x="1280" y="487"/>
                    <a:pt x="1280" y="487"/>
                  </a:cubicBezTo>
                  <a:cubicBezTo>
                    <a:pt x="1286" y="489"/>
                    <a:pt x="1292" y="492"/>
                    <a:pt x="1297" y="494"/>
                  </a:cubicBezTo>
                  <a:cubicBezTo>
                    <a:pt x="1335" y="494"/>
                    <a:pt x="1335" y="494"/>
                    <a:pt x="1335" y="494"/>
                  </a:cubicBezTo>
                  <a:cubicBezTo>
                    <a:pt x="1357" y="485"/>
                    <a:pt x="1378" y="477"/>
                    <a:pt x="1399" y="470"/>
                  </a:cubicBezTo>
                  <a:cubicBezTo>
                    <a:pt x="1399" y="456"/>
                    <a:pt x="1399" y="456"/>
                    <a:pt x="1399" y="456"/>
                  </a:cubicBezTo>
                  <a:cubicBezTo>
                    <a:pt x="1391" y="452"/>
                    <a:pt x="1383" y="448"/>
                    <a:pt x="1375" y="444"/>
                  </a:cubicBezTo>
                  <a:cubicBezTo>
                    <a:pt x="1377" y="443"/>
                    <a:pt x="1380" y="441"/>
                    <a:pt x="1382" y="440"/>
                  </a:cubicBezTo>
                  <a:cubicBezTo>
                    <a:pt x="1388" y="438"/>
                    <a:pt x="1393" y="436"/>
                    <a:pt x="1399" y="434"/>
                  </a:cubicBezTo>
                  <a:cubicBezTo>
                    <a:pt x="1399" y="419"/>
                    <a:pt x="1399" y="419"/>
                    <a:pt x="1399" y="419"/>
                  </a:cubicBezTo>
                  <a:cubicBezTo>
                    <a:pt x="1397" y="420"/>
                    <a:pt x="1396" y="420"/>
                    <a:pt x="1394" y="421"/>
                  </a:cubicBezTo>
                  <a:cubicBezTo>
                    <a:pt x="1384" y="426"/>
                    <a:pt x="1374" y="431"/>
                    <a:pt x="1363" y="436"/>
                  </a:cubicBezTo>
                  <a:cubicBezTo>
                    <a:pt x="1351" y="428"/>
                    <a:pt x="1338" y="418"/>
                    <a:pt x="1325" y="407"/>
                  </a:cubicBezTo>
                  <a:cubicBezTo>
                    <a:pt x="1347" y="397"/>
                    <a:pt x="1370" y="388"/>
                    <a:pt x="1393" y="380"/>
                  </a:cubicBezTo>
                  <a:cubicBezTo>
                    <a:pt x="1395" y="382"/>
                    <a:pt x="1397" y="384"/>
                    <a:pt x="1399" y="386"/>
                  </a:cubicBezTo>
                  <a:cubicBezTo>
                    <a:pt x="1399" y="365"/>
                    <a:pt x="1399" y="365"/>
                    <a:pt x="1399" y="365"/>
                  </a:cubicBezTo>
                  <a:cubicBezTo>
                    <a:pt x="1398" y="365"/>
                    <a:pt x="1397" y="365"/>
                    <a:pt x="1396" y="366"/>
                  </a:cubicBezTo>
                  <a:cubicBezTo>
                    <a:pt x="1375" y="343"/>
                    <a:pt x="1354" y="317"/>
                    <a:pt x="1333" y="288"/>
                  </a:cubicBezTo>
                  <a:cubicBezTo>
                    <a:pt x="1355" y="279"/>
                    <a:pt x="1377" y="271"/>
                    <a:pt x="1399" y="264"/>
                  </a:cubicBezTo>
                  <a:cubicBezTo>
                    <a:pt x="1399" y="251"/>
                    <a:pt x="1399" y="251"/>
                    <a:pt x="1399" y="251"/>
                  </a:cubicBezTo>
                  <a:cubicBezTo>
                    <a:pt x="1375" y="259"/>
                    <a:pt x="1350" y="268"/>
                    <a:pt x="1326" y="278"/>
                  </a:cubicBezTo>
                  <a:cubicBezTo>
                    <a:pt x="1307" y="252"/>
                    <a:pt x="1288" y="225"/>
                    <a:pt x="1269" y="197"/>
                  </a:cubicBezTo>
                  <a:cubicBezTo>
                    <a:pt x="1297" y="186"/>
                    <a:pt x="1326" y="174"/>
                    <a:pt x="1354" y="164"/>
                  </a:cubicBezTo>
                  <a:cubicBezTo>
                    <a:pt x="1359" y="174"/>
                    <a:pt x="1365" y="184"/>
                    <a:pt x="1370" y="193"/>
                  </a:cubicBezTo>
                  <a:cubicBezTo>
                    <a:pt x="1380" y="211"/>
                    <a:pt x="1389" y="228"/>
                    <a:pt x="1399" y="245"/>
                  </a:cubicBezTo>
                  <a:cubicBezTo>
                    <a:pt x="1399" y="222"/>
                    <a:pt x="1399" y="222"/>
                    <a:pt x="1399" y="222"/>
                  </a:cubicBezTo>
                  <a:cubicBezTo>
                    <a:pt x="1393" y="210"/>
                    <a:pt x="1386" y="199"/>
                    <a:pt x="1380" y="187"/>
                  </a:cubicBezTo>
                  <a:cubicBezTo>
                    <a:pt x="1375" y="178"/>
                    <a:pt x="1370" y="170"/>
                    <a:pt x="1365" y="161"/>
                  </a:cubicBezTo>
                  <a:cubicBezTo>
                    <a:pt x="1376" y="157"/>
                    <a:pt x="1388" y="153"/>
                    <a:pt x="1399" y="149"/>
                  </a:cubicBezTo>
                  <a:cubicBezTo>
                    <a:pt x="1399" y="137"/>
                    <a:pt x="1399" y="137"/>
                    <a:pt x="1399" y="137"/>
                  </a:cubicBezTo>
                  <a:cubicBezTo>
                    <a:pt x="1386" y="141"/>
                    <a:pt x="1372" y="145"/>
                    <a:pt x="1359" y="150"/>
                  </a:cubicBezTo>
                  <a:cubicBezTo>
                    <a:pt x="1342" y="120"/>
                    <a:pt x="1325" y="90"/>
                    <a:pt x="1307" y="61"/>
                  </a:cubicBezTo>
                  <a:cubicBezTo>
                    <a:pt x="1338" y="50"/>
                    <a:pt x="1368" y="40"/>
                    <a:pt x="1399" y="32"/>
                  </a:cubicBezTo>
                  <a:cubicBezTo>
                    <a:pt x="1399" y="19"/>
                    <a:pt x="1399" y="19"/>
                    <a:pt x="1399" y="19"/>
                  </a:cubicBezTo>
                  <a:cubicBezTo>
                    <a:pt x="1366" y="28"/>
                    <a:pt x="1334" y="38"/>
                    <a:pt x="1301" y="50"/>
                  </a:cubicBezTo>
                  <a:cubicBezTo>
                    <a:pt x="1291" y="33"/>
                    <a:pt x="1280" y="16"/>
                    <a:pt x="1269" y="0"/>
                  </a:cubicBezTo>
                  <a:moveTo>
                    <a:pt x="1399" y="0"/>
                  </a:moveTo>
                  <a:cubicBezTo>
                    <a:pt x="1389" y="0"/>
                    <a:pt x="1389" y="0"/>
                    <a:pt x="1389" y="0"/>
                  </a:cubicBezTo>
                  <a:cubicBezTo>
                    <a:pt x="1392" y="6"/>
                    <a:pt x="1396" y="11"/>
                    <a:pt x="1399" y="17"/>
                  </a:cubicBezTo>
                  <a:cubicBezTo>
                    <a:pt x="1399" y="0"/>
                    <a:pt x="1399" y="0"/>
                    <a:pt x="1399" y="0"/>
                  </a:cubicBezTo>
                  <a:moveTo>
                    <a:pt x="1587" y="1460"/>
                  </a:moveTo>
                  <a:cubicBezTo>
                    <a:pt x="1576" y="1460"/>
                    <a:pt x="1565" y="1460"/>
                    <a:pt x="1553" y="1459"/>
                  </a:cubicBezTo>
                  <a:cubicBezTo>
                    <a:pt x="1555" y="1459"/>
                    <a:pt x="1556" y="1459"/>
                    <a:pt x="1557" y="1459"/>
                  </a:cubicBezTo>
                  <a:cubicBezTo>
                    <a:pt x="1557" y="1459"/>
                    <a:pt x="1557" y="1459"/>
                    <a:pt x="1557" y="1459"/>
                  </a:cubicBezTo>
                  <a:cubicBezTo>
                    <a:pt x="1590" y="1459"/>
                    <a:pt x="1621" y="1458"/>
                    <a:pt x="1652" y="1458"/>
                  </a:cubicBezTo>
                  <a:cubicBezTo>
                    <a:pt x="1633" y="1459"/>
                    <a:pt x="1611" y="1460"/>
                    <a:pt x="1587" y="1460"/>
                  </a:cubicBezTo>
                  <a:moveTo>
                    <a:pt x="1591" y="1435"/>
                  </a:moveTo>
                  <a:cubicBezTo>
                    <a:pt x="1590" y="1435"/>
                    <a:pt x="1589" y="1435"/>
                    <a:pt x="1589" y="1434"/>
                  </a:cubicBezTo>
                  <a:cubicBezTo>
                    <a:pt x="1589" y="1434"/>
                    <a:pt x="1590" y="1434"/>
                    <a:pt x="1590" y="1434"/>
                  </a:cubicBezTo>
                  <a:cubicBezTo>
                    <a:pt x="1590" y="1434"/>
                    <a:pt x="1590" y="1434"/>
                    <a:pt x="1590" y="1434"/>
                  </a:cubicBezTo>
                  <a:cubicBezTo>
                    <a:pt x="1591" y="1435"/>
                    <a:pt x="1591" y="1435"/>
                    <a:pt x="1591" y="1435"/>
                  </a:cubicBezTo>
                  <a:moveTo>
                    <a:pt x="1618" y="1438"/>
                  </a:moveTo>
                  <a:cubicBezTo>
                    <a:pt x="1614" y="1437"/>
                    <a:pt x="1610" y="1436"/>
                    <a:pt x="1607" y="1434"/>
                  </a:cubicBezTo>
                  <a:cubicBezTo>
                    <a:pt x="1611" y="1434"/>
                    <a:pt x="1614" y="1434"/>
                    <a:pt x="1618" y="1434"/>
                  </a:cubicBezTo>
                  <a:cubicBezTo>
                    <a:pt x="1618" y="1435"/>
                    <a:pt x="1618" y="1436"/>
                    <a:pt x="1618" y="1438"/>
                  </a:cubicBezTo>
                  <a:moveTo>
                    <a:pt x="1642" y="1439"/>
                  </a:moveTo>
                  <a:cubicBezTo>
                    <a:pt x="1631" y="1438"/>
                    <a:pt x="1629" y="1436"/>
                    <a:pt x="1629" y="1435"/>
                  </a:cubicBezTo>
                  <a:cubicBezTo>
                    <a:pt x="1629" y="1435"/>
                    <a:pt x="1629" y="1435"/>
                    <a:pt x="1629" y="1434"/>
                  </a:cubicBezTo>
                  <a:cubicBezTo>
                    <a:pt x="1629" y="1434"/>
                    <a:pt x="1629" y="1434"/>
                    <a:pt x="1629" y="1434"/>
                  </a:cubicBezTo>
                  <a:cubicBezTo>
                    <a:pt x="1629" y="1434"/>
                    <a:pt x="1629" y="1434"/>
                    <a:pt x="1629" y="1434"/>
                  </a:cubicBezTo>
                  <a:cubicBezTo>
                    <a:pt x="1634" y="1433"/>
                    <a:pt x="1640" y="1433"/>
                    <a:pt x="1645" y="1433"/>
                  </a:cubicBezTo>
                  <a:cubicBezTo>
                    <a:pt x="1643" y="1435"/>
                    <a:pt x="1642" y="1437"/>
                    <a:pt x="1642" y="1439"/>
                  </a:cubicBezTo>
                  <a:moveTo>
                    <a:pt x="1658" y="1438"/>
                  </a:moveTo>
                  <a:cubicBezTo>
                    <a:pt x="1657" y="1438"/>
                    <a:pt x="1658" y="1438"/>
                    <a:pt x="1657" y="1438"/>
                  </a:cubicBezTo>
                  <a:cubicBezTo>
                    <a:pt x="1658" y="1436"/>
                    <a:pt x="1660" y="1434"/>
                    <a:pt x="1663" y="1431"/>
                  </a:cubicBezTo>
                  <a:cubicBezTo>
                    <a:pt x="1668" y="1431"/>
                    <a:pt x="1673" y="1430"/>
                    <a:pt x="1678" y="1430"/>
                  </a:cubicBezTo>
                  <a:cubicBezTo>
                    <a:pt x="1671" y="1434"/>
                    <a:pt x="1666" y="1436"/>
                    <a:pt x="1666" y="1438"/>
                  </a:cubicBezTo>
                  <a:cubicBezTo>
                    <a:pt x="1666" y="1438"/>
                    <a:pt x="1666" y="1438"/>
                    <a:pt x="1666" y="1438"/>
                  </a:cubicBezTo>
                  <a:cubicBezTo>
                    <a:pt x="1662" y="1438"/>
                    <a:pt x="1659" y="1438"/>
                    <a:pt x="1658" y="1438"/>
                  </a:cubicBezTo>
                  <a:moveTo>
                    <a:pt x="1692" y="1435"/>
                  </a:moveTo>
                  <a:cubicBezTo>
                    <a:pt x="1696" y="1433"/>
                    <a:pt x="1700" y="1430"/>
                    <a:pt x="1705" y="1428"/>
                  </a:cubicBezTo>
                  <a:cubicBezTo>
                    <a:pt x="1710" y="1427"/>
                    <a:pt x="1715" y="1426"/>
                    <a:pt x="1720" y="1426"/>
                  </a:cubicBezTo>
                  <a:cubicBezTo>
                    <a:pt x="1711" y="1429"/>
                    <a:pt x="1701" y="1432"/>
                    <a:pt x="1692" y="1435"/>
                  </a:cubicBezTo>
                  <a:moveTo>
                    <a:pt x="1744" y="1429"/>
                  </a:moveTo>
                  <a:cubicBezTo>
                    <a:pt x="1752" y="1426"/>
                    <a:pt x="1761" y="1422"/>
                    <a:pt x="1769" y="1418"/>
                  </a:cubicBezTo>
                  <a:cubicBezTo>
                    <a:pt x="1778" y="1416"/>
                    <a:pt x="1788" y="1415"/>
                    <a:pt x="1797" y="1413"/>
                  </a:cubicBezTo>
                  <a:cubicBezTo>
                    <a:pt x="1777" y="1420"/>
                    <a:pt x="1759" y="1425"/>
                    <a:pt x="1744" y="1429"/>
                  </a:cubicBezTo>
                  <a:moveTo>
                    <a:pt x="1598" y="1423"/>
                  </a:moveTo>
                  <a:cubicBezTo>
                    <a:pt x="1598" y="1422"/>
                    <a:pt x="1598" y="1421"/>
                    <a:pt x="1598" y="1420"/>
                  </a:cubicBezTo>
                  <a:cubicBezTo>
                    <a:pt x="1598" y="1405"/>
                    <a:pt x="1610" y="1379"/>
                    <a:pt x="1628" y="1342"/>
                  </a:cubicBezTo>
                  <a:cubicBezTo>
                    <a:pt x="1628" y="1341"/>
                    <a:pt x="1628" y="1340"/>
                    <a:pt x="1629" y="1340"/>
                  </a:cubicBezTo>
                  <a:cubicBezTo>
                    <a:pt x="1629" y="1340"/>
                    <a:pt x="1629" y="1340"/>
                    <a:pt x="1630" y="1340"/>
                  </a:cubicBezTo>
                  <a:cubicBezTo>
                    <a:pt x="1646" y="1340"/>
                    <a:pt x="1662" y="1340"/>
                    <a:pt x="1679" y="1339"/>
                  </a:cubicBezTo>
                  <a:cubicBezTo>
                    <a:pt x="1667" y="1356"/>
                    <a:pt x="1657" y="1370"/>
                    <a:pt x="1648" y="1382"/>
                  </a:cubicBezTo>
                  <a:cubicBezTo>
                    <a:pt x="1635" y="1400"/>
                    <a:pt x="1626" y="1412"/>
                    <a:pt x="1621" y="1422"/>
                  </a:cubicBezTo>
                  <a:cubicBezTo>
                    <a:pt x="1613" y="1422"/>
                    <a:pt x="1606" y="1422"/>
                    <a:pt x="1598" y="1423"/>
                  </a:cubicBezTo>
                  <a:moveTo>
                    <a:pt x="1585" y="1423"/>
                  </a:moveTo>
                  <a:cubicBezTo>
                    <a:pt x="1579" y="1423"/>
                    <a:pt x="1573" y="1423"/>
                    <a:pt x="1568" y="1422"/>
                  </a:cubicBezTo>
                  <a:cubicBezTo>
                    <a:pt x="1567" y="1421"/>
                    <a:pt x="1565" y="1420"/>
                    <a:pt x="1565" y="1419"/>
                  </a:cubicBezTo>
                  <a:cubicBezTo>
                    <a:pt x="1560" y="1412"/>
                    <a:pt x="1558" y="1404"/>
                    <a:pt x="1558" y="1393"/>
                  </a:cubicBezTo>
                  <a:cubicBezTo>
                    <a:pt x="1558" y="1378"/>
                    <a:pt x="1561" y="1361"/>
                    <a:pt x="1567" y="1339"/>
                  </a:cubicBezTo>
                  <a:cubicBezTo>
                    <a:pt x="1583" y="1339"/>
                    <a:pt x="1599" y="1340"/>
                    <a:pt x="1616" y="1340"/>
                  </a:cubicBezTo>
                  <a:cubicBezTo>
                    <a:pt x="1598" y="1378"/>
                    <a:pt x="1587" y="1403"/>
                    <a:pt x="1587" y="1420"/>
                  </a:cubicBezTo>
                  <a:cubicBezTo>
                    <a:pt x="1587" y="1421"/>
                    <a:pt x="1587" y="1422"/>
                    <a:pt x="1587" y="1423"/>
                  </a:cubicBezTo>
                  <a:cubicBezTo>
                    <a:pt x="1586" y="1423"/>
                    <a:pt x="1585" y="1423"/>
                    <a:pt x="1585" y="1423"/>
                  </a:cubicBezTo>
                  <a:moveTo>
                    <a:pt x="1553" y="1422"/>
                  </a:moveTo>
                  <a:cubicBezTo>
                    <a:pt x="1548" y="1422"/>
                    <a:pt x="1543" y="1422"/>
                    <a:pt x="1538" y="1422"/>
                  </a:cubicBezTo>
                  <a:cubicBezTo>
                    <a:pt x="1532" y="1418"/>
                    <a:pt x="1527" y="1413"/>
                    <a:pt x="1523" y="1408"/>
                  </a:cubicBezTo>
                  <a:cubicBezTo>
                    <a:pt x="1511" y="1392"/>
                    <a:pt x="1506" y="1368"/>
                    <a:pt x="1506" y="1336"/>
                  </a:cubicBezTo>
                  <a:cubicBezTo>
                    <a:pt x="1506" y="1336"/>
                    <a:pt x="1506" y="1336"/>
                    <a:pt x="1506" y="1336"/>
                  </a:cubicBezTo>
                  <a:cubicBezTo>
                    <a:pt x="1516" y="1337"/>
                    <a:pt x="1525" y="1337"/>
                    <a:pt x="1535" y="1338"/>
                  </a:cubicBezTo>
                  <a:cubicBezTo>
                    <a:pt x="1542" y="1338"/>
                    <a:pt x="1548" y="1338"/>
                    <a:pt x="1555" y="1338"/>
                  </a:cubicBezTo>
                  <a:cubicBezTo>
                    <a:pt x="1550" y="1360"/>
                    <a:pt x="1547" y="1378"/>
                    <a:pt x="1547" y="1392"/>
                  </a:cubicBezTo>
                  <a:cubicBezTo>
                    <a:pt x="1547" y="1404"/>
                    <a:pt x="1549" y="1414"/>
                    <a:pt x="1553" y="1422"/>
                  </a:cubicBezTo>
                  <a:moveTo>
                    <a:pt x="1634" y="1421"/>
                  </a:moveTo>
                  <a:cubicBezTo>
                    <a:pt x="1639" y="1413"/>
                    <a:pt x="1648" y="1401"/>
                    <a:pt x="1657" y="1389"/>
                  </a:cubicBezTo>
                  <a:cubicBezTo>
                    <a:pt x="1667" y="1376"/>
                    <a:pt x="1679" y="1359"/>
                    <a:pt x="1693" y="1338"/>
                  </a:cubicBezTo>
                  <a:cubicBezTo>
                    <a:pt x="1711" y="1338"/>
                    <a:pt x="1728" y="1337"/>
                    <a:pt x="1746" y="1335"/>
                  </a:cubicBezTo>
                  <a:cubicBezTo>
                    <a:pt x="1714" y="1371"/>
                    <a:pt x="1686" y="1396"/>
                    <a:pt x="1668" y="1411"/>
                  </a:cubicBezTo>
                  <a:cubicBezTo>
                    <a:pt x="1664" y="1415"/>
                    <a:pt x="1661" y="1417"/>
                    <a:pt x="1658" y="1420"/>
                  </a:cubicBezTo>
                  <a:cubicBezTo>
                    <a:pt x="1650" y="1421"/>
                    <a:pt x="1642" y="1421"/>
                    <a:pt x="1634" y="1421"/>
                  </a:cubicBezTo>
                  <a:moveTo>
                    <a:pt x="1519" y="1421"/>
                  </a:moveTo>
                  <a:cubicBezTo>
                    <a:pt x="1516" y="1420"/>
                    <a:pt x="1513" y="1420"/>
                    <a:pt x="1509" y="1420"/>
                  </a:cubicBezTo>
                  <a:cubicBezTo>
                    <a:pt x="1475" y="1403"/>
                    <a:pt x="1456" y="1375"/>
                    <a:pt x="1446" y="1333"/>
                  </a:cubicBezTo>
                  <a:cubicBezTo>
                    <a:pt x="1462" y="1334"/>
                    <a:pt x="1478" y="1335"/>
                    <a:pt x="1495" y="1336"/>
                  </a:cubicBezTo>
                  <a:cubicBezTo>
                    <a:pt x="1495" y="1336"/>
                    <a:pt x="1495" y="1336"/>
                    <a:pt x="1495" y="1336"/>
                  </a:cubicBezTo>
                  <a:cubicBezTo>
                    <a:pt x="1495" y="1371"/>
                    <a:pt x="1500" y="1397"/>
                    <a:pt x="1515" y="1416"/>
                  </a:cubicBezTo>
                  <a:cubicBezTo>
                    <a:pt x="1516" y="1418"/>
                    <a:pt x="1518" y="1419"/>
                    <a:pt x="1519" y="1421"/>
                  </a:cubicBezTo>
                  <a:moveTo>
                    <a:pt x="1677" y="1418"/>
                  </a:moveTo>
                  <a:cubicBezTo>
                    <a:pt x="1697" y="1401"/>
                    <a:pt x="1728" y="1374"/>
                    <a:pt x="1763" y="1334"/>
                  </a:cubicBezTo>
                  <a:cubicBezTo>
                    <a:pt x="1782" y="1332"/>
                    <a:pt x="1801" y="1330"/>
                    <a:pt x="1820" y="1327"/>
                  </a:cubicBezTo>
                  <a:cubicBezTo>
                    <a:pt x="1784" y="1361"/>
                    <a:pt x="1744" y="1391"/>
                    <a:pt x="1701" y="1416"/>
                  </a:cubicBezTo>
                  <a:cubicBezTo>
                    <a:pt x="1693" y="1417"/>
                    <a:pt x="1685" y="1418"/>
                    <a:pt x="1677" y="1418"/>
                  </a:cubicBezTo>
                  <a:moveTo>
                    <a:pt x="1777" y="1432"/>
                  </a:moveTo>
                  <a:cubicBezTo>
                    <a:pt x="1804" y="1424"/>
                    <a:pt x="1836" y="1412"/>
                    <a:pt x="1871" y="1394"/>
                  </a:cubicBezTo>
                  <a:cubicBezTo>
                    <a:pt x="1932" y="1376"/>
                    <a:pt x="1994" y="1352"/>
                    <a:pt x="2057" y="1320"/>
                  </a:cubicBezTo>
                  <a:cubicBezTo>
                    <a:pt x="2031" y="1339"/>
                    <a:pt x="2002" y="1357"/>
                    <a:pt x="1970" y="1373"/>
                  </a:cubicBezTo>
                  <a:cubicBezTo>
                    <a:pt x="1970" y="1373"/>
                    <a:pt x="1970" y="1373"/>
                    <a:pt x="1970" y="1373"/>
                  </a:cubicBezTo>
                  <a:cubicBezTo>
                    <a:pt x="1969" y="1373"/>
                    <a:pt x="1920" y="1397"/>
                    <a:pt x="1842" y="1420"/>
                  </a:cubicBezTo>
                  <a:cubicBezTo>
                    <a:pt x="1821" y="1425"/>
                    <a:pt x="1800" y="1429"/>
                    <a:pt x="1777" y="1432"/>
                  </a:cubicBezTo>
                  <a:moveTo>
                    <a:pt x="1730" y="1412"/>
                  </a:moveTo>
                  <a:cubicBezTo>
                    <a:pt x="1769" y="1387"/>
                    <a:pt x="1806" y="1358"/>
                    <a:pt x="1841" y="1324"/>
                  </a:cubicBezTo>
                  <a:cubicBezTo>
                    <a:pt x="1864" y="1320"/>
                    <a:pt x="1887" y="1315"/>
                    <a:pt x="1910" y="1310"/>
                  </a:cubicBezTo>
                  <a:cubicBezTo>
                    <a:pt x="1868" y="1348"/>
                    <a:pt x="1820" y="1381"/>
                    <a:pt x="1766" y="1407"/>
                  </a:cubicBezTo>
                  <a:cubicBezTo>
                    <a:pt x="1754" y="1409"/>
                    <a:pt x="1742" y="1411"/>
                    <a:pt x="1730" y="1412"/>
                  </a:cubicBezTo>
                  <a:moveTo>
                    <a:pt x="1808" y="1398"/>
                  </a:moveTo>
                  <a:cubicBezTo>
                    <a:pt x="1854" y="1372"/>
                    <a:pt x="1896" y="1339"/>
                    <a:pt x="1934" y="1304"/>
                  </a:cubicBezTo>
                  <a:cubicBezTo>
                    <a:pt x="1962" y="1297"/>
                    <a:pt x="1990" y="1288"/>
                    <a:pt x="2018" y="1278"/>
                  </a:cubicBezTo>
                  <a:cubicBezTo>
                    <a:pt x="1964" y="1326"/>
                    <a:pt x="1911" y="1360"/>
                    <a:pt x="1863" y="1384"/>
                  </a:cubicBezTo>
                  <a:cubicBezTo>
                    <a:pt x="1845" y="1389"/>
                    <a:pt x="1826" y="1394"/>
                    <a:pt x="1808" y="1398"/>
                  </a:cubicBezTo>
                  <a:moveTo>
                    <a:pt x="1616" y="1265"/>
                  </a:moveTo>
                  <a:cubicBezTo>
                    <a:pt x="1627" y="1265"/>
                    <a:pt x="1639" y="1265"/>
                    <a:pt x="1650" y="1265"/>
                  </a:cubicBezTo>
                  <a:cubicBezTo>
                    <a:pt x="1640" y="1289"/>
                    <a:pt x="1630" y="1310"/>
                    <a:pt x="1622" y="1328"/>
                  </a:cubicBezTo>
                  <a:cubicBezTo>
                    <a:pt x="1604" y="1328"/>
                    <a:pt x="1587" y="1327"/>
                    <a:pt x="1570" y="1327"/>
                  </a:cubicBezTo>
                  <a:cubicBezTo>
                    <a:pt x="1573" y="1312"/>
                    <a:pt x="1578" y="1295"/>
                    <a:pt x="1583" y="1276"/>
                  </a:cubicBezTo>
                  <a:cubicBezTo>
                    <a:pt x="1584" y="1272"/>
                    <a:pt x="1585" y="1268"/>
                    <a:pt x="1586" y="1265"/>
                  </a:cubicBezTo>
                  <a:cubicBezTo>
                    <a:pt x="1596" y="1265"/>
                    <a:pt x="1606" y="1265"/>
                    <a:pt x="1616" y="1265"/>
                  </a:cubicBezTo>
                  <a:moveTo>
                    <a:pt x="1558" y="1326"/>
                  </a:moveTo>
                  <a:cubicBezTo>
                    <a:pt x="1551" y="1326"/>
                    <a:pt x="1543" y="1326"/>
                    <a:pt x="1536" y="1326"/>
                  </a:cubicBezTo>
                  <a:cubicBezTo>
                    <a:pt x="1526" y="1325"/>
                    <a:pt x="1516" y="1325"/>
                    <a:pt x="1506" y="1324"/>
                  </a:cubicBezTo>
                  <a:cubicBezTo>
                    <a:pt x="1507" y="1306"/>
                    <a:pt x="1509" y="1286"/>
                    <a:pt x="1511" y="1262"/>
                  </a:cubicBezTo>
                  <a:cubicBezTo>
                    <a:pt x="1518" y="1263"/>
                    <a:pt x="1526" y="1263"/>
                    <a:pt x="1533" y="1263"/>
                  </a:cubicBezTo>
                  <a:cubicBezTo>
                    <a:pt x="1547" y="1264"/>
                    <a:pt x="1561" y="1264"/>
                    <a:pt x="1575" y="1265"/>
                  </a:cubicBezTo>
                  <a:cubicBezTo>
                    <a:pt x="1574" y="1267"/>
                    <a:pt x="1573" y="1270"/>
                    <a:pt x="1573" y="1272"/>
                  </a:cubicBezTo>
                  <a:cubicBezTo>
                    <a:pt x="1567" y="1293"/>
                    <a:pt x="1562" y="1310"/>
                    <a:pt x="1558" y="1326"/>
                  </a:cubicBezTo>
                  <a:moveTo>
                    <a:pt x="1634" y="1328"/>
                  </a:moveTo>
                  <a:cubicBezTo>
                    <a:pt x="1643" y="1309"/>
                    <a:pt x="1653" y="1288"/>
                    <a:pt x="1663" y="1264"/>
                  </a:cubicBezTo>
                  <a:cubicBezTo>
                    <a:pt x="1685" y="1264"/>
                    <a:pt x="1707" y="1263"/>
                    <a:pt x="1728" y="1261"/>
                  </a:cubicBezTo>
                  <a:cubicBezTo>
                    <a:pt x="1714" y="1286"/>
                    <a:pt x="1700" y="1308"/>
                    <a:pt x="1687" y="1327"/>
                  </a:cubicBezTo>
                  <a:cubicBezTo>
                    <a:pt x="1670" y="1327"/>
                    <a:pt x="1652" y="1328"/>
                    <a:pt x="1634" y="1328"/>
                  </a:cubicBezTo>
                  <a:moveTo>
                    <a:pt x="1495" y="1324"/>
                  </a:moveTo>
                  <a:cubicBezTo>
                    <a:pt x="1477" y="1323"/>
                    <a:pt x="1460" y="1322"/>
                    <a:pt x="1443" y="1320"/>
                  </a:cubicBezTo>
                  <a:cubicBezTo>
                    <a:pt x="1440" y="1303"/>
                    <a:pt x="1437" y="1283"/>
                    <a:pt x="1436" y="1260"/>
                  </a:cubicBezTo>
                  <a:cubicBezTo>
                    <a:pt x="1457" y="1261"/>
                    <a:pt x="1479" y="1261"/>
                    <a:pt x="1500" y="1262"/>
                  </a:cubicBezTo>
                  <a:cubicBezTo>
                    <a:pt x="1498" y="1285"/>
                    <a:pt x="1496" y="1305"/>
                    <a:pt x="1495" y="1324"/>
                  </a:cubicBezTo>
                  <a:moveTo>
                    <a:pt x="1702" y="1326"/>
                  </a:moveTo>
                  <a:cubicBezTo>
                    <a:pt x="1714" y="1307"/>
                    <a:pt x="1728" y="1285"/>
                    <a:pt x="1742" y="1260"/>
                  </a:cubicBezTo>
                  <a:cubicBezTo>
                    <a:pt x="1765" y="1259"/>
                    <a:pt x="1788" y="1256"/>
                    <a:pt x="1810" y="1253"/>
                  </a:cubicBezTo>
                  <a:cubicBezTo>
                    <a:pt x="1792" y="1280"/>
                    <a:pt x="1774" y="1303"/>
                    <a:pt x="1758" y="1322"/>
                  </a:cubicBezTo>
                  <a:cubicBezTo>
                    <a:pt x="1739" y="1324"/>
                    <a:pt x="1720" y="1325"/>
                    <a:pt x="1702" y="1326"/>
                  </a:cubicBezTo>
                  <a:moveTo>
                    <a:pt x="1774" y="1321"/>
                  </a:moveTo>
                  <a:cubicBezTo>
                    <a:pt x="1791" y="1301"/>
                    <a:pt x="1808" y="1278"/>
                    <a:pt x="1825" y="1252"/>
                  </a:cubicBezTo>
                  <a:cubicBezTo>
                    <a:pt x="1835" y="1250"/>
                    <a:pt x="1845" y="1249"/>
                    <a:pt x="1855" y="1247"/>
                  </a:cubicBezTo>
                  <a:cubicBezTo>
                    <a:pt x="1870" y="1245"/>
                    <a:pt x="1885" y="1242"/>
                    <a:pt x="1899" y="1240"/>
                  </a:cubicBezTo>
                  <a:cubicBezTo>
                    <a:pt x="1879" y="1266"/>
                    <a:pt x="1858" y="1290"/>
                    <a:pt x="1836" y="1312"/>
                  </a:cubicBezTo>
                  <a:cubicBezTo>
                    <a:pt x="1815" y="1316"/>
                    <a:pt x="1794" y="1318"/>
                    <a:pt x="1774" y="1321"/>
                  </a:cubicBezTo>
                  <a:moveTo>
                    <a:pt x="1855" y="1309"/>
                  </a:moveTo>
                  <a:cubicBezTo>
                    <a:pt x="1876" y="1286"/>
                    <a:pt x="1897" y="1262"/>
                    <a:pt x="1916" y="1236"/>
                  </a:cubicBezTo>
                  <a:cubicBezTo>
                    <a:pt x="1944" y="1230"/>
                    <a:pt x="1971" y="1224"/>
                    <a:pt x="1998" y="1217"/>
                  </a:cubicBezTo>
                  <a:cubicBezTo>
                    <a:pt x="1977" y="1243"/>
                    <a:pt x="1954" y="1269"/>
                    <a:pt x="1929" y="1293"/>
                  </a:cubicBezTo>
                  <a:cubicBezTo>
                    <a:pt x="1904" y="1299"/>
                    <a:pt x="1879" y="1305"/>
                    <a:pt x="1855" y="1309"/>
                  </a:cubicBezTo>
                  <a:moveTo>
                    <a:pt x="1635" y="1191"/>
                  </a:moveTo>
                  <a:cubicBezTo>
                    <a:pt x="1649" y="1191"/>
                    <a:pt x="1664" y="1191"/>
                    <a:pt x="1680" y="1191"/>
                  </a:cubicBezTo>
                  <a:cubicBezTo>
                    <a:pt x="1672" y="1213"/>
                    <a:pt x="1663" y="1234"/>
                    <a:pt x="1656" y="1252"/>
                  </a:cubicBezTo>
                  <a:cubicBezTo>
                    <a:pt x="1641" y="1253"/>
                    <a:pt x="1626" y="1253"/>
                    <a:pt x="1612" y="1253"/>
                  </a:cubicBezTo>
                  <a:cubicBezTo>
                    <a:pt x="1604" y="1253"/>
                    <a:pt x="1597" y="1253"/>
                    <a:pt x="1590" y="1253"/>
                  </a:cubicBezTo>
                  <a:cubicBezTo>
                    <a:pt x="1595" y="1234"/>
                    <a:pt x="1600" y="1213"/>
                    <a:pt x="1606" y="1191"/>
                  </a:cubicBezTo>
                  <a:cubicBezTo>
                    <a:pt x="1615" y="1191"/>
                    <a:pt x="1625" y="1191"/>
                    <a:pt x="1635" y="1191"/>
                  </a:cubicBezTo>
                  <a:moveTo>
                    <a:pt x="1578" y="1253"/>
                  </a:moveTo>
                  <a:cubicBezTo>
                    <a:pt x="1563" y="1252"/>
                    <a:pt x="1548" y="1252"/>
                    <a:pt x="1533" y="1251"/>
                  </a:cubicBezTo>
                  <a:cubicBezTo>
                    <a:pt x="1527" y="1251"/>
                    <a:pt x="1520" y="1251"/>
                    <a:pt x="1513" y="1251"/>
                  </a:cubicBezTo>
                  <a:cubicBezTo>
                    <a:pt x="1515" y="1232"/>
                    <a:pt x="1518" y="1211"/>
                    <a:pt x="1521" y="1189"/>
                  </a:cubicBezTo>
                  <a:cubicBezTo>
                    <a:pt x="1521" y="1189"/>
                    <a:pt x="1521" y="1189"/>
                    <a:pt x="1521" y="1189"/>
                  </a:cubicBezTo>
                  <a:cubicBezTo>
                    <a:pt x="1524" y="1189"/>
                    <a:pt x="1528" y="1189"/>
                    <a:pt x="1531" y="1189"/>
                  </a:cubicBezTo>
                  <a:cubicBezTo>
                    <a:pt x="1551" y="1190"/>
                    <a:pt x="1573" y="1190"/>
                    <a:pt x="1595" y="1191"/>
                  </a:cubicBezTo>
                  <a:cubicBezTo>
                    <a:pt x="1589" y="1213"/>
                    <a:pt x="1583" y="1234"/>
                    <a:pt x="1578" y="1253"/>
                  </a:cubicBezTo>
                  <a:moveTo>
                    <a:pt x="1501" y="1250"/>
                  </a:moveTo>
                  <a:cubicBezTo>
                    <a:pt x="1479" y="1249"/>
                    <a:pt x="1457" y="1249"/>
                    <a:pt x="1436" y="1248"/>
                  </a:cubicBezTo>
                  <a:cubicBezTo>
                    <a:pt x="1435" y="1231"/>
                    <a:pt x="1434" y="1212"/>
                    <a:pt x="1434" y="1192"/>
                  </a:cubicBezTo>
                  <a:cubicBezTo>
                    <a:pt x="1434" y="1191"/>
                    <a:pt x="1434" y="1190"/>
                    <a:pt x="1434" y="1189"/>
                  </a:cubicBezTo>
                  <a:cubicBezTo>
                    <a:pt x="1450" y="1188"/>
                    <a:pt x="1465" y="1188"/>
                    <a:pt x="1479" y="1188"/>
                  </a:cubicBezTo>
                  <a:cubicBezTo>
                    <a:pt x="1489" y="1188"/>
                    <a:pt x="1499" y="1188"/>
                    <a:pt x="1509" y="1188"/>
                  </a:cubicBezTo>
                  <a:cubicBezTo>
                    <a:pt x="1506" y="1211"/>
                    <a:pt x="1504" y="1231"/>
                    <a:pt x="1501" y="1250"/>
                  </a:cubicBezTo>
                  <a:moveTo>
                    <a:pt x="1668" y="1252"/>
                  </a:moveTo>
                  <a:cubicBezTo>
                    <a:pt x="1676" y="1233"/>
                    <a:pt x="1684" y="1213"/>
                    <a:pt x="1692" y="1191"/>
                  </a:cubicBezTo>
                  <a:cubicBezTo>
                    <a:pt x="1716" y="1190"/>
                    <a:pt x="1741" y="1189"/>
                    <a:pt x="1766" y="1187"/>
                  </a:cubicBezTo>
                  <a:cubicBezTo>
                    <a:pt x="1756" y="1209"/>
                    <a:pt x="1745" y="1230"/>
                    <a:pt x="1735" y="1249"/>
                  </a:cubicBezTo>
                  <a:cubicBezTo>
                    <a:pt x="1713" y="1250"/>
                    <a:pt x="1691" y="1251"/>
                    <a:pt x="1668" y="1252"/>
                  </a:cubicBezTo>
                  <a:moveTo>
                    <a:pt x="1749" y="1248"/>
                  </a:moveTo>
                  <a:cubicBezTo>
                    <a:pt x="1759" y="1229"/>
                    <a:pt x="1769" y="1208"/>
                    <a:pt x="1779" y="1186"/>
                  </a:cubicBezTo>
                  <a:cubicBezTo>
                    <a:pt x="1805" y="1184"/>
                    <a:pt x="1830" y="1182"/>
                    <a:pt x="1856" y="1178"/>
                  </a:cubicBezTo>
                  <a:cubicBezTo>
                    <a:pt x="1844" y="1201"/>
                    <a:pt x="1831" y="1221"/>
                    <a:pt x="1819" y="1240"/>
                  </a:cubicBezTo>
                  <a:cubicBezTo>
                    <a:pt x="1796" y="1243"/>
                    <a:pt x="1772" y="1246"/>
                    <a:pt x="1749" y="1248"/>
                  </a:cubicBezTo>
                  <a:moveTo>
                    <a:pt x="1834" y="1238"/>
                  </a:moveTo>
                  <a:cubicBezTo>
                    <a:pt x="1846" y="1219"/>
                    <a:pt x="1858" y="1199"/>
                    <a:pt x="1870" y="1176"/>
                  </a:cubicBezTo>
                  <a:cubicBezTo>
                    <a:pt x="1880" y="1175"/>
                    <a:pt x="1890" y="1174"/>
                    <a:pt x="1899" y="1172"/>
                  </a:cubicBezTo>
                  <a:cubicBezTo>
                    <a:pt x="1917" y="1170"/>
                    <a:pt x="1934" y="1167"/>
                    <a:pt x="1952" y="1163"/>
                  </a:cubicBezTo>
                  <a:cubicBezTo>
                    <a:pt x="1939" y="1185"/>
                    <a:pt x="1925" y="1206"/>
                    <a:pt x="1910" y="1225"/>
                  </a:cubicBezTo>
                  <a:cubicBezTo>
                    <a:pt x="1885" y="1230"/>
                    <a:pt x="1860" y="1235"/>
                    <a:pt x="1834" y="1238"/>
                  </a:cubicBezTo>
                  <a:moveTo>
                    <a:pt x="1927" y="1222"/>
                  </a:moveTo>
                  <a:cubicBezTo>
                    <a:pt x="1941" y="1202"/>
                    <a:pt x="1954" y="1182"/>
                    <a:pt x="1967" y="1160"/>
                  </a:cubicBezTo>
                  <a:cubicBezTo>
                    <a:pt x="1996" y="1154"/>
                    <a:pt x="2025" y="1147"/>
                    <a:pt x="2054" y="1139"/>
                  </a:cubicBezTo>
                  <a:cubicBezTo>
                    <a:pt x="2040" y="1160"/>
                    <a:pt x="2026" y="1180"/>
                    <a:pt x="2010" y="1201"/>
                  </a:cubicBezTo>
                  <a:cubicBezTo>
                    <a:pt x="1983" y="1209"/>
                    <a:pt x="1955" y="1216"/>
                    <a:pt x="1927" y="1222"/>
                  </a:cubicBezTo>
                  <a:moveTo>
                    <a:pt x="1659" y="1118"/>
                  </a:moveTo>
                  <a:cubicBezTo>
                    <a:pt x="1674" y="1118"/>
                    <a:pt x="1689" y="1118"/>
                    <a:pt x="1705" y="1117"/>
                  </a:cubicBezTo>
                  <a:cubicBezTo>
                    <a:pt x="1698" y="1139"/>
                    <a:pt x="1691" y="1160"/>
                    <a:pt x="1684" y="1179"/>
                  </a:cubicBezTo>
                  <a:cubicBezTo>
                    <a:pt x="1668" y="1179"/>
                    <a:pt x="1653" y="1179"/>
                    <a:pt x="1637" y="1179"/>
                  </a:cubicBezTo>
                  <a:cubicBezTo>
                    <a:pt x="1628" y="1179"/>
                    <a:pt x="1618" y="1179"/>
                    <a:pt x="1609" y="1179"/>
                  </a:cubicBezTo>
                  <a:cubicBezTo>
                    <a:pt x="1614" y="1160"/>
                    <a:pt x="1619" y="1139"/>
                    <a:pt x="1623" y="1117"/>
                  </a:cubicBezTo>
                  <a:cubicBezTo>
                    <a:pt x="1635" y="1118"/>
                    <a:pt x="1647" y="1118"/>
                    <a:pt x="1659" y="1118"/>
                  </a:cubicBezTo>
                  <a:moveTo>
                    <a:pt x="1598" y="1179"/>
                  </a:moveTo>
                  <a:cubicBezTo>
                    <a:pt x="1574" y="1178"/>
                    <a:pt x="1552" y="1178"/>
                    <a:pt x="1531" y="1177"/>
                  </a:cubicBezTo>
                  <a:cubicBezTo>
                    <a:pt x="1528" y="1177"/>
                    <a:pt x="1525" y="1177"/>
                    <a:pt x="1522" y="1177"/>
                  </a:cubicBezTo>
                  <a:cubicBezTo>
                    <a:pt x="1525" y="1157"/>
                    <a:pt x="1527" y="1137"/>
                    <a:pt x="1530" y="1115"/>
                  </a:cubicBezTo>
                  <a:cubicBezTo>
                    <a:pt x="1553" y="1116"/>
                    <a:pt x="1581" y="1117"/>
                    <a:pt x="1612" y="1117"/>
                  </a:cubicBezTo>
                  <a:cubicBezTo>
                    <a:pt x="1607" y="1139"/>
                    <a:pt x="1602" y="1160"/>
                    <a:pt x="1598" y="1179"/>
                  </a:cubicBezTo>
                  <a:moveTo>
                    <a:pt x="1434" y="1177"/>
                  </a:moveTo>
                  <a:cubicBezTo>
                    <a:pt x="1435" y="1158"/>
                    <a:pt x="1435" y="1138"/>
                    <a:pt x="1435" y="1116"/>
                  </a:cubicBezTo>
                  <a:cubicBezTo>
                    <a:pt x="1458" y="1115"/>
                    <a:pt x="1480" y="1114"/>
                    <a:pt x="1502" y="1114"/>
                  </a:cubicBezTo>
                  <a:cubicBezTo>
                    <a:pt x="1508" y="1114"/>
                    <a:pt x="1513" y="1114"/>
                    <a:pt x="1519" y="1114"/>
                  </a:cubicBezTo>
                  <a:cubicBezTo>
                    <a:pt x="1516" y="1137"/>
                    <a:pt x="1514" y="1157"/>
                    <a:pt x="1511" y="1176"/>
                  </a:cubicBezTo>
                  <a:cubicBezTo>
                    <a:pt x="1500" y="1176"/>
                    <a:pt x="1490" y="1176"/>
                    <a:pt x="1479" y="1176"/>
                  </a:cubicBezTo>
                  <a:cubicBezTo>
                    <a:pt x="1464" y="1176"/>
                    <a:pt x="1450" y="1176"/>
                    <a:pt x="1434" y="1177"/>
                  </a:cubicBezTo>
                  <a:moveTo>
                    <a:pt x="1696" y="1178"/>
                  </a:moveTo>
                  <a:cubicBezTo>
                    <a:pt x="1703" y="1159"/>
                    <a:pt x="1710" y="1139"/>
                    <a:pt x="1716" y="1117"/>
                  </a:cubicBezTo>
                  <a:cubicBezTo>
                    <a:pt x="1742" y="1116"/>
                    <a:pt x="1770" y="1115"/>
                    <a:pt x="1798" y="1113"/>
                  </a:cubicBezTo>
                  <a:cubicBezTo>
                    <a:pt x="1790" y="1135"/>
                    <a:pt x="1781" y="1155"/>
                    <a:pt x="1772" y="1175"/>
                  </a:cubicBezTo>
                  <a:cubicBezTo>
                    <a:pt x="1746" y="1177"/>
                    <a:pt x="1721" y="1178"/>
                    <a:pt x="1696" y="1178"/>
                  </a:cubicBezTo>
                  <a:moveTo>
                    <a:pt x="1785" y="1174"/>
                  </a:moveTo>
                  <a:cubicBezTo>
                    <a:pt x="1794" y="1154"/>
                    <a:pt x="1802" y="1134"/>
                    <a:pt x="1810" y="1112"/>
                  </a:cubicBezTo>
                  <a:cubicBezTo>
                    <a:pt x="1837" y="1110"/>
                    <a:pt x="1865" y="1107"/>
                    <a:pt x="1894" y="1104"/>
                  </a:cubicBezTo>
                  <a:cubicBezTo>
                    <a:pt x="1884" y="1126"/>
                    <a:pt x="1874" y="1146"/>
                    <a:pt x="1863" y="1165"/>
                  </a:cubicBezTo>
                  <a:cubicBezTo>
                    <a:pt x="1837" y="1169"/>
                    <a:pt x="1811" y="1172"/>
                    <a:pt x="1785" y="1174"/>
                  </a:cubicBezTo>
                  <a:moveTo>
                    <a:pt x="1877" y="1164"/>
                  </a:moveTo>
                  <a:cubicBezTo>
                    <a:pt x="1887" y="1144"/>
                    <a:pt x="1897" y="1124"/>
                    <a:pt x="1907" y="1102"/>
                  </a:cubicBezTo>
                  <a:cubicBezTo>
                    <a:pt x="1916" y="1101"/>
                    <a:pt x="1926" y="1099"/>
                    <a:pt x="1935" y="1098"/>
                  </a:cubicBezTo>
                  <a:cubicBezTo>
                    <a:pt x="1955" y="1095"/>
                    <a:pt x="1974" y="1091"/>
                    <a:pt x="1994" y="1087"/>
                  </a:cubicBezTo>
                  <a:cubicBezTo>
                    <a:pt x="1983" y="1109"/>
                    <a:pt x="1972" y="1130"/>
                    <a:pt x="1960" y="1149"/>
                  </a:cubicBezTo>
                  <a:cubicBezTo>
                    <a:pt x="1932" y="1155"/>
                    <a:pt x="1905" y="1160"/>
                    <a:pt x="1877" y="1164"/>
                  </a:cubicBezTo>
                  <a:moveTo>
                    <a:pt x="1673" y="1044"/>
                  </a:moveTo>
                  <a:cubicBezTo>
                    <a:pt x="1690" y="1044"/>
                    <a:pt x="1707" y="1043"/>
                    <a:pt x="1725" y="1043"/>
                  </a:cubicBezTo>
                  <a:cubicBezTo>
                    <a:pt x="1720" y="1065"/>
                    <a:pt x="1714" y="1086"/>
                    <a:pt x="1708" y="1105"/>
                  </a:cubicBezTo>
                  <a:cubicBezTo>
                    <a:pt x="1691" y="1106"/>
                    <a:pt x="1675" y="1106"/>
                    <a:pt x="1659" y="1106"/>
                  </a:cubicBezTo>
                  <a:cubicBezTo>
                    <a:pt x="1647" y="1106"/>
                    <a:pt x="1637" y="1106"/>
                    <a:pt x="1626" y="1105"/>
                  </a:cubicBezTo>
                  <a:cubicBezTo>
                    <a:pt x="1630" y="1086"/>
                    <a:pt x="1634" y="1065"/>
                    <a:pt x="1638" y="1043"/>
                  </a:cubicBezTo>
                  <a:cubicBezTo>
                    <a:pt x="1649" y="1044"/>
                    <a:pt x="1661" y="1044"/>
                    <a:pt x="1673" y="1044"/>
                  </a:cubicBezTo>
                  <a:moveTo>
                    <a:pt x="1615" y="1105"/>
                  </a:moveTo>
                  <a:cubicBezTo>
                    <a:pt x="1583" y="1105"/>
                    <a:pt x="1555" y="1104"/>
                    <a:pt x="1532" y="1103"/>
                  </a:cubicBezTo>
                  <a:cubicBezTo>
                    <a:pt x="1534" y="1083"/>
                    <a:pt x="1536" y="1062"/>
                    <a:pt x="1539" y="1041"/>
                  </a:cubicBezTo>
                  <a:cubicBezTo>
                    <a:pt x="1564" y="1042"/>
                    <a:pt x="1594" y="1043"/>
                    <a:pt x="1627" y="1043"/>
                  </a:cubicBezTo>
                  <a:cubicBezTo>
                    <a:pt x="1623" y="1065"/>
                    <a:pt x="1619" y="1086"/>
                    <a:pt x="1615" y="1105"/>
                  </a:cubicBezTo>
                  <a:moveTo>
                    <a:pt x="1436" y="1104"/>
                  </a:moveTo>
                  <a:cubicBezTo>
                    <a:pt x="1436" y="1097"/>
                    <a:pt x="1436" y="1090"/>
                    <a:pt x="1436" y="1082"/>
                  </a:cubicBezTo>
                  <a:cubicBezTo>
                    <a:pt x="1436" y="1070"/>
                    <a:pt x="1437" y="1057"/>
                    <a:pt x="1437" y="1044"/>
                  </a:cubicBezTo>
                  <a:cubicBezTo>
                    <a:pt x="1462" y="1041"/>
                    <a:pt x="1487" y="1040"/>
                    <a:pt x="1510" y="1040"/>
                  </a:cubicBezTo>
                  <a:cubicBezTo>
                    <a:pt x="1516" y="1040"/>
                    <a:pt x="1521" y="1040"/>
                    <a:pt x="1527" y="1040"/>
                  </a:cubicBezTo>
                  <a:cubicBezTo>
                    <a:pt x="1527" y="1040"/>
                    <a:pt x="1527" y="1040"/>
                    <a:pt x="1527" y="1040"/>
                  </a:cubicBezTo>
                  <a:cubicBezTo>
                    <a:pt x="1525" y="1062"/>
                    <a:pt x="1523" y="1083"/>
                    <a:pt x="1520" y="1102"/>
                  </a:cubicBezTo>
                  <a:cubicBezTo>
                    <a:pt x="1514" y="1102"/>
                    <a:pt x="1508" y="1102"/>
                    <a:pt x="1502" y="1102"/>
                  </a:cubicBezTo>
                  <a:cubicBezTo>
                    <a:pt x="1480" y="1102"/>
                    <a:pt x="1458" y="1103"/>
                    <a:pt x="1436" y="1104"/>
                  </a:cubicBezTo>
                  <a:moveTo>
                    <a:pt x="1720" y="1105"/>
                  </a:moveTo>
                  <a:cubicBezTo>
                    <a:pt x="1726" y="1085"/>
                    <a:pt x="1732" y="1065"/>
                    <a:pt x="1737" y="1043"/>
                  </a:cubicBezTo>
                  <a:cubicBezTo>
                    <a:pt x="1765" y="1042"/>
                    <a:pt x="1794" y="1041"/>
                    <a:pt x="1824" y="1039"/>
                  </a:cubicBezTo>
                  <a:cubicBezTo>
                    <a:pt x="1817" y="1060"/>
                    <a:pt x="1810" y="1081"/>
                    <a:pt x="1803" y="1101"/>
                  </a:cubicBezTo>
                  <a:cubicBezTo>
                    <a:pt x="1774" y="1103"/>
                    <a:pt x="1746" y="1104"/>
                    <a:pt x="1720" y="1105"/>
                  </a:cubicBezTo>
                  <a:moveTo>
                    <a:pt x="1815" y="1100"/>
                  </a:moveTo>
                  <a:cubicBezTo>
                    <a:pt x="1822" y="1080"/>
                    <a:pt x="1829" y="1060"/>
                    <a:pt x="1836" y="1038"/>
                  </a:cubicBezTo>
                  <a:cubicBezTo>
                    <a:pt x="1865" y="1036"/>
                    <a:pt x="1895" y="1033"/>
                    <a:pt x="1925" y="1029"/>
                  </a:cubicBezTo>
                  <a:cubicBezTo>
                    <a:pt x="1916" y="1051"/>
                    <a:pt x="1908" y="1071"/>
                    <a:pt x="1900" y="1091"/>
                  </a:cubicBezTo>
                  <a:cubicBezTo>
                    <a:pt x="1871" y="1095"/>
                    <a:pt x="1842" y="1098"/>
                    <a:pt x="1815" y="1100"/>
                  </a:cubicBezTo>
                  <a:moveTo>
                    <a:pt x="1913" y="1089"/>
                  </a:moveTo>
                  <a:cubicBezTo>
                    <a:pt x="1921" y="1070"/>
                    <a:pt x="1929" y="1049"/>
                    <a:pt x="1937" y="1027"/>
                  </a:cubicBezTo>
                  <a:cubicBezTo>
                    <a:pt x="1948" y="1026"/>
                    <a:pt x="1959" y="1024"/>
                    <a:pt x="1971" y="1023"/>
                  </a:cubicBezTo>
                  <a:cubicBezTo>
                    <a:pt x="1990" y="1020"/>
                    <a:pt x="2009" y="1016"/>
                    <a:pt x="2028" y="1012"/>
                  </a:cubicBezTo>
                  <a:cubicBezTo>
                    <a:pt x="2019" y="1033"/>
                    <a:pt x="2010" y="1054"/>
                    <a:pt x="2001" y="1074"/>
                  </a:cubicBezTo>
                  <a:cubicBezTo>
                    <a:pt x="1971" y="1080"/>
                    <a:pt x="1941" y="1085"/>
                    <a:pt x="1913" y="1089"/>
                  </a:cubicBezTo>
                  <a:moveTo>
                    <a:pt x="2097" y="990"/>
                  </a:moveTo>
                  <a:cubicBezTo>
                    <a:pt x="2074" y="990"/>
                    <a:pt x="2074" y="990"/>
                    <a:pt x="2074" y="990"/>
                  </a:cubicBezTo>
                  <a:cubicBezTo>
                    <a:pt x="2065" y="992"/>
                    <a:pt x="2056" y="994"/>
                    <a:pt x="2046" y="996"/>
                  </a:cubicBezTo>
                  <a:cubicBezTo>
                    <a:pt x="2047" y="994"/>
                    <a:pt x="2048" y="992"/>
                    <a:pt x="2049" y="990"/>
                  </a:cubicBezTo>
                  <a:cubicBezTo>
                    <a:pt x="2037" y="990"/>
                    <a:pt x="2037" y="990"/>
                    <a:pt x="2037" y="990"/>
                  </a:cubicBezTo>
                  <a:cubicBezTo>
                    <a:pt x="2036" y="993"/>
                    <a:pt x="2034" y="996"/>
                    <a:pt x="2033" y="999"/>
                  </a:cubicBezTo>
                  <a:cubicBezTo>
                    <a:pt x="2002" y="1005"/>
                    <a:pt x="1972" y="1010"/>
                    <a:pt x="1942" y="1015"/>
                  </a:cubicBezTo>
                  <a:cubicBezTo>
                    <a:pt x="1945" y="1007"/>
                    <a:pt x="1947" y="999"/>
                    <a:pt x="1950" y="990"/>
                  </a:cubicBezTo>
                  <a:cubicBezTo>
                    <a:pt x="1938" y="990"/>
                    <a:pt x="1938" y="990"/>
                    <a:pt x="1938" y="990"/>
                  </a:cubicBezTo>
                  <a:cubicBezTo>
                    <a:pt x="1935" y="999"/>
                    <a:pt x="1932" y="1008"/>
                    <a:pt x="1929" y="1016"/>
                  </a:cubicBezTo>
                  <a:cubicBezTo>
                    <a:pt x="1899" y="1020"/>
                    <a:pt x="1869" y="1023"/>
                    <a:pt x="1840" y="1025"/>
                  </a:cubicBezTo>
                  <a:cubicBezTo>
                    <a:pt x="1844" y="1014"/>
                    <a:pt x="1847" y="1002"/>
                    <a:pt x="1850" y="990"/>
                  </a:cubicBezTo>
                  <a:cubicBezTo>
                    <a:pt x="1839" y="990"/>
                    <a:pt x="1839" y="990"/>
                    <a:pt x="1839" y="990"/>
                  </a:cubicBezTo>
                  <a:cubicBezTo>
                    <a:pt x="1835" y="1003"/>
                    <a:pt x="1832" y="1015"/>
                    <a:pt x="1828" y="1026"/>
                  </a:cubicBezTo>
                  <a:cubicBezTo>
                    <a:pt x="1798" y="1029"/>
                    <a:pt x="1768" y="1030"/>
                    <a:pt x="1740" y="1031"/>
                  </a:cubicBezTo>
                  <a:cubicBezTo>
                    <a:pt x="1743" y="1018"/>
                    <a:pt x="1746" y="1004"/>
                    <a:pt x="1749" y="990"/>
                  </a:cubicBezTo>
                  <a:cubicBezTo>
                    <a:pt x="1738" y="990"/>
                    <a:pt x="1738" y="990"/>
                    <a:pt x="1738" y="990"/>
                  </a:cubicBezTo>
                  <a:cubicBezTo>
                    <a:pt x="1735" y="1004"/>
                    <a:pt x="1732" y="1018"/>
                    <a:pt x="1728" y="1031"/>
                  </a:cubicBezTo>
                  <a:cubicBezTo>
                    <a:pt x="1710" y="1031"/>
                    <a:pt x="1692" y="1032"/>
                    <a:pt x="1674" y="1032"/>
                  </a:cubicBezTo>
                  <a:cubicBezTo>
                    <a:pt x="1663" y="1032"/>
                    <a:pt x="1651" y="1032"/>
                    <a:pt x="1640" y="1031"/>
                  </a:cubicBezTo>
                  <a:cubicBezTo>
                    <a:pt x="1643" y="1018"/>
                    <a:pt x="1645" y="1004"/>
                    <a:pt x="1647" y="990"/>
                  </a:cubicBezTo>
                  <a:cubicBezTo>
                    <a:pt x="1636" y="990"/>
                    <a:pt x="1636" y="990"/>
                    <a:pt x="1636" y="990"/>
                  </a:cubicBezTo>
                  <a:cubicBezTo>
                    <a:pt x="1634" y="1004"/>
                    <a:pt x="1631" y="1018"/>
                    <a:pt x="1629" y="1031"/>
                  </a:cubicBezTo>
                  <a:cubicBezTo>
                    <a:pt x="1596" y="1031"/>
                    <a:pt x="1566" y="1030"/>
                    <a:pt x="1540" y="1029"/>
                  </a:cubicBezTo>
                  <a:cubicBezTo>
                    <a:pt x="1541" y="1016"/>
                    <a:pt x="1542" y="1003"/>
                    <a:pt x="1543" y="990"/>
                  </a:cubicBezTo>
                  <a:cubicBezTo>
                    <a:pt x="1532" y="990"/>
                    <a:pt x="1532" y="990"/>
                    <a:pt x="1532" y="990"/>
                  </a:cubicBezTo>
                  <a:cubicBezTo>
                    <a:pt x="1531" y="1003"/>
                    <a:pt x="1530" y="1016"/>
                    <a:pt x="1529" y="1028"/>
                  </a:cubicBezTo>
                  <a:cubicBezTo>
                    <a:pt x="1528" y="1028"/>
                    <a:pt x="1528" y="1028"/>
                    <a:pt x="1527" y="1028"/>
                  </a:cubicBezTo>
                  <a:cubicBezTo>
                    <a:pt x="1522" y="1028"/>
                    <a:pt x="1516" y="1028"/>
                    <a:pt x="1510" y="1028"/>
                  </a:cubicBezTo>
                  <a:cubicBezTo>
                    <a:pt x="1487" y="1028"/>
                    <a:pt x="1462" y="1029"/>
                    <a:pt x="1437" y="1032"/>
                  </a:cubicBezTo>
                  <a:cubicBezTo>
                    <a:pt x="1437" y="1018"/>
                    <a:pt x="1438" y="1004"/>
                    <a:pt x="1438" y="990"/>
                  </a:cubicBezTo>
                  <a:cubicBezTo>
                    <a:pt x="1427" y="990"/>
                    <a:pt x="1427" y="990"/>
                    <a:pt x="1427" y="990"/>
                  </a:cubicBezTo>
                  <a:cubicBezTo>
                    <a:pt x="1426" y="1005"/>
                    <a:pt x="1426" y="1019"/>
                    <a:pt x="1426" y="1033"/>
                  </a:cubicBezTo>
                  <a:cubicBezTo>
                    <a:pt x="1417" y="1034"/>
                    <a:pt x="1408" y="1035"/>
                    <a:pt x="1399" y="1036"/>
                  </a:cubicBezTo>
                  <a:cubicBezTo>
                    <a:pt x="1399" y="1048"/>
                    <a:pt x="1399" y="1048"/>
                    <a:pt x="1399" y="1048"/>
                  </a:cubicBezTo>
                  <a:cubicBezTo>
                    <a:pt x="1408" y="1047"/>
                    <a:pt x="1417" y="1046"/>
                    <a:pt x="1426" y="1045"/>
                  </a:cubicBezTo>
                  <a:cubicBezTo>
                    <a:pt x="1425" y="1058"/>
                    <a:pt x="1425" y="1070"/>
                    <a:pt x="1425" y="1082"/>
                  </a:cubicBezTo>
                  <a:cubicBezTo>
                    <a:pt x="1425" y="1090"/>
                    <a:pt x="1425" y="1097"/>
                    <a:pt x="1424" y="1105"/>
                  </a:cubicBezTo>
                  <a:cubicBezTo>
                    <a:pt x="1416" y="1106"/>
                    <a:pt x="1407" y="1106"/>
                    <a:pt x="1399" y="1107"/>
                  </a:cubicBezTo>
                  <a:cubicBezTo>
                    <a:pt x="1399" y="1119"/>
                    <a:pt x="1399" y="1119"/>
                    <a:pt x="1399" y="1119"/>
                  </a:cubicBezTo>
                  <a:cubicBezTo>
                    <a:pt x="1407" y="1118"/>
                    <a:pt x="1416" y="1118"/>
                    <a:pt x="1424" y="1117"/>
                  </a:cubicBezTo>
                  <a:cubicBezTo>
                    <a:pt x="1424" y="1138"/>
                    <a:pt x="1423" y="1158"/>
                    <a:pt x="1423" y="1177"/>
                  </a:cubicBezTo>
                  <a:cubicBezTo>
                    <a:pt x="1415" y="1177"/>
                    <a:pt x="1407" y="1177"/>
                    <a:pt x="1399" y="1178"/>
                  </a:cubicBezTo>
                  <a:cubicBezTo>
                    <a:pt x="1399" y="1190"/>
                    <a:pt x="1399" y="1190"/>
                    <a:pt x="1399" y="1190"/>
                  </a:cubicBezTo>
                  <a:cubicBezTo>
                    <a:pt x="1407" y="1189"/>
                    <a:pt x="1415" y="1189"/>
                    <a:pt x="1423" y="1189"/>
                  </a:cubicBezTo>
                  <a:cubicBezTo>
                    <a:pt x="1423" y="1190"/>
                    <a:pt x="1423" y="1190"/>
                    <a:pt x="1423" y="1191"/>
                  </a:cubicBezTo>
                  <a:cubicBezTo>
                    <a:pt x="1423" y="1211"/>
                    <a:pt x="1424" y="1230"/>
                    <a:pt x="1424" y="1248"/>
                  </a:cubicBezTo>
                  <a:cubicBezTo>
                    <a:pt x="1421" y="1248"/>
                    <a:pt x="1418" y="1248"/>
                    <a:pt x="1415" y="1248"/>
                  </a:cubicBezTo>
                  <a:cubicBezTo>
                    <a:pt x="1410" y="1248"/>
                    <a:pt x="1404" y="1248"/>
                    <a:pt x="1399" y="1248"/>
                  </a:cubicBezTo>
                  <a:cubicBezTo>
                    <a:pt x="1399" y="1260"/>
                    <a:pt x="1399" y="1260"/>
                    <a:pt x="1399" y="1260"/>
                  </a:cubicBezTo>
                  <a:cubicBezTo>
                    <a:pt x="1404" y="1260"/>
                    <a:pt x="1410" y="1260"/>
                    <a:pt x="1415" y="1260"/>
                  </a:cubicBezTo>
                  <a:cubicBezTo>
                    <a:pt x="1418" y="1260"/>
                    <a:pt x="1422" y="1260"/>
                    <a:pt x="1425" y="1260"/>
                  </a:cubicBezTo>
                  <a:cubicBezTo>
                    <a:pt x="1426" y="1282"/>
                    <a:pt x="1428" y="1302"/>
                    <a:pt x="1432" y="1320"/>
                  </a:cubicBezTo>
                  <a:cubicBezTo>
                    <a:pt x="1420" y="1319"/>
                    <a:pt x="1410" y="1318"/>
                    <a:pt x="1399" y="1317"/>
                  </a:cubicBezTo>
                  <a:cubicBezTo>
                    <a:pt x="1399" y="1329"/>
                    <a:pt x="1399" y="1329"/>
                    <a:pt x="1399" y="1329"/>
                  </a:cubicBezTo>
                  <a:cubicBezTo>
                    <a:pt x="1410" y="1330"/>
                    <a:pt x="1422" y="1331"/>
                    <a:pt x="1434" y="1332"/>
                  </a:cubicBezTo>
                  <a:cubicBezTo>
                    <a:pt x="1443" y="1370"/>
                    <a:pt x="1458" y="1398"/>
                    <a:pt x="1483" y="1418"/>
                  </a:cubicBezTo>
                  <a:cubicBezTo>
                    <a:pt x="1480" y="1418"/>
                    <a:pt x="1477" y="1417"/>
                    <a:pt x="1474" y="1417"/>
                  </a:cubicBezTo>
                  <a:cubicBezTo>
                    <a:pt x="1442" y="1403"/>
                    <a:pt x="1418" y="1382"/>
                    <a:pt x="1399" y="1354"/>
                  </a:cubicBezTo>
                  <a:cubicBezTo>
                    <a:pt x="1399" y="1373"/>
                    <a:pt x="1399" y="1373"/>
                    <a:pt x="1399" y="1373"/>
                  </a:cubicBezTo>
                  <a:cubicBezTo>
                    <a:pt x="1411" y="1389"/>
                    <a:pt x="1426" y="1402"/>
                    <a:pt x="1443" y="1413"/>
                  </a:cubicBezTo>
                  <a:cubicBezTo>
                    <a:pt x="1441" y="1413"/>
                    <a:pt x="1439" y="1413"/>
                    <a:pt x="1437" y="1413"/>
                  </a:cubicBezTo>
                  <a:cubicBezTo>
                    <a:pt x="1424" y="1407"/>
                    <a:pt x="1411" y="1401"/>
                    <a:pt x="1399" y="1393"/>
                  </a:cubicBezTo>
                  <a:cubicBezTo>
                    <a:pt x="1399" y="1442"/>
                    <a:pt x="1399" y="1442"/>
                    <a:pt x="1399" y="1442"/>
                  </a:cubicBezTo>
                  <a:cubicBezTo>
                    <a:pt x="1400" y="1442"/>
                    <a:pt x="1401" y="1443"/>
                    <a:pt x="1401" y="1443"/>
                  </a:cubicBezTo>
                  <a:cubicBezTo>
                    <a:pt x="1401" y="1443"/>
                    <a:pt x="1400" y="1442"/>
                    <a:pt x="1399" y="1442"/>
                  </a:cubicBezTo>
                  <a:cubicBezTo>
                    <a:pt x="1399" y="1464"/>
                    <a:pt x="1399" y="1464"/>
                    <a:pt x="1399" y="1464"/>
                  </a:cubicBezTo>
                  <a:cubicBezTo>
                    <a:pt x="1448" y="1472"/>
                    <a:pt x="1496" y="1476"/>
                    <a:pt x="1543" y="1476"/>
                  </a:cubicBezTo>
                  <a:cubicBezTo>
                    <a:pt x="1599" y="1476"/>
                    <a:pt x="1652" y="1471"/>
                    <a:pt x="1701" y="1463"/>
                  </a:cubicBezTo>
                  <a:cubicBezTo>
                    <a:pt x="1754" y="1455"/>
                    <a:pt x="1803" y="1443"/>
                    <a:pt x="1843" y="1431"/>
                  </a:cubicBezTo>
                  <a:cubicBezTo>
                    <a:pt x="1950" y="1405"/>
                    <a:pt x="2032" y="1360"/>
                    <a:pt x="2097" y="1302"/>
                  </a:cubicBezTo>
                  <a:cubicBezTo>
                    <a:pt x="2097" y="1284"/>
                    <a:pt x="2097" y="1284"/>
                    <a:pt x="2097" y="1284"/>
                  </a:cubicBezTo>
                  <a:cubicBezTo>
                    <a:pt x="2039" y="1318"/>
                    <a:pt x="1981" y="1344"/>
                    <a:pt x="1924" y="1365"/>
                  </a:cubicBezTo>
                  <a:cubicBezTo>
                    <a:pt x="1962" y="1341"/>
                    <a:pt x="2004" y="1309"/>
                    <a:pt x="2048" y="1267"/>
                  </a:cubicBezTo>
                  <a:cubicBezTo>
                    <a:pt x="2064" y="1260"/>
                    <a:pt x="2081" y="1253"/>
                    <a:pt x="2097" y="1246"/>
                  </a:cubicBezTo>
                  <a:cubicBezTo>
                    <a:pt x="2097" y="1233"/>
                    <a:pt x="2097" y="1233"/>
                    <a:pt x="2097" y="1233"/>
                  </a:cubicBezTo>
                  <a:cubicBezTo>
                    <a:pt x="2088" y="1237"/>
                    <a:pt x="2079" y="1241"/>
                    <a:pt x="2070" y="1245"/>
                  </a:cubicBezTo>
                  <a:cubicBezTo>
                    <a:pt x="2079" y="1235"/>
                    <a:pt x="2088" y="1225"/>
                    <a:pt x="2097" y="1215"/>
                  </a:cubicBezTo>
                  <a:cubicBezTo>
                    <a:pt x="2097" y="1197"/>
                    <a:pt x="2097" y="1197"/>
                    <a:pt x="2097" y="1197"/>
                  </a:cubicBezTo>
                  <a:cubicBezTo>
                    <a:pt x="2079" y="1218"/>
                    <a:pt x="2060" y="1238"/>
                    <a:pt x="2041" y="1257"/>
                  </a:cubicBezTo>
                  <a:cubicBezTo>
                    <a:pt x="2011" y="1268"/>
                    <a:pt x="1981" y="1278"/>
                    <a:pt x="1951" y="1287"/>
                  </a:cubicBezTo>
                  <a:cubicBezTo>
                    <a:pt x="1975" y="1263"/>
                    <a:pt x="1997" y="1237"/>
                    <a:pt x="2017" y="1211"/>
                  </a:cubicBezTo>
                  <a:cubicBezTo>
                    <a:pt x="2044" y="1203"/>
                    <a:pt x="2071" y="1194"/>
                    <a:pt x="2097" y="1184"/>
                  </a:cubicBezTo>
                  <a:cubicBezTo>
                    <a:pt x="2097" y="1172"/>
                    <a:pt x="2097" y="1172"/>
                    <a:pt x="2097" y="1172"/>
                  </a:cubicBezTo>
                  <a:cubicBezTo>
                    <a:pt x="2075" y="1180"/>
                    <a:pt x="2052" y="1188"/>
                    <a:pt x="2029" y="1195"/>
                  </a:cubicBezTo>
                  <a:cubicBezTo>
                    <a:pt x="2044" y="1175"/>
                    <a:pt x="2057" y="1154"/>
                    <a:pt x="2070" y="1134"/>
                  </a:cubicBezTo>
                  <a:cubicBezTo>
                    <a:pt x="2079" y="1131"/>
                    <a:pt x="2088" y="1128"/>
                    <a:pt x="2097" y="1125"/>
                  </a:cubicBezTo>
                  <a:cubicBezTo>
                    <a:pt x="2097" y="1113"/>
                    <a:pt x="2097" y="1113"/>
                    <a:pt x="2097" y="1113"/>
                  </a:cubicBezTo>
                  <a:cubicBezTo>
                    <a:pt x="2092" y="1115"/>
                    <a:pt x="2086" y="1117"/>
                    <a:pt x="2080" y="1119"/>
                  </a:cubicBezTo>
                  <a:cubicBezTo>
                    <a:pt x="2086" y="1108"/>
                    <a:pt x="2092" y="1098"/>
                    <a:pt x="2097" y="1088"/>
                  </a:cubicBezTo>
                  <a:cubicBezTo>
                    <a:pt x="2097" y="1064"/>
                    <a:pt x="2097" y="1064"/>
                    <a:pt x="2097" y="1064"/>
                  </a:cubicBezTo>
                  <a:cubicBezTo>
                    <a:pt x="2087" y="1084"/>
                    <a:pt x="2076" y="1104"/>
                    <a:pt x="2063" y="1124"/>
                  </a:cubicBezTo>
                  <a:cubicBezTo>
                    <a:pt x="2034" y="1132"/>
                    <a:pt x="2004" y="1140"/>
                    <a:pt x="1975" y="1146"/>
                  </a:cubicBezTo>
                  <a:cubicBezTo>
                    <a:pt x="1987" y="1126"/>
                    <a:pt x="1997" y="1106"/>
                    <a:pt x="2008" y="1085"/>
                  </a:cubicBezTo>
                  <a:cubicBezTo>
                    <a:pt x="2038" y="1078"/>
                    <a:pt x="2067" y="1071"/>
                    <a:pt x="2097" y="1062"/>
                  </a:cubicBezTo>
                  <a:cubicBezTo>
                    <a:pt x="2097" y="1050"/>
                    <a:pt x="2097" y="1050"/>
                    <a:pt x="2097" y="1050"/>
                  </a:cubicBezTo>
                  <a:cubicBezTo>
                    <a:pt x="2070" y="1058"/>
                    <a:pt x="2042" y="1065"/>
                    <a:pt x="2015" y="1071"/>
                  </a:cubicBezTo>
                  <a:cubicBezTo>
                    <a:pt x="2024" y="1051"/>
                    <a:pt x="2033" y="1031"/>
                    <a:pt x="2041" y="1010"/>
                  </a:cubicBezTo>
                  <a:cubicBezTo>
                    <a:pt x="2060" y="1006"/>
                    <a:pt x="2079" y="1001"/>
                    <a:pt x="2097" y="997"/>
                  </a:cubicBezTo>
                  <a:cubicBezTo>
                    <a:pt x="2097" y="990"/>
                    <a:pt x="2097" y="990"/>
                    <a:pt x="2097" y="990"/>
                  </a:cubicBezTo>
                  <a:moveTo>
                    <a:pt x="821" y="976"/>
                  </a:moveTo>
                  <a:cubicBezTo>
                    <a:pt x="818" y="974"/>
                    <a:pt x="815" y="971"/>
                    <a:pt x="812" y="969"/>
                  </a:cubicBezTo>
                  <a:cubicBezTo>
                    <a:pt x="805" y="954"/>
                    <a:pt x="798" y="939"/>
                    <a:pt x="790" y="923"/>
                  </a:cubicBezTo>
                  <a:cubicBezTo>
                    <a:pt x="793" y="926"/>
                    <a:pt x="796" y="929"/>
                    <a:pt x="799" y="931"/>
                  </a:cubicBezTo>
                  <a:cubicBezTo>
                    <a:pt x="806" y="946"/>
                    <a:pt x="813" y="961"/>
                    <a:pt x="821" y="976"/>
                  </a:cubicBezTo>
                  <a:moveTo>
                    <a:pt x="1066" y="956"/>
                  </a:moveTo>
                  <a:cubicBezTo>
                    <a:pt x="1031" y="956"/>
                    <a:pt x="997" y="951"/>
                    <a:pt x="965" y="944"/>
                  </a:cubicBezTo>
                  <a:cubicBezTo>
                    <a:pt x="960" y="931"/>
                    <a:pt x="955" y="918"/>
                    <a:pt x="950" y="905"/>
                  </a:cubicBezTo>
                  <a:cubicBezTo>
                    <a:pt x="977" y="910"/>
                    <a:pt x="1007" y="914"/>
                    <a:pt x="1036" y="914"/>
                  </a:cubicBezTo>
                  <a:cubicBezTo>
                    <a:pt x="1045" y="914"/>
                    <a:pt x="1054" y="914"/>
                    <a:pt x="1063" y="913"/>
                  </a:cubicBezTo>
                  <a:cubicBezTo>
                    <a:pt x="1068" y="927"/>
                    <a:pt x="1072" y="942"/>
                    <a:pt x="1077" y="956"/>
                  </a:cubicBezTo>
                  <a:cubicBezTo>
                    <a:pt x="1074" y="956"/>
                    <a:pt x="1070" y="956"/>
                    <a:pt x="1066" y="956"/>
                  </a:cubicBezTo>
                  <a:moveTo>
                    <a:pt x="1089" y="956"/>
                  </a:moveTo>
                  <a:cubicBezTo>
                    <a:pt x="1084" y="941"/>
                    <a:pt x="1079" y="927"/>
                    <a:pt x="1075" y="912"/>
                  </a:cubicBezTo>
                  <a:cubicBezTo>
                    <a:pt x="1077" y="912"/>
                    <a:pt x="1080" y="911"/>
                    <a:pt x="1082" y="911"/>
                  </a:cubicBezTo>
                  <a:cubicBezTo>
                    <a:pt x="1110" y="907"/>
                    <a:pt x="1141" y="901"/>
                    <a:pt x="1173" y="893"/>
                  </a:cubicBezTo>
                  <a:cubicBezTo>
                    <a:pt x="1176" y="909"/>
                    <a:pt x="1180" y="926"/>
                    <a:pt x="1184" y="941"/>
                  </a:cubicBezTo>
                  <a:cubicBezTo>
                    <a:pt x="1154" y="947"/>
                    <a:pt x="1124" y="952"/>
                    <a:pt x="1098" y="955"/>
                  </a:cubicBezTo>
                  <a:cubicBezTo>
                    <a:pt x="1095" y="955"/>
                    <a:pt x="1092" y="955"/>
                    <a:pt x="1089" y="956"/>
                  </a:cubicBezTo>
                  <a:moveTo>
                    <a:pt x="790" y="949"/>
                  </a:moveTo>
                  <a:cubicBezTo>
                    <a:pt x="782" y="942"/>
                    <a:pt x="776" y="936"/>
                    <a:pt x="772" y="932"/>
                  </a:cubicBezTo>
                  <a:cubicBezTo>
                    <a:pt x="763" y="912"/>
                    <a:pt x="754" y="893"/>
                    <a:pt x="745" y="873"/>
                  </a:cubicBezTo>
                  <a:cubicBezTo>
                    <a:pt x="752" y="881"/>
                    <a:pt x="759" y="890"/>
                    <a:pt x="767" y="899"/>
                  </a:cubicBezTo>
                  <a:cubicBezTo>
                    <a:pt x="774" y="916"/>
                    <a:pt x="782" y="933"/>
                    <a:pt x="790" y="949"/>
                  </a:cubicBezTo>
                  <a:moveTo>
                    <a:pt x="1195" y="939"/>
                  </a:moveTo>
                  <a:cubicBezTo>
                    <a:pt x="1191" y="923"/>
                    <a:pt x="1187" y="907"/>
                    <a:pt x="1184" y="890"/>
                  </a:cubicBezTo>
                  <a:cubicBezTo>
                    <a:pt x="1213" y="883"/>
                    <a:pt x="1242" y="874"/>
                    <a:pt x="1271" y="866"/>
                  </a:cubicBezTo>
                  <a:cubicBezTo>
                    <a:pt x="1276" y="865"/>
                    <a:pt x="1281" y="863"/>
                    <a:pt x="1287" y="862"/>
                  </a:cubicBezTo>
                  <a:cubicBezTo>
                    <a:pt x="1288" y="880"/>
                    <a:pt x="1291" y="898"/>
                    <a:pt x="1294" y="916"/>
                  </a:cubicBezTo>
                  <a:cubicBezTo>
                    <a:pt x="1289" y="917"/>
                    <a:pt x="1285" y="918"/>
                    <a:pt x="1281" y="919"/>
                  </a:cubicBezTo>
                  <a:cubicBezTo>
                    <a:pt x="1252" y="926"/>
                    <a:pt x="1223" y="933"/>
                    <a:pt x="1195" y="939"/>
                  </a:cubicBezTo>
                  <a:moveTo>
                    <a:pt x="952" y="941"/>
                  </a:moveTo>
                  <a:cubicBezTo>
                    <a:pt x="891" y="925"/>
                    <a:pt x="842" y="902"/>
                    <a:pt x="824" y="893"/>
                  </a:cubicBezTo>
                  <a:cubicBezTo>
                    <a:pt x="819" y="882"/>
                    <a:pt x="815" y="871"/>
                    <a:pt x="811" y="860"/>
                  </a:cubicBezTo>
                  <a:cubicBezTo>
                    <a:pt x="811" y="860"/>
                    <a:pt x="811" y="860"/>
                    <a:pt x="811" y="860"/>
                  </a:cubicBezTo>
                  <a:cubicBezTo>
                    <a:pt x="810" y="860"/>
                    <a:pt x="810" y="860"/>
                    <a:pt x="810" y="860"/>
                  </a:cubicBezTo>
                  <a:cubicBezTo>
                    <a:pt x="810" y="859"/>
                    <a:pt x="810" y="859"/>
                    <a:pt x="810" y="858"/>
                  </a:cubicBezTo>
                  <a:cubicBezTo>
                    <a:pt x="834" y="870"/>
                    <a:pt x="881" y="889"/>
                    <a:pt x="937" y="902"/>
                  </a:cubicBezTo>
                  <a:cubicBezTo>
                    <a:pt x="942" y="915"/>
                    <a:pt x="947" y="928"/>
                    <a:pt x="952" y="941"/>
                  </a:cubicBezTo>
                  <a:moveTo>
                    <a:pt x="1036" y="902"/>
                  </a:moveTo>
                  <a:cubicBezTo>
                    <a:pt x="1005" y="902"/>
                    <a:pt x="974" y="898"/>
                    <a:pt x="945" y="892"/>
                  </a:cubicBezTo>
                  <a:cubicBezTo>
                    <a:pt x="941" y="879"/>
                    <a:pt x="936" y="867"/>
                    <a:pt x="932" y="854"/>
                  </a:cubicBezTo>
                  <a:cubicBezTo>
                    <a:pt x="955" y="858"/>
                    <a:pt x="978" y="860"/>
                    <a:pt x="1003" y="860"/>
                  </a:cubicBezTo>
                  <a:cubicBezTo>
                    <a:pt x="1017" y="860"/>
                    <a:pt x="1032" y="860"/>
                    <a:pt x="1047" y="858"/>
                  </a:cubicBezTo>
                  <a:cubicBezTo>
                    <a:pt x="1051" y="872"/>
                    <a:pt x="1055" y="886"/>
                    <a:pt x="1060" y="901"/>
                  </a:cubicBezTo>
                  <a:cubicBezTo>
                    <a:pt x="1052" y="902"/>
                    <a:pt x="1044" y="902"/>
                    <a:pt x="1036" y="902"/>
                  </a:cubicBezTo>
                  <a:cubicBezTo>
                    <a:pt x="1036" y="902"/>
                    <a:pt x="1036" y="902"/>
                    <a:pt x="1036" y="902"/>
                  </a:cubicBezTo>
                  <a:moveTo>
                    <a:pt x="835" y="945"/>
                  </a:moveTo>
                  <a:cubicBezTo>
                    <a:pt x="825" y="939"/>
                    <a:pt x="816" y="931"/>
                    <a:pt x="808" y="924"/>
                  </a:cubicBezTo>
                  <a:cubicBezTo>
                    <a:pt x="796" y="897"/>
                    <a:pt x="785" y="871"/>
                    <a:pt x="775" y="846"/>
                  </a:cubicBezTo>
                  <a:cubicBezTo>
                    <a:pt x="783" y="853"/>
                    <a:pt x="792" y="860"/>
                    <a:pt x="801" y="868"/>
                  </a:cubicBezTo>
                  <a:cubicBezTo>
                    <a:pt x="805" y="877"/>
                    <a:pt x="809" y="886"/>
                    <a:pt x="813" y="896"/>
                  </a:cubicBezTo>
                  <a:cubicBezTo>
                    <a:pt x="811" y="900"/>
                    <a:pt x="811" y="900"/>
                    <a:pt x="811" y="900"/>
                  </a:cubicBezTo>
                  <a:cubicBezTo>
                    <a:pt x="811" y="900"/>
                    <a:pt x="813" y="901"/>
                    <a:pt x="815" y="902"/>
                  </a:cubicBezTo>
                  <a:cubicBezTo>
                    <a:pt x="821" y="916"/>
                    <a:pt x="828" y="931"/>
                    <a:pt x="835" y="945"/>
                  </a:cubicBezTo>
                  <a:moveTo>
                    <a:pt x="1071" y="900"/>
                  </a:moveTo>
                  <a:cubicBezTo>
                    <a:pt x="1067" y="885"/>
                    <a:pt x="1062" y="871"/>
                    <a:pt x="1058" y="856"/>
                  </a:cubicBezTo>
                  <a:cubicBezTo>
                    <a:pt x="1061" y="856"/>
                    <a:pt x="1063" y="855"/>
                    <a:pt x="1066" y="855"/>
                  </a:cubicBezTo>
                  <a:cubicBezTo>
                    <a:pt x="1096" y="850"/>
                    <a:pt x="1129" y="842"/>
                    <a:pt x="1163" y="832"/>
                  </a:cubicBezTo>
                  <a:cubicBezTo>
                    <a:pt x="1165" y="848"/>
                    <a:pt x="1168" y="864"/>
                    <a:pt x="1171" y="881"/>
                  </a:cubicBezTo>
                  <a:cubicBezTo>
                    <a:pt x="1139" y="889"/>
                    <a:pt x="1109" y="895"/>
                    <a:pt x="1081" y="899"/>
                  </a:cubicBezTo>
                  <a:cubicBezTo>
                    <a:pt x="1078" y="900"/>
                    <a:pt x="1074" y="900"/>
                    <a:pt x="1071" y="900"/>
                  </a:cubicBezTo>
                  <a:moveTo>
                    <a:pt x="786" y="902"/>
                  </a:moveTo>
                  <a:cubicBezTo>
                    <a:pt x="782" y="899"/>
                    <a:pt x="779" y="895"/>
                    <a:pt x="776" y="891"/>
                  </a:cubicBezTo>
                  <a:cubicBezTo>
                    <a:pt x="765" y="867"/>
                    <a:pt x="755" y="842"/>
                    <a:pt x="745" y="816"/>
                  </a:cubicBezTo>
                  <a:cubicBezTo>
                    <a:pt x="749" y="820"/>
                    <a:pt x="753" y="824"/>
                    <a:pt x="757" y="828"/>
                  </a:cubicBezTo>
                  <a:cubicBezTo>
                    <a:pt x="765" y="852"/>
                    <a:pt x="775" y="877"/>
                    <a:pt x="786" y="902"/>
                  </a:cubicBezTo>
                  <a:moveTo>
                    <a:pt x="932" y="889"/>
                  </a:moveTo>
                  <a:cubicBezTo>
                    <a:pt x="871" y="874"/>
                    <a:pt x="822" y="851"/>
                    <a:pt x="804" y="842"/>
                  </a:cubicBezTo>
                  <a:cubicBezTo>
                    <a:pt x="800" y="831"/>
                    <a:pt x="796" y="821"/>
                    <a:pt x="792" y="810"/>
                  </a:cubicBezTo>
                  <a:cubicBezTo>
                    <a:pt x="812" y="820"/>
                    <a:pt x="860" y="841"/>
                    <a:pt x="920" y="852"/>
                  </a:cubicBezTo>
                  <a:cubicBezTo>
                    <a:pt x="924" y="864"/>
                    <a:pt x="928" y="877"/>
                    <a:pt x="932" y="889"/>
                  </a:cubicBezTo>
                  <a:moveTo>
                    <a:pt x="976" y="806"/>
                  </a:moveTo>
                  <a:cubicBezTo>
                    <a:pt x="994" y="806"/>
                    <a:pt x="1014" y="805"/>
                    <a:pt x="1033" y="802"/>
                  </a:cubicBezTo>
                  <a:cubicBezTo>
                    <a:pt x="1036" y="816"/>
                    <a:pt x="1040" y="831"/>
                    <a:pt x="1044" y="846"/>
                  </a:cubicBezTo>
                  <a:cubicBezTo>
                    <a:pt x="1030" y="848"/>
                    <a:pt x="1016" y="848"/>
                    <a:pt x="1002" y="848"/>
                  </a:cubicBezTo>
                  <a:cubicBezTo>
                    <a:pt x="976" y="848"/>
                    <a:pt x="951" y="846"/>
                    <a:pt x="928" y="842"/>
                  </a:cubicBezTo>
                  <a:cubicBezTo>
                    <a:pt x="924" y="828"/>
                    <a:pt x="920" y="815"/>
                    <a:pt x="916" y="802"/>
                  </a:cubicBezTo>
                  <a:cubicBezTo>
                    <a:pt x="935" y="805"/>
                    <a:pt x="955" y="806"/>
                    <a:pt x="976" y="806"/>
                  </a:cubicBezTo>
                  <a:moveTo>
                    <a:pt x="1182" y="878"/>
                  </a:moveTo>
                  <a:cubicBezTo>
                    <a:pt x="1179" y="861"/>
                    <a:pt x="1176" y="844"/>
                    <a:pt x="1174" y="829"/>
                  </a:cubicBezTo>
                  <a:cubicBezTo>
                    <a:pt x="1202" y="820"/>
                    <a:pt x="1231" y="811"/>
                    <a:pt x="1260" y="802"/>
                  </a:cubicBezTo>
                  <a:cubicBezTo>
                    <a:pt x="1267" y="800"/>
                    <a:pt x="1274" y="797"/>
                    <a:pt x="1281" y="795"/>
                  </a:cubicBezTo>
                  <a:cubicBezTo>
                    <a:pt x="1283" y="812"/>
                    <a:pt x="1284" y="831"/>
                    <a:pt x="1286" y="850"/>
                  </a:cubicBezTo>
                  <a:cubicBezTo>
                    <a:pt x="1280" y="852"/>
                    <a:pt x="1274" y="853"/>
                    <a:pt x="1268" y="855"/>
                  </a:cubicBezTo>
                  <a:cubicBezTo>
                    <a:pt x="1239" y="863"/>
                    <a:pt x="1210" y="871"/>
                    <a:pt x="1182" y="878"/>
                  </a:cubicBezTo>
                  <a:moveTo>
                    <a:pt x="1055" y="845"/>
                  </a:moveTo>
                  <a:cubicBezTo>
                    <a:pt x="1051" y="829"/>
                    <a:pt x="1047" y="814"/>
                    <a:pt x="1044" y="800"/>
                  </a:cubicBezTo>
                  <a:cubicBezTo>
                    <a:pt x="1046" y="800"/>
                    <a:pt x="1048" y="799"/>
                    <a:pt x="1049" y="799"/>
                  </a:cubicBezTo>
                  <a:cubicBezTo>
                    <a:pt x="1081" y="792"/>
                    <a:pt x="1117" y="782"/>
                    <a:pt x="1154" y="770"/>
                  </a:cubicBezTo>
                  <a:cubicBezTo>
                    <a:pt x="1156" y="781"/>
                    <a:pt x="1157" y="793"/>
                    <a:pt x="1159" y="807"/>
                  </a:cubicBezTo>
                  <a:cubicBezTo>
                    <a:pt x="1160" y="811"/>
                    <a:pt x="1161" y="815"/>
                    <a:pt x="1161" y="820"/>
                  </a:cubicBezTo>
                  <a:cubicBezTo>
                    <a:pt x="1127" y="830"/>
                    <a:pt x="1094" y="838"/>
                    <a:pt x="1064" y="843"/>
                  </a:cubicBezTo>
                  <a:cubicBezTo>
                    <a:pt x="1061" y="844"/>
                    <a:pt x="1058" y="844"/>
                    <a:pt x="1055" y="845"/>
                  </a:cubicBezTo>
                  <a:moveTo>
                    <a:pt x="750" y="860"/>
                  </a:moveTo>
                  <a:cubicBezTo>
                    <a:pt x="737" y="842"/>
                    <a:pt x="728" y="827"/>
                    <a:pt x="725" y="823"/>
                  </a:cubicBezTo>
                  <a:cubicBezTo>
                    <a:pt x="717" y="803"/>
                    <a:pt x="710" y="783"/>
                    <a:pt x="703" y="763"/>
                  </a:cubicBezTo>
                  <a:cubicBezTo>
                    <a:pt x="709" y="772"/>
                    <a:pt x="716" y="782"/>
                    <a:pt x="724" y="792"/>
                  </a:cubicBezTo>
                  <a:cubicBezTo>
                    <a:pt x="733" y="815"/>
                    <a:pt x="741" y="838"/>
                    <a:pt x="750" y="860"/>
                  </a:cubicBezTo>
                  <a:moveTo>
                    <a:pt x="916" y="839"/>
                  </a:moveTo>
                  <a:cubicBezTo>
                    <a:pt x="842" y="824"/>
                    <a:pt x="790" y="796"/>
                    <a:pt x="787" y="794"/>
                  </a:cubicBezTo>
                  <a:cubicBezTo>
                    <a:pt x="783" y="784"/>
                    <a:pt x="780" y="774"/>
                    <a:pt x="777" y="765"/>
                  </a:cubicBezTo>
                  <a:cubicBezTo>
                    <a:pt x="777" y="765"/>
                    <a:pt x="777" y="765"/>
                    <a:pt x="777" y="765"/>
                  </a:cubicBezTo>
                  <a:cubicBezTo>
                    <a:pt x="777" y="765"/>
                    <a:pt x="777" y="765"/>
                    <a:pt x="777" y="765"/>
                  </a:cubicBezTo>
                  <a:cubicBezTo>
                    <a:pt x="777" y="764"/>
                    <a:pt x="777" y="763"/>
                    <a:pt x="776" y="762"/>
                  </a:cubicBezTo>
                  <a:cubicBezTo>
                    <a:pt x="802" y="773"/>
                    <a:pt x="848" y="791"/>
                    <a:pt x="904" y="800"/>
                  </a:cubicBezTo>
                  <a:cubicBezTo>
                    <a:pt x="904" y="801"/>
                    <a:pt x="905" y="802"/>
                    <a:pt x="905" y="803"/>
                  </a:cubicBezTo>
                  <a:cubicBezTo>
                    <a:pt x="908" y="815"/>
                    <a:pt x="912" y="827"/>
                    <a:pt x="916" y="839"/>
                  </a:cubicBezTo>
                  <a:moveTo>
                    <a:pt x="792" y="845"/>
                  </a:moveTo>
                  <a:cubicBezTo>
                    <a:pt x="783" y="837"/>
                    <a:pt x="774" y="829"/>
                    <a:pt x="766" y="821"/>
                  </a:cubicBezTo>
                  <a:cubicBezTo>
                    <a:pt x="757" y="795"/>
                    <a:pt x="749" y="770"/>
                    <a:pt x="742" y="747"/>
                  </a:cubicBezTo>
                  <a:cubicBezTo>
                    <a:pt x="750" y="755"/>
                    <a:pt x="759" y="763"/>
                    <a:pt x="768" y="771"/>
                  </a:cubicBezTo>
                  <a:cubicBezTo>
                    <a:pt x="775" y="795"/>
                    <a:pt x="783" y="819"/>
                    <a:pt x="793" y="845"/>
                  </a:cubicBezTo>
                  <a:cubicBezTo>
                    <a:pt x="792" y="845"/>
                    <a:pt x="792" y="845"/>
                    <a:pt x="792" y="845"/>
                  </a:cubicBezTo>
                  <a:moveTo>
                    <a:pt x="946" y="753"/>
                  </a:moveTo>
                  <a:cubicBezTo>
                    <a:pt x="970" y="753"/>
                    <a:pt x="995" y="751"/>
                    <a:pt x="1021" y="746"/>
                  </a:cubicBezTo>
                  <a:cubicBezTo>
                    <a:pt x="1024" y="759"/>
                    <a:pt x="1026" y="772"/>
                    <a:pt x="1029" y="786"/>
                  </a:cubicBezTo>
                  <a:cubicBezTo>
                    <a:pt x="1030" y="787"/>
                    <a:pt x="1030" y="789"/>
                    <a:pt x="1030" y="790"/>
                  </a:cubicBezTo>
                  <a:cubicBezTo>
                    <a:pt x="1012" y="793"/>
                    <a:pt x="994" y="794"/>
                    <a:pt x="976" y="794"/>
                  </a:cubicBezTo>
                  <a:cubicBezTo>
                    <a:pt x="954" y="794"/>
                    <a:pt x="933" y="792"/>
                    <a:pt x="913" y="789"/>
                  </a:cubicBezTo>
                  <a:cubicBezTo>
                    <a:pt x="909" y="776"/>
                    <a:pt x="906" y="763"/>
                    <a:pt x="903" y="751"/>
                  </a:cubicBezTo>
                  <a:cubicBezTo>
                    <a:pt x="917" y="752"/>
                    <a:pt x="931" y="753"/>
                    <a:pt x="946" y="753"/>
                  </a:cubicBezTo>
                  <a:moveTo>
                    <a:pt x="1172" y="817"/>
                  </a:moveTo>
                  <a:cubicBezTo>
                    <a:pt x="1171" y="813"/>
                    <a:pt x="1171" y="809"/>
                    <a:pt x="1170" y="805"/>
                  </a:cubicBezTo>
                  <a:cubicBezTo>
                    <a:pt x="1168" y="791"/>
                    <a:pt x="1167" y="778"/>
                    <a:pt x="1165" y="767"/>
                  </a:cubicBezTo>
                  <a:cubicBezTo>
                    <a:pt x="1193" y="757"/>
                    <a:pt x="1221" y="747"/>
                    <a:pt x="1249" y="737"/>
                  </a:cubicBezTo>
                  <a:cubicBezTo>
                    <a:pt x="1258" y="734"/>
                    <a:pt x="1267" y="731"/>
                    <a:pt x="1276" y="728"/>
                  </a:cubicBezTo>
                  <a:cubicBezTo>
                    <a:pt x="1277" y="736"/>
                    <a:pt x="1278" y="744"/>
                    <a:pt x="1278" y="751"/>
                  </a:cubicBezTo>
                  <a:cubicBezTo>
                    <a:pt x="1279" y="760"/>
                    <a:pt x="1280" y="771"/>
                    <a:pt x="1281" y="783"/>
                  </a:cubicBezTo>
                  <a:cubicBezTo>
                    <a:pt x="1273" y="785"/>
                    <a:pt x="1265" y="788"/>
                    <a:pt x="1257" y="790"/>
                  </a:cubicBezTo>
                  <a:cubicBezTo>
                    <a:pt x="1229" y="799"/>
                    <a:pt x="1200" y="808"/>
                    <a:pt x="1172" y="817"/>
                  </a:cubicBezTo>
                  <a:moveTo>
                    <a:pt x="901" y="787"/>
                  </a:moveTo>
                  <a:cubicBezTo>
                    <a:pt x="841" y="777"/>
                    <a:pt x="794" y="757"/>
                    <a:pt x="772" y="746"/>
                  </a:cubicBezTo>
                  <a:cubicBezTo>
                    <a:pt x="768" y="734"/>
                    <a:pt x="765" y="722"/>
                    <a:pt x="762" y="710"/>
                  </a:cubicBezTo>
                  <a:cubicBezTo>
                    <a:pt x="784" y="721"/>
                    <a:pt x="830" y="741"/>
                    <a:pt x="891" y="749"/>
                  </a:cubicBezTo>
                  <a:cubicBezTo>
                    <a:pt x="894" y="762"/>
                    <a:pt x="897" y="775"/>
                    <a:pt x="901" y="787"/>
                  </a:cubicBezTo>
                  <a:moveTo>
                    <a:pt x="747" y="801"/>
                  </a:moveTo>
                  <a:cubicBezTo>
                    <a:pt x="743" y="796"/>
                    <a:pt x="738" y="790"/>
                    <a:pt x="734" y="785"/>
                  </a:cubicBezTo>
                  <a:cubicBezTo>
                    <a:pt x="725" y="760"/>
                    <a:pt x="716" y="735"/>
                    <a:pt x="708" y="709"/>
                  </a:cubicBezTo>
                  <a:cubicBezTo>
                    <a:pt x="714" y="715"/>
                    <a:pt x="720" y="722"/>
                    <a:pt x="726" y="729"/>
                  </a:cubicBezTo>
                  <a:cubicBezTo>
                    <a:pt x="732" y="752"/>
                    <a:pt x="739" y="776"/>
                    <a:pt x="747" y="801"/>
                  </a:cubicBezTo>
                  <a:moveTo>
                    <a:pt x="1041" y="788"/>
                  </a:moveTo>
                  <a:cubicBezTo>
                    <a:pt x="1041" y="787"/>
                    <a:pt x="1041" y="785"/>
                    <a:pt x="1040" y="783"/>
                  </a:cubicBezTo>
                  <a:cubicBezTo>
                    <a:pt x="1037" y="770"/>
                    <a:pt x="1035" y="756"/>
                    <a:pt x="1032" y="743"/>
                  </a:cubicBezTo>
                  <a:cubicBezTo>
                    <a:pt x="1033" y="743"/>
                    <a:pt x="1033" y="743"/>
                    <a:pt x="1033" y="743"/>
                  </a:cubicBezTo>
                  <a:cubicBezTo>
                    <a:pt x="1067" y="735"/>
                    <a:pt x="1106" y="722"/>
                    <a:pt x="1146" y="708"/>
                  </a:cubicBezTo>
                  <a:cubicBezTo>
                    <a:pt x="1148" y="725"/>
                    <a:pt x="1150" y="742"/>
                    <a:pt x="1152" y="758"/>
                  </a:cubicBezTo>
                  <a:cubicBezTo>
                    <a:pt x="1115" y="770"/>
                    <a:pt x="1079" y="781"/>
                    <a:pt x="1047" y="787"/>
                  </a:cubicBezTo>
                  <a:cubicBezTo>
                    <a:pt x="1045" y="788"/>
                    <a:pt x="1043" y="788"/>
                    <a:pt x="1041" y="788"/>
                  </a:cubicBezTo>
                  <a:moveTo>
                    <a:pt x="920" y="700"/>
                  </a:moveTo>
                  <a:cubicBezTo>
                    <a:pt x="949" y="700"/>
                    <a:pt x="979" y="697"/>
                    <a:pt x="1011" y="688"/>
                  </a:cubicBezTo>
                  <a:cubicBezTo>
                    <a:pt x="1014" y="703"/>
                    <a:pt x="1016" y="718"/>
                    <a:pt x="1019" y="734"/>
                  </a:cubicBezTo>
                  <a:cubicBezTo>
                    <a:pt x="993" y="739"/>
                    <a:pt x="969" y="741"/>
                    <a:pt x="945" y="741"/>
                  </a:cubicBezTo>
                  <a:cubicBezTo>
                    <a:pt x="930" y="741"/>
                    <a:pt x="914" y="740"/>
                    <a:pt x="900" y="739"/>
                  </a:cubicBezTo>
                  <a:cubicBezTo>
                    <a:pt x="897" y="725"/>
                    <a:pt x="894" y="711"/>
                    <a:pt x="891" y="699"/>
                  </a:cubicBezTo>
                  <a:cubicBezTo>
                    <a:pt x="901" y="699"/>
                    <a:pt x="910" y="700"/>
                    <a:pt x="920" y="700"/>
                  </a:cubicBezTo>
                  <a:moveTo>
                    <a:pt x="757" y="745"/>
                  </a:moveTo>
                  <a:cubicBezTo>
                    <a:pt x="749" y="737"/>
                    <a:pt x="742" y="730"/>
                    <a:pt x="736" y="722"/>
                  </a:cubicBezTo>
                  <a:cubicBezTo>
                    <a:pt x="730" y="703"/>
                    <a:pt x="726" y="685"/>
                    <a:pt x="722" y="668"/>
                  </a:cubicBezTo>
                  <a:cubicBezTo>
                    <a:pt x="729" y="673"/>
                    <a:pt x="736" y="678"/>
                    <a:pt x="743" y="682"/>
                  </a:cubicBezTo>
                  <a:cubicBezTo>
                    <a:pt x="747" y="700"/>
                    <a:pt x="753" y="720"/>
                    <a:pt x="759" y="741"/>
                  </a:cubicBezTo>
                  <a:cubicBezTo>
                    <a:pt x="757" y="745"/>
                    <a:pt x="757" y="745"/>
                    <a:pt x="757" y="745"/>
                  </a:cubicBezTo>
                  <a:moveTo>
                    <a:pt x="1163" y="755"/>
                  </a:moveTo>
                  <a:cubicBezTo>
                    <a:pt x="1160" y="738"/>
                    <a:pt x="1158" y="721"/>
                    <a:pt x="1156" y="704"/>
                  </a:cubicBezTo>
                  <a:cubicBezTo>
                    <a:pt x="1184" y="694"/>
                    <a:pt x="1212" y="684"/>
                    <a:pt x="1239" y="673"/>
                  </a:cubicBezTo>
                  <a:cubicBezTo>
                    <a:pt x="1250" y="669"/>
                    <a:pt x="1261" y="665"/>
                    <a:pt x="1272" y="660"/>
                  </a:cubicBezTo>
                  <a:cubicBezTo>
                    <a:pt x="1273" y="679"/>
                    <a:pt x="1274" y="698"/>
                    <a:pt x="1275" y="716"/>
                  </a:cubicBezTo>
                  <a:cubicBezTo>
                    <a:pt x="1266" y="719"/>
                    <a:pt x="1256" y="723"/>
                    <a:pt x="1246" y="726"/>
                  </a:cubicBezTo>
                  <a:cubicBezTo>
                    <a:pt x="1218" y="736"/>
                    <a:pt x="1190" y="746"/>
                    <a:pt x="1163" y="755"/>
                  </a:cubicBezTo>
                  <a:moveTo>
                    <a:pt x="888" y="737"/>
                  </a:moveTo>
                  <a:cubicBezTo>
                    <a:pt x="821" y="727"/>
                    <a:pt x="772" y="703"/>
                    <a:pt x="758" y="695"/>
                  </a:cubicBezTo>
                  <a:cubicBezTo>
                    <a:pt x="754" y="682"/>
                    <a:pt x="751" y="670"/>
                    <a:pt x="749" y="658"/>
                  </a:cubicBezTo>
                  <a:cubicBezTo>
                    <a:pt x="771" y="670"/>
                    <a:pt x="818" y="691"/>
                    <a:pt x="880" y="698"/>
                  </a:cubicBezTo>
                  <a:cubicBezTo>
                    <a:pt x="882" y="710"/>
                    <a:pt x="885" y="723"/>
                    <a:pt x="888" y="737"/>
                  </a:cubicBezTo>
                  <a:moveTo>
                    <a:pt x="1030" y="732"/>
                  </a:moveTo>
                  <a:cubicBezTo>
                    <a:pt x="1027" y="716"/>
                    <a:pt x="1024" y="700"/>
                    <a:pt x="1022" y="685"/>
                  </a:cubicBezTo>
                  <a:cubicBezTo>
                    <a:pt x="1058" y="675"/>
                    <a:pt x="1098" y="661"/>
                    <a:pt x="1140" y="645"/>
                  </a:cubicBezTo>
                  <a:cubicBezTo>
                    <a:pt x="1141" y="661"/>
                    <a:pt x="1142" y="678"/>
                    <a:pt x="1144" y="696"/>
                  </a:cubicBezTo>
                  <a:cubicBezTo>
                    <a:pt x="1104" y="710"/>
                    <a:pt x="1065" y="723"/>
                    <a:pt x="1030" y="731"/>
                  </a:cubicBezTo>
                  <a:cubicBezTo>
                    <a:pt x="1030" y="732"/>
                    <a:pt x="1030" y="732"/>
                    <a:pt x="1030" y="732"/>
                  </a:cubicBezTo>
                  <a:moveTo>
                    <a:pt x="885" y="648"/>
                  </a:moveTo>
                  <a:cubicBezTo>
                    <a:pt x="919" y="648"/>
                    <a:pt x="957" y="644"/>
                    <a:pt x="999" y="631"/>
                  </a:cubicBezTo>
                  <a:cubicBezTo>
                    <a:pt x="1001" y="631"/>
                    <a:pt x="1002" y="630"/>
                    <a:pt x="1004" y="630"/>
                  </a:cubicBezTo>
                  <a:cubicBezTo>
                    <a:pt x="1005" y="644"/>
                    <a:pt x="1007" y="660"/>
                    <a:pt x="1010" y="676"/>
                  </a:cubicBezTo>
                  <a:cubicBezTo>
                    <a:pt x="978" y="685"/>
                    <a:pt x="948" y="688"/>
                    <a:pt x="921" y="688"/>
                  </a:cubicBezTo>
                  <a:cubicBezTo>
                    <a:pt x="910" y="688"/>
                    <a:pt x="899" y="687"/>
                    <a:pt x="889" y="686"/>
                  </a:cubicBezTo>
                  <a:cubicBezTo>
                    <a:pt x="886" y="673"/>
                    <a:pt x="884" y="660"/>
                    <a:pt x="882" y="648"/>
                  </a:cubicBezTo>
                  <a:cubicBezTo>
                    <a:pt x="883" y="648"/>
                    <a:pt x="884" y="648"/>
                    <a:pt x="885" y="648"/>
                  </a:cubicBezTo>
                  <a:moveTo>
                    <a:pt x="877" y="685"/>
                  </a:moveTo>
                  <a:cubicBezTo>
                    <a:pt x="808" y="677"/>
                    <a:pt x="759" y="651"/>
                    <a:pt x="745" y="643"/>
                  </a:cubicBezTo>
                  <a:cubicBezTo>
                    <a:pt x="743" y="633"/>
                    <a:pt x="741" y="624"/>
                    <a:pt x="740" y="615"/>
                  </a:cubicBezTo>
                  <a:cubicBezTo>
                    <a:pt x="759" y="625"/>
                    <a:pt x="805" y="646"/>
                    <a:pt x="871" y="648"/>
                  </a:cubicBezTo>
                  <a:cubicBezTo>
                    <a:pt x="873" y="660"/>
                    <a:pt x="875" y="672"/>
                    <a:pt x="877" y="685"/>
                  </a:cubicBezTo>
                  <a:moveTo>
                    <a:pt x="739" y="665"/>
                  </a:moveTo>
                  <a:cubicBezTo>
                    <a:pt x="732" y="660"/>
                    <a:pt x="725" y="655"/>
                    <a:pt x="718" y="649"/>
                  </a:cubicBezTo>
                  <a:cubicBezTo>
                    <a:pt x="715" y="631"/>
                    <a:pt x="712" y="615"/>
                    <a:pt x="709" y="601"/>
                  </a:cubicBezTo>
                  <a:cubicBezTo>
                    <a:pt x="715" y="605"/>
                    <a:pt x="721" y="609"/>
                    <a:pt x="728" y="613"/>
                  </a:cubicBezTo>
                  <a:cubicBezTo>
                    <a:pt x="730" y="624"/>
                    <a:pt x="733" y="637"/>
                    <a:pt x="736" y="650"/>
                  </a:cubicBezTo>
                  <a:cubicBezTo>
                    <a:pt x="735" y="651"/>
                    <a:pt x="735" y="651"/>
                    <a:pt x="735" y="651"/>
                  </a:cubicBezTo>
                  <a:cubicBezTo>
                    <a:pt x="736" y="651"/>
                    <a:pt x="736" y="651"/>
                    <a:pt x="736" y="651"/>
                  </a:cubicBezTo>
                  <a:cubicBezTo>
                    <a:pt x="737" y="656"/>
                    <a:pt x="738" y="660"/>
                    <a:pt x="739" y="665"/>
                  </a:cubicBezTo>
                  <a:moveTo>
                    <a:pt x="1155" y="692"/>
                  </a:moveTo>
                  <a:cubicBezTo>
                    <a:pt x="1153" y="674"/>
                    <a:pt x="1152" y="657"/>
                    <a:pt x="1150" y="640"/>
                  </a:cubicBezTo>
                  <a:cubicBezTo>
                    <a:pt x="1176" y="630"/>
                    <a:pt x="1203" y="619"/>
                    <a:pt x="1229" y="609"/>
                  </a:cubicBezTo>
                  <a:cubicBezTo>
                    <a:pt x="1242" y="603"/>
                    <a:pt x="1255" y="598"/>
                    <a:pt x="1269" y="592"/>
                  </a:cubicBezTo>
                  <a:cubicBezTo>
                    <a:pt x="1269" y="610"/>
                    <a:pt x="1270" y="629"/>
                    <a:pt x="1271" y="648"/>
                  </a:cubicBezTo>
                  <a:cubicBezTo>
                    <a:pt x="1259" y="653"/>
                    <a:pt x="1247" y="657"/>
                    <a:pt x="1235" y="662"/>
                  </a:cubicBezTo>
                  <a:cubicBezTo>
                    <a:pt x="1209" y="672"/>
                    <a:pt x="1182" y="682"/>
                    <a:pt x="1155" y="692"/>
                  </a:cubicBezTo>
                  <a:moveTo>
                    <a:pt x="1021" y="673"/>
                  </a:moveTo>
                  <a:cubicBezTo>
                    <a:pt x="1018" y="656"/>
                    <a:pt x="1016" y="641"/>
                    <a:pt x="1015" y="626"/>
                  </a:cubicBezTo>
                  <a:cubicBezTo>
                    <a:pt x="1052" y="614"/>
                    <a:pt x="1094" y="598"/>
                    <a:pt x="1136" y="580"/>
                  </a:cubicBezTo>
                  <a:cubicBezTo>
                    <a:pt x="1136" y="595"/>
                    <a:pt x="1137" y="613"/>
                    <a:pt x="1139" y="632"/>
                  </a:cubicBezTo>
                  <a:cubicBezTo>
                    <a:pt x="1097" y="649"/>
                    <a:pt x="1057" y="663"/>
                    <a:pt x="1021" y="673"/>
                  </a:cubicBezTo>
                  <a:moveTo>
                    <a:pt x="878" y="586"/>
                  </a:moveTo>
                  <a:cubicBezTo>
                    <a:pt x="911" y="586"/>
                    <a:pt x="945" y="583"/>
                    <a:pt x="981" y="577"/>
                  </a:cubicBezTo>
                  <a:cubicBezTo>
                    <a:pt x="987" y="576"/>
                    <a:pt x="993" y="575"/>
                    <a:pt x="999" y="574"/>
                  </a:cubicBezTo>
                  <a:cubicBezTo>
                    <a:pt x="1000" y="586"/>
                    <a:pt x="1001" y="601"/>
                    <a:pt x="1003" y="618"/>
                  </a:cubicBezTo>
                  <a:cubicBezTo>
                    <a:pt x="1001" y="618"/>
                    <a:pt x="998" y="619"/>
                    <a:pt x="996" y="620"/>
                  </a:cubicBezTo>
                  <a:cubicBezTo>
                    <a:pt x="956" y="632"/>
                    <a:pt x="919" y="636"/>
                    <a:pt x="887" y="636"/>
                  </a:cubicBezTo>
                  <a:cubicBezTo>
                    <a:pt x="885" y="636"/>
                    <a:pt x="882" y="636"/>
                    <a:pt x="880" y="636"/>
                  </a:cubicBezTo>
                  <a:cubicBezTo>
                    <a:pt x="877" y="615"/>
                    <a:pt x="875" y="598"/>
                    <a:pt x="874" y="586"/>
                  </a:cubicBezTo>
                  <a:cubicBezTo>
                    <a:pt x="876" y="586"/>
                    <a:pt x="877" y="586"/>
                    <a:pt x="878" y="586"/>
                  </a:cubicBezTo>
                  <a:moveTo>
                    <a:pt x="887" y="572"/>
                  </a:moveTo>
                  <a:cubicBezTo>
                    <a:pt x="895" y="572"/>
                    <a:pt x="902" y="572"/>
                    <a:pt x="909" y="572"/>
                  </a:cubicBezTo>
                  <a:cubicBezTo>
                    <a:pt x="911" y="572"/>
                    <a:pt x="914" y="572"/>
                    <a:pt x="916" y="573"/>
                  </a:cubicBezTo>
                  <a:cubicBezTo>
                    <a:pt x="903" y="573"/>
                    <a:pt x="891" y="574"/>
                    <a:pt x="879" y="574"/>
                  </a:cubicBezTo>
                  <a:cubicBezTo>
                    <a:pt x="877" y="574"/>
                    <a:pt x="875" y="574"/>
                    <a:pt x="873" y="574"/>
                  </a:cubicBezTo>
                  <a:cubicBezTo>
                    <a:pt x="873" y="573"/>
                    <a:pt x="873" y="572"/>
                    <a:pt x="873" y="572"/>
                  </a:cubicBezTo>
                  <a:cubicBezTo>
                    <a:pt x="878" y="572"/>
                    <a:pt x="883" y="572"/>
                    <a:pt x="887" y="572"/>
                  </a:cubicBezTo>
                  <a:moveTo>
                    <a:pt x="919" y="572"/>
                  </a:moveTo>
                  <a:cubicBezTo>
                    <a:pt x="919" y="571"/>
                    <a:pt x="919" y="571"/>
                    <a:pt x="919" y="571"/>
                  </a:cubicBezTo>
                  <a:cubicBezTo>
                    <a:pt x="922" y="571"/>
                    <a:pt x="924" y="571"/>
                    <a:pt x="927" y="571"/>
                  </a:cubicBezTo>
                  <a:cubicBezTo>
                    <a:pt x="928" y="571"/>
                    <a:pt x="929" y="571"/>
                    <a:pt x="930" y="571"/>
                  </a:cubicBezTo>
                  <a:cubicBezTo>
                    <a:pt x="926" y="572"/>
                    <a:pt x="923" y="572"/>
                    <a:pt x="919" y="572"/>
                  </a:cubicBezTo>
                  <a:moveTo>
                    <a:pt x="862" y="573"/>
                  </a:moveTo>
                  <a:cubicBezTo>
                    <a:pt x="858" y="573"/>
                    <a:pt x="853" y="573"/>
                    <a:pt x="849" y="573"/>
                  </a:cubicBezTo>
                  <a:cubicBezTo>
                    <a:pt x="849" y="571"/>
                    <a:pt x="849" y="571"/>
                    <a:pt x="849" y="571"/>
                  </a:cubicBezTo>
                  <a:cubicBezTo>
                    <a:pt x="854" y="571"/>
                    <a:pt x="858" y="571"/>
                    <a:pt x="862" y="571"/>
                  </a:cubicBezTo>
                  <a:cubicBezTo>
                    <a:pt x="862" y="572"/>
                    <a:pt x="862" y="573"/>
                    <a:pt x="862" y="573"/>
                  </a:cubicBezTo>
                  <a:moveTo>
                    <a:pt x="964" y="568"/>
                  </a:moveTo>
                  <a:cubicBezTo>
                    <a:pt x="964" y="568"/>
                    <a:pt x="964" y="568"/>
                    <a:pt x="964" y="568"/>
                  </a:cubicBezTo>
                  <a:cubicBezTo>
                    <a:pt x="965" y="567"/>
                    <a:pt x="966" y="567"/>
                    <a:pt x="967" y="567"/>
                  </a:cubicBezTo>
                  <a:cubicBezTo>
                    <a:pt x="966" y="567"/>
                    <a:pt x="965" y="568"/>
                    <a:pt x="964" y="568"/>
                  </a:cubicBezTo>
                  <a:moveTo>
                    <a:pt x="869" y="636"/>
                  </a:moveTo>
                  <a:cubicBezTo>
                    <a:pt x="793" y="632"/>
                    <a:pt x="744" y="604"/>
                    <a:pt x="737" y="600"/>
                  </a:cubicBezTo>
                  <a:cubicBezTo>
                    <a:pt x="734" y="581"/>
                    <a:pt x="732" y="568"/>
                    <a:pt x="730" y="560"/>
                  </a:cubicBezTo>
                  <a:cubicBezTo>
                    <a:pt x="769" y="576"/>
                    <a:pt x="813" y="584"/>
                    <a:pt x="863" y="586"/>
                  </a:cubicBezTo>
                  <a:cubicBezTo>
                    <a:pt x="864" y="598"/>
                    <a:pt x="866" y="615"/>
                    <a:pt x="869" y="636"/>
                  </a:cubicBezTo>
                  <a:moveTo>
                    <a:pt x="845" y="573"/>
                  </a:moveTo>
                  <a:cubicBezTo>
                    <a:pt x="803" y="570"/>
                    <a:pt x="765" y="561"/>
                    <a:pt x="732" y="548"/>
                  </a:cubicBezTo>
                  <a:cubicBezTo>
                    <a:pt x="763" y="558"/>
                    <a:pt x="796" y="565"/>
                    <a:pt x="830" y="569"/>
                  </a:cubicBezTo>
                  <a:cubicBezTo>
                    <a:pt x="835" y="570"/>
                    <a:pt x="840" y="571"/>
                    <a:pt x="845" y="573"/>
                  </a:cubicBezTo>
                  <a:moveTo>
                    <a:pt x="725" y="597"/>
                  </a:moveTo>
                  <a:cubicBezTo>
                    <a:pt x="718" y="593"/>
                    <a:pt x="712" y="589"/>
                    <a:pt x="707" y="585"/>
                  </a:cubicBezTo>
                  <a:cubicBezTo>
                    <a:pt x="704" y="568"/>
                    <a:pt x="702" y="555"/>
                    <a:pt x="701" y="546"/>
                  </a:cubicBezTo>
                  <a:cubicBezTo>
                    <a:pt x="707" y="549"/>
                    <a:pt x="713" y="552"/>
                    <a:pt x="718" y="555"/>
                  </a:cubicBezTo>
                  <a:cubicBezTo>
                    <a:pt x="719" y="559"/>
                    <a:pt x="721" y="574"/>
                    <a:pt x="725" y="597"/>
                  </a:cubicBezTo>
                  <a:moveTo>
                    <a:pt x="1014" y="614"/>
                  </a:moveTo>
                  <a:cubicBezTo>
                    <a:pt x="1012" y="597"/>
                    <a:pt x="1011" y="583"/>
                    <a:pt x="1011" y="572"/>
                  </a:cubicBezTo>
                  <a:cubicBezTo>
                    <a:pt x="1045" y="566"/>
                    <a:pt x="1087" y="555"/>
                    <a:pt x="1136" y="540"/>
                  </a:cubicBezTo>
                  <a:cubicBezTo>
                    <a:pt x="1136" y="545"/>
                    <a:pt x="1135" y="551"/>
                    <a:pt x="1135" y="559"/>
                  </a:cubicBezTo>
                  <a:cubicBezTo>
                    <a:pt x="1135" y="562"/>
                    <a:pt x="1135" y="564"/>
                    <a:pt x="1136" y="567"/>
                  </a:cubicBezTo>
                  <a:cubicBezTo>
                    <a:pt x="1093" y="585"/>
                    <a:pt x="1051" y="602"/>
                    <a:pt x="1014" y="614"/>
                  </a:cubicBezTo>
                  <a:moveTo>
                    <a:pt x="1149" y="628"/>
                  </a:moveTo>
                  <a:cubicBezTo>
                    <a:pt x="1148" y="608"/>
                    <a:pt x="1147" y="590"/>
                    <a:pt x="1147" y="575"/>
                  </a:cubicBezTo>
                  <a:cubicBezTo>
                    <a:pt x="1171" y="565"/>
                    <a:pt x="1195" y="555"/>
                    <a:pt x="1219" y="544"/>
                  </a:cubicBezTo>
                  <a:cubicBezTo>
                    <a:pt x="1235" y="537"/>
                    <a:pt x="1251" y="530"/>
                    <a:pt x="1267" y="523"/>
                  </a:cubicBezTo>
                  <a:cubicBezTo>
                    <a:pt x="1267" y="525"/>
                    <a:pt x="1267" y="527"/>
                    <a:pt x="1267" y="529"/>
                  </a:cubicBezTo>
                  <a:cubicBezTo>
                    <a:pt x="1267" y="543"/>
                    <a:pt x="1268" y="561"/>
                    <a:pt x="1268" y="579"/>
                  </a:cubicBezTo>
                  <a:cubicBezTo>
                    <a:pt x="1254" y="585"/>
                    <a:pt x="1239" y="591"/>
                    <a:pt x="1225" y="597"/>
                  </a:cubicBezTo>
                  <a:cubicBezTo>
                    <a:pt x="1200" y="608"/>
                    <a:pt x="1174" y="618"/>
                    <a:pt x="1149" y="628"/>
                  </a:cubicBezTo>
                  <a:moveTo>
                    <a:pt x="951" y="563"/>
                  </a:moveTo>
                  <a:cubicBezTo>
                    <a:pt x="903" y="556"/>
                    <a:pt x="853" y="541"/>
                    <a:pt x="801" y="519"/>
                  </a:cubicBezTo>
                  <a:cubicBezTo>
                    <a:pt x="823" y="521"/>
                    <a:pt x="845" y="523"/>
                    <a:pt x="868" y="524"/>
                  </a:cubicBezTo>
                  <a:cubicBezTo>
                    <a:pt x="904" y="540"/>
                    <a:pt x="939" y="553"/>
                    <a:pt x="974" y="560"/>
                  </a:cubicBezTo>
                  <a:cubicBezTo>
                    <a:pt x="966" y="561"/>
                    <a:pt x="959" y="562"/>
                    <a:pt x="951" y="563"/>
                  </a:cubicBezTo>
                  <a:moveTo>
                    <a:pt x="999" y="553"/>
                  </a:moveTo>
                  <a:cubicBezTo>
                    <a:pt x="966" y="548"/>
                    <a:pt x="933" y="538"/>
                    <a:pt x="898" y="524"/>
                  </a:cubicBezTo>
                  <a:cubicBezTo>
                    <a:pt x="930" y="524"/>
                    <a:pt x="964" y="522"/>
                    <a:pt x="998" y="517"/>
                  </a:cubicBezTo>
                  <a:cubicBezTo>
                    <a:pt x="1023" y="528"/>
                    <a:pt x="1048" y="536"/>
                    <a:pt x="1072" y="541"/>
                  </a:cubicBezTo>
                  <a:cubicBezTo>
                    <a:pt x="1052" y="547"/>
                    <a:pt x="1031" y="551"/>
                    <a:pt x="1010" y="555"/>
                  </a:cubicBezTo>
                  <a:cubicBezTo>
                    <a:pt x="1010" y="553"/>
                    <a:pt x="1010" y="552"/>
                    <a:pt x="1010" y="551"/>
                  </a:cubicBezTo>
                  <a:cubicBezTo>
                    <a:pt x="1005" y="549"/>
                    <a:pt x="1005" y="549"/>
                    <a:pt x="1005" y="549"/>
                  </a:cubicBezTo>
                  <a:cubicBezTo>
                    <a:pt x="1000" y="546"/>
                    <a:pt x="1000" y="546"/>
                    <a:pt x="1000" y="546"/>
                  </a:cubicBezTo>
                  <a:cubicBezTo>
                    <a:pt x="1000" y="547"/>
                    <a:pt x="999" y="549"/>
                    <a:pt x="999" y="553"/>
                  </a:cubicBezTo>
                  <a:moveTo>
                    <a:pt x="807" y="534"/>
                  </a:moveTo>
                  <a:cubicBezTo>
                    <a:pt x="788" y="527"/>
                    <a:pt x="769" y="520"/>
                    <a:pt x="751" y="512"/>
                  </a:cubicBezTo>
                  <a:cubicBezTo>
                    <a:pt x="754" y="512"/>
                    <a:pt x="758" y="513"/>
                    <a:pt x="761" y="514"/>
                  </a:cubicBezTo>
                  <a:cubicBezTo>
                    <a:pt x="776" y="521"/>
                    <a:pt x="792" y="528"/>
                    <a:pt x="807" y="534"/>
                  </a:cubicBezTo>
                  <a:moveTo>
                    <a:pt x="1089" y="537"/>
                  </a:moveTo>
                  <a:cubicBezTo>
                    <a:pt x="1090" y="533"/>
                    <a:pt x="1090" y="533"/>
                    <a:pt x="1090" y="533"/>
                  </a:cubicBezTo>
                  <a:cubicBezTo>
                    <a:pt x="1067" y="529"/>
                    <a:pt x="1044" y="522"/>
                    <a:pt x="1020" y="513"/>
                  </a:cubicBezTo>
                  <a:cubicBezTo>
                    <a:pt x="1040" y="510"/>
                    <a:pt x="1061" y="505"/>
                    <a:pt x="1081" y="500"/>
                  </a:cubicBezTo>
                  <a:cubicBezTo>
                    <a:pt x="1101" y="509"/>
                    <a:pt x="1120" y="517"/>
                    <a:pt x="1140" y="522"/>
                  </a:cubicBezTo>
                  <a:cubicBezTo>
                    <a:pt x="1123" y="527"/>
                    <a:pt x="1106" y="532"/>
                    <a:pt x="1089" y="537"/>
                  </a:cubicBezTo>
                  <a:moveTo>
                    <a:pt x="1335" y="494"/>
                  </a:moveTo>
                  <a:cubicBezTo>
                    <a:pt x="1297" y="494"/>
                    <a:pt x="1297" y="494"/>
                    <a:pt x="1297" y="494"/>
                  </a:cubicBezTo>
                  <a:cubicBezTo>
                    <a:pt x="1298" y="495"/>
                    <a:pt x="1299" y="495"/>
                    <a:pt x="1301" y="496"/>
                  </a:cubicBezTo>
                  <a:cubicBezTo>
                    <a:pt x="1293" y="499"/>
                    <a:pt x="1286" y="502"/>
                    <a:pt x="1279" y="505"/>
                  </a:cubicBezTo>
                  <a:cubicBezTo>
                    <a:pt x="1279" y="501"/>
                    <a:pt x="1279" y="497"/>
                    <a:pt x="1279" y="494"/>
                  </a:cubicBezTo>
                  <a:cubicBezTo>
                    <a:pt x="1268" y="494"/>
                    <a:pt x="1268" y="494"/>
                    <a:pt x="1268" y="494"/>
                  </a:cubicBezTo>
                  <a:cubicBezTo>
                    <a:pt x="1268" y="499"/>
                    <a:pt x="1268" y="504"/>
                    <a:pt x="1268" y="510"/>
                  </a:cubicBezTo>
                  <a:cubicBezTo>
                    <a:pt x="1250" y="517"/>
                    <a:pt x="1232" y="525"/>
                    <a:pt x="1214" y="533"/>
                  </a:cubicBezTo>
                  <a:cubicBezTo>
                    <a:pt x="1192" y="543"/>
                    <a:pt x="1169" y="553"/>
                    <a:pt x="1146" y="563"/>
                  </a:cubicBezTo>
                  <a:cubicBezTo>
                    <a:pt x="1146" y="560"/>
                    <a:pt x="1146" y="557"/>
                    <a:pt x="1146" y="555"/>
                  </a:cubicBezTo>
                  <a:cubicBezTo>
                    <a:pt x="1146" y="546"/>
                    <a:pt x="1147" y="540"/>
                    <a:pt x="1147" y="537"/>
                  </a:cubicBezTo>
                  <a:cubicBezTo>
                    <a:pt x="1182" y="525"/>
                    <a:pt x="1220" y="511"/>
                    <a:pt x="1262" y="494"/>
                  </a:cubicBezTo>
                  <a:cubicBezTo>
                    <a:pt x="1213" y="494"/>
                    <a:pt x="1213" y="494"/>
                    <a:pt x="1213" y="494"/>
                  </a:cubicBezTo>
                  <a:cubicBezTo>
                    <a:pt x="1214" y="495"/>
                    <a:pt x="1215" y="495"/>
                    <a:pt x="1216" y="496"/>
                  </a:cubicBezTo>
                  <a:cubicBezTo>
                    <a:pt x="1197" y="503"/>
                    <a:pt x="1178" y="510"/>
                    <a:pt x="1158" y="516"/>
                  </a:cubicBezTo>
                  <a:cubicBezTo>
                    <a:pt x="1158" y="514"/>
                    <a:pt x="1158" y="514"/>
                    <a:pt x="1158" y="514"/>
                  </a:cubicBezTo>
                  <a:cubicBezTo>
                    <a:pt x="1139" y="510"/>
                    <a:pt x="1119" y="504"/>
                    <a:pt x="1099" y="495"/>
                  </a:cubicBezTo>
                  <a:cubicBezTo>
                    <a:pt x="1099" y="495"/>
                    <a:pt x="1100" y="495"/>
                    <a:pt x="1101" y="494"/>
                  </a:cubicBezTo>
                  <a:cubicBezTo>
                    <a:pt x="1054" y="494"/>
                    <a:pt x="1054" y="494"/>
                    <a:pt x="1054" y="494"/>
                  </a:cubicBezTo>
                  <a:cubicBezTo>
                    <a:pt x="1036" y="499"/>
                    <a:pt x="1017" y="502"/>
                    <a:pt x="999" y="504"/>
                  </a:cubicBezTo>
                  <a:cubicBezTo>
                    <a:pt x="992" y="501"/>
                    <a:pt x="985" y="498"/>
                    <a:pt x="977" y="494"/>
                  </a:cubicBezTo>
                  <a:cubicBezTo>
                    <a:pt x="952" y="494"/>
                    <a:pt x="952" y="494"/>
                    <a:pt x="952" y="494"/>
                  </a:cubicBezTo>
                  <a:cubicBezTo>
                    <a:pt x="960" y="499"/>
                    <a:pt x="969" y="503"/>
                    <a:pt x="977" y="507"/>
                  </a:cubicBezTo>
                  <a:cubicBezTo>
                    <a:pt x="948" y="511"/>
                    <a:pt x="920" y="512"/>
                    <a:pt x="893" y="512"/>
                  </a:cubicBezTo>
                  <a:cubicBezTo>
                    <a:pt x="885" y="512"/>
                    <a:pt x="877" y="512"/>
                    <a:pt x="870" y="512"/>
                  </a:cubicBezTo>
                  <a:cubicBezTo>
                    <a:pt x="858" y="506"/>
                    <a:pt x="847" y="501"/>
                    <a:pt x="835" y="494"/>
                  </a:cubicBezTo>
                  <a:cubicBezTo>
                    <a:pt x="811" y="494"/>
                    <a:pt x="811" y="494"/>
                    <a:pt x="811" y="494"/>
                  </a:cubicBezTo>
                  <a:cubicBezTo>
                    <a:pt x="821" y="500"/>
                    <a:pt x="831" y="505"/>
                    <a:pt x="841" y="510"/>
                  </a:cubicBezTo>
                  <a:cubicBezTo>
                    <a:pt x="814" y="509"/>
                    <a:pt x="788" y="506"/>
                    <a:pt x="764" y="502"/>
                  </a:cubicBezTo>
                  <a:cubicBezTo>
                    <a:pt x="759" y="499"/>
                    <a:pt x="754" y="497"/>
                    <a:pt x="749" y="494"/>
                  </a:cubicBezTo>
                  <a:cubicBezTo>
                    <a:pt x="723" y="494"/>
                    <a:pt x="723" y="494"/>
                    <a:pt x="723" y="494"/>
                  </a:cubicBezTo>
                  <a:cubicBezTo>
                    <a:pt x="723" y="494"/>
                    <a:pt x="724" y="495"/>
                    <a:pt x="724" y="495"/>
                  </a:cubicBezTo>
                  <a:cubicBezTo>
                    <a:pt x="723" y="495"/>
                    <a:pt x="723" y="494"/>
                    <a:pt x="722" y="494"/>
                  </a:cubicBezTo>
                  <a:cubicBezTo>
                    <a:pt x="698" y="494"/>
                    <a:pt x="698" y="494"/>
                    <a:pt x="698" y="494"/>
                  </a:cubicBezTo>
                  <a:cubicBezTo>
                    <a:pt x="698" y="501"/>
                    <a:pt x="698" y="501"/>
                    <a:pt x="698" y="501"/>
                  </a:cubicBezTo>
                  <a:cubicBezTo>
                    <a:pt x="700" y="502"/>
                    <a:pt x="702" y="502"/>
                    <a:pt x="703" y="502"/>
                  </a:cubicBezTo>
                  <a:cubicBezTo>
                    <a:pt x="759" y="530"/>
                    <a:pt x="815" y="552"/>
                    <a:pt x="870" y="565"/>
                  </a:cubicBezTo>
                  <a:cubicBezTo>
                    <a:pt x="868" y="564"/>
                    <a:pt x="866" y="564"/>
                    <a:pt x="864" y="564"/>
                  </a:cubicBezTo>
                  <a:cubicBezTo>
                    <a:pt x="863" y="563"/>
                    <a:pt x="863" y="563"/>
                    <a:pt x="863" y="563"/>
                  </a:cubicBezTo>
                  <a:cubicBezTo>
                    <a:pt x="863" y="564"/>
                    <a:pt x="863" y="564"/>
                    <a:pt x="863" y="564"/>
                  </a:cubicBezTo>
                  <a:cubicBezTo>
                    <a:pt x="859" y="564"/>
                    <a:pt x="855" y="564"/>
                    <a:pt x="851" y="563"/>
                  </a:cubicBezTo>
                  <a:cubicBezTo>
                    <a:pt x="851" y="562"/>
                    <a:pt x="851" y="562"/>
                    <a:pt x="851" y="562"/>
                  </a:cubicBezTo>
                  <a:cubicBezTo>
                    <a:pt x="807" y="552"/>
                    <a:pt x="765" y="538"/>
                    <a:pt x="724" y="523"/>
                  </a:cubicBezTo>
                  <a:cubicBezTo>
                    <a:pt x="725" y="517"/>
                    <a:pt x="725" y="517"/>
                    <a:pt x="725" y="517"/>
                  </a:cubicBezTo>
                  <a:cubicBezTo>
                    <a:pt x="716" y="515"/>
                    <a:pt x="707" y="512"/>
                    <a:pt x="698" y="509"/>
                  </a:cubicBezTo>
                  <a:cubicBezTo>
                    <a:pt x="698" y="604"/>
                    <a:pt x="698" y="604"/>
                    <a:pt x="698" y="604"/>
                  </a:cubicBezTo>
                  <a:cubicBezTo>
                    <a:pt x="700" y="614"/>
                    <a:pt x="702" y="625"/>
                    <a:pt x="704" y="636"/>
                  </a:cubicBezTo>
                  <a:cubicBezTo>
                    <a:pt x="702" y="634"/>
                    <a:pt x="700" y="632"/>
                    <a:pt x="698" y="630"/>
                  </a:cubicBezTo>
                  <a:cubicBezTo>
                    <a:pt x="698" y="647"/>
                    <a:pt x="698" y="647"/>
                    <a:pt x="698" y="647"/>
                  </a:cubicBezTo>
                  <a:cubicBezTo>
                    <a:pt x="701" y="650"/>
                    <a:pt x="705" y="653"/>
                    <a:pt x="708" y="656"/>
                  </a:cubicBezTo>
                  <a:cubicBezTo>
                    <a:pt x="711" y="671"/>
                    <a:pt x="715" y="687"/>
                    <a:pt x="719" y="703"/>
                  </a:cubicBezTo>
                  <a:cubicBezTo>
                    <a:pt x="712" y="695"/>
                    <a:pt x="705" y="686"/>
                    <a:pt x="699" y="678"/>
                  </a:cubicBezTo>
                  <a:cubicBezTo>
                    <a:pt x="699" y="677"/>
                    <a:pt x="699" y="676"/>
                    <a:pt x="698" y="675"/>
                  </a:cubicBezTo>
                  <a:cubicBezTo>
                    <a:pt x="698" y="714"/>
                    <a:pt x="698" y="714"/>
                    <a:pt x="698" y="714"/>
                  </a:cubicBezTo>
                  <a:cubicBezTo>
                    <a:pt x="703" y="728"/>
                    <a:pt x="707" y="742"/>
                    <a:pt x="712" y="755"/>
                  </a:cubicBezTo>
                  <a:cubicBezTo>
                    <a:pt x="706" y="748"/>
                    <a:pt x="702" y="741"/>
                    <a:pt x="698" y="735"/>
                  </a:cubicBezTo>
                  <a:cubicBezTo>
                    <a:pt x="698" y="784"/>
                    <a:pt x="698" y="784"/>
                    <a:pt x="698" y="784"/>
                  </a:cubicBezTo>
                  <a:cubicBezTo>
                    <a:pt x="704" y="799"/>
                    <a:pt x="709" y="813"/>
                    <a:pt x="715" y="827"/>
                  </a:cubicBezTo>
                  <a:cubicBezTo>
                    <a:pt x="714" y="827"/>
                    <a:pt x="714" y="827"/>
                    <a:pt x="714" y="827"/>
                  </a:cubicBezTo>
                  <a:cubicBezTo>
                    <a:pt x="715" y="828"/>
                    <a:pt x="715" y="828"/>
                    <a:pt x="715" y="828"/>
                  </a:cubicBezTo>
                  <a:cubicBezTo>
                    <a:pt x="729" y="864"/>
                    <a:pt x="744" y="898"/>
                    <a:pt x="759" y="931"/>
                  </a:cubicBezTo>
                  <a:cubicBezTo>
                    <a:pt x="757" y="933"/>
                    <a:pt x="757" y="933"/>
                    <a:pt x="757" y="933"/>
                  </a:cubicBezTo>
                  <a:cubicBezTo>
                    <a:pt x="758" y="933"/>
                    <a:pt x="760" y="935"/>
                    <a:pt x="763" y="939"/>
                  </a:cubicBezTo>
                  <a:cubicBezTo>
                    <a:pt x="770" y="954"/>
                    <a:pt x="778" y="969"/>
                    <a:pt x="786" y="983"/>
                  </a:cubicBezTo>
                  <a:cubicBezTo>
                    <a:pt x="784" y="986"/>
                    <a:pt x="784" y="986"/>
                    <a:pt x="784" y="986"/>
                  </a:cubicBezTo>
                  <a:cubicBezTo>
                    <a:pt x="785" y="987"/>
                    <a:pt x="786" y="988"/>
                    <a:pt x="788" y="990"/>
                  </a:cubicBezTo>
                  <a:cubicBezTo>
                    <a:pt x="803" y="990"/>
                    <a:pt x="803" y="990"/>
                    <a:pt x="803" y="990"/>
                  </a:cubicBezTo>
                  <a:cubicBezTo>
                    <a:pt x="802" y="989"/>
                    <a:pt x="801" y="987"/>
                    <a:pt x="800" y="986"/>
                  </a:cubicBezTo>
                  <a:cubicBezTo>
                    <a:pt x="796" y="979"/>
                    <a:pt x="792" y="971"/>
                    <a:pt x="788" y="963"/>
                  </a:cubicBezTo>
                  <a:cubicBezTo>
                    <a:pt x="793" y="968"/>
                    <a:pt x="798" y="972"/>
                    <a:pt x="804" y="977"/>
                  </a:cubicBezTo>
                  <a:cubicBezTo>
                    <a:pt x="806" y="982"/>
                    <a:pt x="808" y="986"/>
                    <a:pt x="811" y="990"/>
                  </a:cubicBezTo>
                  <a:cubicBezTo>
                    <a:pt x="841" y="990"/>
                    <a:pt x="841" y="990"/>
                    <a:pt x="841" y="990"/>
                  </a:cubicBezTo>
                  <a:cubicBezTo>
                    <a:pt x="838" y="984"/>
                    <a:pt x="835" y="978"/>
                    <a:pt x="832" y="972"/>
                  </a:cubicBezTo>
                  <a:cubicBezTo>
                    <a:pt x="827" y="965"/>
                    <a:pt x="824" y="957"/>
                    <a:pt x="820" y="949"/>
                  </a:cubicBezTo>
                  <a:cubicBezTo>
                    <a:pt x="827" y="955"/>
                    <a:pt x="836" y="960"/>
                    <a:pt x="844" y="965"/>
                  </a:cubicBezTo>
                  <a:cubicBezTo>
                    <a:pt x="844" y="965"/>
                    <a:pt x="844" y="965"/>
                    <a:pt x="844" y="965"/>
                  </a:cubicBezTo>
                  <a:cubicBezTo>
                    <a:pt x="848" y="973"/>
                    <a:pt x="852" y="982"/>
                    <a:pt x="857" y="990"/>
                  </a:cubicBezTo>
                  <a:cubicBezTo>
                    <a:pt x="870" y="990"/>
                    <a:pt x="870" y="990"/>
                    <a:pt x="870" y="990"/>
                  </a:cubicBezTo>
                  <a:cubicBezTo>
                    <a:pt x="869" y="990"/>
                    <a:pt x="869" y="989"/>
                    <a:pt x="869" y="989"/>
                  </a:cubicBezTo>
                  <a:cubicBezTo>
                    <a:pt x="864" y="979"/>
                    <a:pt x="859" y="969"/>
                    <a:pt x="854" y="959"/>
                  </a:cubicBezTo>
                  <a:cubicBezTo>
                    <a:pt x="870" y="967"/>
                    <a:pt x="896" y="979"/>
                    <a:pt x="928" y="990"/>
                  </a:cubicBezTo>
                  <a:cubicBezTo>
                    <a:pt x="967" y="990"/>
                    <a:pt x="967" y="990"/>
                    <a:pt x="967" y="990"/>
                  </a:cubicBezTo>
                  <a:cubicBezTo>
                    <a:pt x="907" y="973"/>
                    <a:pt x="861" y="949"/>
                    <a:pt x="845" y="941"/>
                  </a:cubicBezTo>
                  <a:cubicBezTo>
                    <a:pt x="840" y="931"/>
                    <a:pt x="835" y="920"/>
                    <a:pt x="831" y="910"/>
                  </a:cubicBezTo>
                  <a:cubicBezTo>
                    <a:pt x="856" y="922"/>
                    <a:pt x="902" y="941"/>
                    <a:pt x="957" y="954"/>
                  </a:cubicBezTo>
                  <a:cubicBezTo>
                    <a:pt x="962" y="967"/>
                    <a:pt x="967" y="979"/>
                    <a:pt x="972" y="990"/>
                  </a:cubicBezTo>
                  <a:cubicBezTo>
                    <a:pt x="985" y="990"/>
                    <a:pt x="985" y="990"/>
                    <a:pt x="985" y="990"/>
                  </a:cubicBezTo>
                  <a:cubicBezTo>
                    <a:pt x="980" y="980"/>
                    <a:pt x="975" y="969"/>
                    <a:pt x="970" y="957"/>
                  </a:cubicBezTo>
                  <a:cubicBezTo>
                    <a:pt x="1001" y="964"/>
                    <a:pt x="1033" y="968"/>
                    <a:pt x="1066" y="968"/>
                  </a:cubicBezTo>
                  <a:cubicBezTo>
                    <a:pt x="1071" y="968"/>
                    <a:pt x="1076" y="968"/>
                    <a:pt x="1082" y="968"/>
                  </a:cubicBezTo>
                  <a:cubicBezTo>
                    <a:pt x="1084" y="976"/>
                    <a:pt x="1087" y="983"/>
                    <a:pt x="1090" y="990"/>
                  </a:cubicBezTo>
                  <a:cubicBezTo>
                    <a:pt x="1102" y="990"/>
                    <a:pt x="1102" y="990"/>
                    <a:pt x="1102" y="990"/>
                  </a:cubicBezTo>
                  <a:cubicBezTo>
                    <a:pt x="1099" y="983"/>
                    <a:pt x="1096" y="975"/>
                    <a:pt x="1093" y="967"/>
                  </a:cubicBezTo>
                  <a:cubicBezTo>
                    <a:pt x="1095" y="967"/>
                    <a:pt x="1097" y="967"/>
                    <a:pt x="1099" y="967"/>
                  </a:cubicBezTo>
                  <a:cubicBezTo>
                    <a:pt x="1126" y="964"/>
                    <a:pt x="1156" y="959"/>
                    <a:pt x="1187" y="953"/>
                  </a:cubicBezTo>
                  <a:cubicBezTo>
                    <a:pt x="1191" y="966"/>
                    <a:pt x="1196" y="979"/>
                    <a:pt x="1201" y="990"/>
                  </a:cubicBezTo>
                  <a:cubicBezTo>
                    <a:pt x="1213" y="990"/>
                    <a:pt x="1213" y="990"/>
                    <a:pt x="1213" y="990"/>
                  </a:cubicBezTo>
                  <a:cubicBezTo>
                    <a:pt x="1208" y="978"/>
                    <a:pt x="1203" y="965"/>
                    <a:pt x="1198" y="950"/>
                  </a:cubicBezTo>
                  <a:cubicBezTo>
                    <a:pt x="1226" y="944"/>
                    <a:pt x="1255" y="938"/>
                    <a:pt x="1283" y="931"/>
                  </a:cubicBezTo>
                  <a:cubicBezTo>
                    <a:pt x="1287" y="930"/>
                    <a:pt x="1292" y="929"/>
                    <a:pt x="1296" y="928"/>
                  </a:cubicBezTo>
                  <a:cubicBezTo>
                    <a:pt x="1300" y="947"/>
                    <a:pt x="1305" y="965"/>
                    <a:pt x="1312" y="980"/>
                  </a:cubicBezTo>
                  <a:cubicBezTo>
                    <a:pt x="1306" y="981"/>
                    <a:pt x="1300" y="982"/>
                    <a:pt x="1295" y="983"/>
                  </a:cubicBezTo>
                  <a:cubicBezTo>
                    <a:pt x="1283" y="986"/>
                    <a:pt x="1271" y="988"/>
                    <a:pt x="1259" y="990"/>
                  </a:cubicBezTo>
                  <a:cubicBezTo>
                    <a:pt x="1329" y="990"/>
                    <a:pt x="1329" y="990"/>
                    <a:pt x="1329" y="990"/>
                  </a:cubicBezTo>
                  <a:cubicBezTo>
                    <a:pt x="1329" y="990"/>
                    <a:pt x="1329" y="989"/>
                    <a:pt x="1329" y="989"/>
                  </a:cubicBezTo>
                  <a:cubicBezTo>
                    <a:pt x="1352" y="985"/>
                    <a:pt x="1376" y="980"/>
                    <a:pt x="1399" y="977"/>
                  </a:cubicBezTo>
                  <a:cubicBezTo>
                    <a:pt x="1399" y="965"/>
                    <a:pt x="1399" y="965"/>
                    <a:pt x="1399" y="965"/>
                  </a:cubicBezTo>
                  <a:cubicBezTo>
                    <a:pt x="1374" y="968"/>
                    <a:pt x="1348" y="973"/>
                    <a:pt x="1323" y="978"/>
                  </a:cubicBezTo>
                  <a:cubicBezTo>
                    <a:pt x="1316" y="963"/>
                    <a:pt x="1311" y="945"/>
                    <a:pt x="1307" y="925"/>
                  </a:cubicBezTo>
                  <a:cubicBezTo>
                    <a:pt x="1338" y="918"/>
                    <a:pt x="1369" y="911"/>
                    <a:pt x="1399" y="905"/>
                  </a:cubicBezTo>
                  <a:cubicBezTo>
                    <a:pt x="1399" y="893"/>
                    <a:pt x="1399" y="893"/>
                    <a:pt x="1399" y="893"/>
                  </a:cubicBezTo>
                  <a:cubicBezTo>
                    <a:pt x="1368" y="899"/>
                    <a:pt x="1336" y="906"/>
                    <a:pt x="1305" y="913"/>
                  </a:cubicBezTo>
                  <a:cubicBezTo>
                    <a:pt x="1302" y="896"/>
                    <a:pt x="1299" y="877"/>
                    <a:pt x="1298" y="859"/>
                  </a:cubicBezTo>
                  <a:cubicBezTo>
                    <a:pt x="1332" y="849"/>
                    <a:pt x="1366" y="840"/>
                    <a:pt x="1399" y="833"/>
                  </a:cubicBezTo>
                  <a:cubicBezTo>
                    <a:pt x="1399" y="821"/>
                    <a:pt x="1399" y="821"/>
                    <a:pt x="1399" y="821"/>
                  </a:cubicBezTo>
                  <a:cubicBezTo>
                    <a:pt x="1366" y="828"/>
                    <a:pt x="1331" y="837"/>
                    <a:pt x="1296" y="847"/>
                  </a:cubicBezTo>
                  <a:cubicBezTo>
                    <a:pt x="1295" y="828"/>
                    <a:pt x="1293" y="809"/>
                    <a:pt x="1292" y="792"/>
                  </a:cubicBezTo>
                  <a:cubicBezTo>
                    <a:pt x="1329" y="780"/>
                    <a:pt x="1365" y="770"/>
                    <a:pt x="1399" y="761"/>
                  </a:cubicBezTo>
                  <a:cubicBezTo>
                    <a:pt x="1399" y="749"/>
                    <a:pt x="1399" y="749"/>
                    <a:pt x="1399" y="749"/>
                  </a:cubicBezTo>
                  <a:cubicBezTo>
                    <a:pt x="1364" y="757"/>
                    <a:pt x="1328" y="768"/>
                    <a:pt x="1292" y="780"/>
                  </a:cubicBezTo>
                  <a:cubicBezTo>
                    <a:pt x="1291" y="769"/>
                    <a:pt x="1290" y="759"/>
                    <a:pt x="1289" y="750"/>
                  </a:cubicBezTo>
                  <a:cubicBezTo>
                    <a:pt x="1289" y="741"/>
                    <a:pt x="1288" y="733"/>
                    <a:pt x="1287" y="724"/>
                  </a:cubicBezTo>
                  <a:cubicBezTo>
                    <a:pt x="1325" y="711"/>
                    <a:pt x="1363" y="698"/>
                    <a:pt x="1399" y="688"/>
                  </a:cubicBezTo>
                  <a:cubicBezTo>
                    <a:pt x="1399" y="676"/>
                    <a:pt x="1399" y="676"/>
                    <a:pt x="1399" y="676"/>
                  </a:cubicBezTo>
                  <a:cubicBezTo>
                    <a:pt x="1363" y="686"/>
                    <a:pt x="1325" y="699"/>
                    <a:pt x="1286" y="712"/>
                  </a:cubicBezTo>
                  <a:cubicBezTo>
                    <a:pt x="1285" y="693"/>
                    <a:pt x="1284" y="675"/>
                    <a:pt x="1283" y="656"/>
                  </a:cubicBezTo>
                  <a:cubicBezTo>
                    <a:pt x="1323" y="641"/>
                    <a:pt x="1362" y="627"/>
                    <a:pt x="1399" y="616"/>
                  </a:cubicBezTo>
                  <a:cubicBezTo>
                    <a:pt x="1399" y="603"/>
                    <a:pt x="1399" y="603"/>
                    <a:pt x="1399" y="603"/>
                  </a:cubicBezTo>
                  <a:cubicBezTo>
                    <a:pt x="1362" y="614"/>
                    <a:pt x="1322" y="629"/>
                    <a:pt x="1282" y="644"/>
                  </a:cubicBezTo>
                  <a:cubicBezTo>
                    <a:pt x="1281" y="624"/>
                    <a:pt x="1280" y="605"/>
                    <a:pt x="1280" y="588"/>
                  </a:cubicBezTo>
                  <a:cubicBezTo>
                    <a:pt x="1321" y="571"/>
                    <a:pt x="1362" y="555"/>
                    <a:pt x="1399" y="543"/>
                  </a:cubicBezTo>
                  <a:cubicBezTo>
                    <a:pt x="1399" y="530"/>
                    <a:pt x="1399" y="530"/>
                    <a:pt x="1399" y="530"/>
                  </a:cubicBezTo>
                  <a:cubicBezTo>
                    <a:pt x="1362" y="542"/>
                    <a:pt x="1321" y="558"/>
                    <a:pt x="1279" y="575"/>
                  </a:cubicBezTo>
                  <a:cubicBezTo>
                    <a:pt x="1279" y="555"/>
                    <a:pt x="1278" y="538"/>
                    <a:pt x="1278" y="524"/>
                  </a:cubicBezTo>
                  <a:cubicBezTo>
                    <a:pt x="1278" y="522"/>
                    <a:pt x="1278" y="520"/>
                    <a:pt x="1278" y="518"/>
                  </a:cubicBezTo>
                  <a:cubicBezTo>
                    <a:pt x="1298" y="510"/>
                    <a:pt x="1316" y="502"/>
                    <a:pt x="1335" y="494"/>
                  </a:cubicBezTo>
                  <a:moveTo>
                    <a:pt x="659" y="479"/>
                  </a:moveTo>
                  <a:cubicBezTo>
                    <a:pt x="620" y="468"/>
                    <a:pt x="588" y="456"/>
                    <a:pt x="566" y="447"/>
                  </a:cubicBezTo>
                  <a:cubicBezTo>
                    <a:pt x="539" y="433"/>
                    <a:pt x="512" y="416"/>
                    <a:pt x="485" y="399"/>
                  </a:cubicBezTo>
                  <a:cubicBezTo>
                    <a:pt x="504" y="405"/>
                    <a:pt x="531" y="413"/>
                    <a:pt x="564" y="421"/>
                  </a:cubicBezTo>
                  <a:cubicBezTo>
                    <a:pt x="595" y="442"/>
                    <a:pt x="627" y="461"/>
                    <a:pt x="659" y="479"/>
                  </a:cubicBezTo>
                  <a:moveTo>
                    <a:pt x="593" y="415"/>
                  </a:moveTo>
                  <a:cubicBezTo>
                    <a:pt x="584" y="413"/>
                    <a:pt x="576" y="411"/>
                    <a:pt x="568" y="410"/>
                  </a:cubicBezTo>
                  <a:cubicBezTo>
                    <a:pt x="547" y="396"/>
                    <a:pt x="527" y="381"/>
                    <a:pt x="507" y="367"/>
                  </a:cubicBezTo>
                  <a:cubicBezTo>
                    <a:pt x="514" y="368"/>
                    <a:pt x="522" y="369"/>
                    <a:pt x="530" y="370"/>
                  </a:cubicBezTo>
                  <a:cubicBezTo>
                    <a:pt x="551" y="386"/>
                    <a:pt x="572" y="401"/>
                    <a:pt x="593" y="415"/>
                  </a:cubicBezTo>
                  <a:moveTo>
                    <a:pt x="454" y="379"/>
                  </a:moveTo>
                  <a:cubicBezTo>
                    <a:pt x="442" y="371"/>
                    <a:pt x="430" y="362"/>
                    <a:pt x="418" y="354"/>
                  </a:cubicBezTo>
                  <a:cubicBezTo>
                    <a:pt x="417" y="353"/>
                    <a:pt x="415" y="352"/>
                    <a:pt x="414" y="351"/>
                  </a:cubicBezTo>
                  <a:cubicBezTo>
                    <a:pt x="432" y="355"/>
                    <a:pt x="455" y="359"/>
                    <a:pt x="482" y="363"/>
                  </a:cubicBezTo>
                  <a:cubicBezTo>
                    <a:pt x="499" y="376"/>
                    <a:pt x="517" y="389"/>
                    <a:pt x="535" y="401"/>
                  </a:cubicBezTo>
                  <a:cubicBezTo>
                    <a:pt x="486" y="388"/>
                    <a:pt x="456" y="376"/>
                    <a:pt x="455" y="376"/>
                  </a:cubicBezTo>
                  <a:cubicBezTo>
                    <a:pt x="454" y="379"/>
                    <a:pt x="454" y="379"/>
                    <a:pt x="454" y="379"/>
                  </a:cubicBezTo>
                  <a:moveTo>
                    <a:pt x="624" y="365"/>
                  </a:moveTo>
                  <a:cubicBezTo>
                    <a:pt x="592" y="364"/>
                    <a:pt x="562" y="361"/>
                    <a:pt x="534" y="358"/>
                  </a:cubicBezTo>
                  <a:cubicBezTo>
                    <a:pt x="515" y="344"/>
                    <a:pt x="496" y="329"/>
                    <a:pt x="477" y="314"/>
                  </a:cubicBezTo>
                  <a:cubicBezTo>
                    <a:pt x="493" y="314"/>
                    <a:pt x="510" y="315"/>
                    <a:pt x="528" y="315"/>
                  </a:cubicBezTo>
                  <a:cubicBezTo>
                    <a:pt x="540" y="315"/>
                    <a:pt x="551" y="315"/>
                    <a:pt x="563" y="314"/>
                  </a:cubicBezTo>
                  <a:cubicBezTo>
                    <a:pt x="583" y="331"/>
                    <a:pt x="604" y="348"/>
                    <a:pt x="624" y="365"/>
                  </a:cubicBezTo>
                  <a:moveTo>
                    <a:pt x="511" y="355"/>
                  </a:moveTo>
                  <a:cubicBezTo>
                    <a:pt x="502" y="354"/>
                    <a:pt x="494" y="353"/>
                    <a:pt x="486" y="352"/>
                  </a:cubicBezTo>
                  <a:cubicBezTo>
                    <a:pt x="468" y="339"/>
                    <a:pt x="451" y="325"/>
                    <a:pt x="434" y="312"/>
                  </a:cubicBezTo>
                  <a:cubicBezTo>
                    <a:pt x="441" y="312"/>
                    <a:pt x="449" y="313"/>
                    <a:pt x="457" y="313"/>
                  </a:cubicBezTo>
                  <a:cubicBezTo>
                    <a:pt x="475" y="328"/>
                    <a:pt x="493" y="342"/>
                    <a:pt x="511" y="355"/>
                  </a:cubicBezTo>
                  <a:moveTo>
                    <a:pt x="462" y="348"/>
                  </a:moveTo>
                  <a:cubicBezTo>
                    <a:pt x="430" y="343"/>
                    <a:pt x="406" y="338"/>
                    <a:pt x="391" y="334"/>
                  </a:cubicBezTo>
                  <a:cubicBezTo>
                    <a:pt x="379" y="324"/>
                    <a:pt x="366" y="315"/>
                    <a:pt x="354" y="305"/>
                  </a:cubicBezTo>
                  <a:cubicBezTo>
                    <a:pt x="370" y="307"/>
                    <a:pt x="390" y="309"/>
                    <a:pt x="413" y="310"/>
                  </a:cubicBezTo>
                  <a:cubicBezTo>
                    <a:pt x="429" y="323"/>
                    <a:pt x="445" y="336"/>
                    <a:pt x="462" y="348"/>
                  </a:cubicBezTo>
                  <a:moveTo>
                    <a:pt x="441" y="300"/>
                  </a:moveTo>
                  <a:cubicBezTo>
                    <a:pt x="433" y="300"/>
                    <a:pt x="425" y="299"/>
                    <a:pt x="417" y="299"/>
                  </a:cubicBezTo>
                  <a:cubicBezTo>
                    <a:pt x="397" y="283"/>
                    <a:pt x="378" y="267"/>
                    <a:pt x="359" y="251"/>
                  </a:cubicBezTo>
                  <a:cubicBezTo>
                    <a:pt x="367" y="251"/>
                    <a:pt x="375" y="251"/>
                    <a:pt x="384" y="251"/>
                  </a:cubicBezTo>
                  <a:cubicBezTo>
                    <a:pt x="403" y="268"/>
                    <a:pt x="422" y="284"/>
                    <a:pt x="441" y="300"/>
                  </a:cubicBezTo>
                  <a:moveTo>
                    <a:pt x="404" y="252"/>
                  </a:moveTo>
                  <a:cubicBezTo>
                    <a:pt x="430" y="252"/>
                    <a:pt x="459" y="251"/>
                    <a:pt x="489" y="249"/>
                  </a:cubicBezTo>
                  <a:cubicBezTo>
                    <a:pt x="508" y="267"/>
                    <a:pt x="529" y="285"/>
                    <a:pt x="550" y="303"/>
                  </a:cubicBezTo>
                  <a:cubicBezTo>
                    <a:pt x="542" y="303"/>
                    <a:pt x="535" y="303"/>
                    <a:pt x="528" y="303"/>
                  </a:cubicBezTo>
                  <a:cubicBezTo>
                    <a:pt x="504" y="303"/>
                    <a:pt x="482" y="302"/>
                    <a:pt x="461" y="301"/>
                  </a:cubicBezTo>
                  <a:cubicBezTo>
                    <a:pt x="441" y="285"/>
                    <a:pt x="421" y="268"/>
                    <a:pt x="401" y="251"/>
                  </a:cubicBezTo>
                  <a:cubicBezTo>
                    <a:pt x="402" y="252"/>
                    <a:pt x="403" y="252"/>
                    <a:pt x="404" y="252"/>
                  </a:cubicBezTo>
                  <a:moveTo>
                    <a:pt x="396" y="297"/>
                  </a:moveTo>
                  <a:cubicBezTo>
                    <a:pt x="372" y="295"/>
                    <a:pt x="352" y="292"/>
                    <a:pt x="337" y="291"/>
                  </a:cubicBezTo>
                  <a:cubicBezTo>
                    <a:pt x="320" y="276"/>
                    <a:pt x="303" y="262"/>
                    <a:pt x="287" y="248"/>
                  </a:cubicBezTo>
                  <a:cubicBezTo>
                    <a:pt x="303" y="249"/>
                    <a:pt x="320" y="250"/>
                    <a:pt x="340" y="250"/>
                  </a:cubicBezTo>
                  <a:cubicBezTo>
                    <a:pt x="358" y="266"/>
                    <a:pt x="377" y="281"/>
                    <a:pt x="396" y="297"/>
                  </a:cubicBezTo>
                  <a:moveTo>
                    <a:pt x="567" y="302"/>
                  </a:moveTo>
                  <a:cubicBezTo>
                    <a:pt x="546" y="284"/>
                    <a:pt x="525" y="266"/>
                    <a:pt x="505" y="248"/>
                  </a:cubicBezTo>
                  <a:cubicBezTo>
                    <a:pt x="540" y="246"/>
                    <a:pt x="576" y="242"/>
                    <a:pt x="613" y="237"/>
                  </a:cubicBezTo>
                  <a:cubicBezTo>
                    <a:pt x="615" y="236"/>
                    <a:pt x="617" y="236"/>
                    <a:pt x="619" y="235"/>
                  </a:cubicBezTo>
                  <a:cubicBezTo>
                    <a:pt x="640" y="255"/>
                    <a:pt x="661" y="274"/>
                    <a:pt x="682" y="293"/>
                  </a:cubicBezTo>
                  <a:cubicBezTo>
                    <a:pt x="643" y="299"/>
                    <a:pt x="604" y="301"/>
                    <a:pt x="567" y="302"/>
                  </a:cubicBezTo>
                  <a:moveTo>
                    <a:pt x="254" y="233"/>
                  </a:moveTo>
                  <a:cubicBezTo>
                    <a:pt x="239" y="221"/>
                    <a:pt x="225" y="210"/>
                    <a:pt x="212" y="199"/>
                  </a:cubicBezTo>
                  <a:cubicBezTo>
                    <a:pt x="214" y="199"/>
                    <a:pt x="216" y="199"/>
                    <a:pt x="219" y="199"/>
                  </a:cubicBezTo>
                  <a:cubicBezTo>
                    <a:pt x="230" y="210"/>
                    <a:pt x="242" y="221"/>
                    <a:pt x="254" y="233"/>
                  </a:cubicBezTo>
                  <a:moveTo>
                    <a:pt x="243" y="199"/>
                  </a:moveTo>
                  <a:cubicBezTo>
                    <a:pt x="255" y="199"/>
                    <a:pt x="267" y="199"/>
                    <a:pt x="280" y="199"/>
                  </a:cubicBezTo>
                  <a:cubicBezTo>
                    <a:pt x="295" y="211"/>
                    <a:pt x="310" y="224"/>
                    <a:pt x="325" y="238"/>
                  </a:cubicBezTo>
                  <a:cubicBezTo>
                    <a:pt x="305" y="237"/>
                    <a:pt x="287" y="236"/>
                    <a:pt x="273" y="234"/>
                  </a:cubicBezTo>
                  <a:cubicBezTo>
                    <a:pt x="260" y="223"/>
                    <a:pt x="248" y="211"/>
                    <a:pt x="236" y="199"/>
                  </a:cubicBezTo>
                  <a:cubicBezTo>
                    <a:pt x="238" y="199"/>
                    <a:pt x="241" y="199"/>
                    <a:pt x="243" y="199"/>
                  </a:cubicBezTo>
                  <a:moveTo>
                    <a:pt x="205" y="208"/>
                  </a:moveTo>
                  <a:cubicBezTo>
                    <a:pt x="202" y="206"/>
                    <a:pt x="199" y="204"/>
                    <a:pt x="196" y="201"/>
                  </a:cubicBezTo>
                  <a:cubicBezTo>
                    <a:pt x="195" y="200"/>
                    <a:pt x="194" y="199"/>
                    <a:pt x="192" y="198"/>
                  </a:cubicBezTo>
                  <a:cubicBezTo>
                    <a:pt x="193" y="198"/>
                    <a:pt x="193" y="198"/>
                    <a:pt x="193" y="198"/>
                  </a:cubicBezTo>
                  <a:cubicBezTo>
                    <a:pt x="197" y="202"/>
                    <a:pt x="201" y="205"/>
                    <a:pt x="205" y="208"/>
                  </a:cubicBezTo>
                  <a:moveTo>
                    <a:pt x="370" y="239"/>
                  </a:moveTo>
                  <a:cubicBezTo>
                    <a:pt x="361" y="239"/>
                    <a:pt x="352" y="239"/>
                    <a:pt x="344" y="239"/>
                  </a:cubicBezTo>
                  <a:cubicBezTo>
                    <a:pt x="328" y="225"/>
                    <a:pt x="312" y="211"/>
                    <a:pt x="298" y="198"/>
                  </a:cubicBezTo>
                  <a:cubicBezTo>
                    <a:pt x="306" y="198"/>
                    <a:pt x="314" y="198"/>
                    <a:pt x="323" y="197"/>
                  </a:cubicBezTo>
                  <a:cubicBezTo>
                    <a:pt x="339" y="211"/>
                    <a:pt x="354" y="225"/>
                    <a:pt x="370" y="239"/>
                  </a:cubicBezTo>
                  <a:moveTo>
                    <a:pt x="404" y="240"/>
                  </a:moveTo>
                  <a:cubicBezTo>
                    <a:pt x="398" y="240"/>
                    <a:pt x="393" y="240"/>
                    <a:pt x="388" y="239"/>
                  </a:cubicBezTo>
                  <a:cubicBezTo>
                    <a:pt x="372" y="225"/>
                    <a:pt x="355" y="211"/>
                    <a:pt x="340" y="197"/>
                  </a:cubicBezTo>
                  <a:cubicBezTo>
                    <a:pt x="366" y="195"/>
                    <a:pt x="394" y="193"/>
                    <a:pt x="424" y="190"/>
                  </a:cubicBezTo>
                  <a:cubicBezTo>
                    <a:pt x="429" y="195"/>
                    <a:pt x="429" y="195"/>
                    <a:pt x="429" y="195"/>
                  </a:cubicBezTo>
                  <a:cubicBezTo>
                    <a:pt x="444" y="209"/>
                    <a:pt x="460" y="223"/>
                    <a:pt x="476" y="238"/>
                  </a:cubicBezTo>
                  <a:cubicBezTo>
                    <a:pt x="451" y="239"/>
                    <a:pt x="427" y="240"/>
                    <a:pt x="404" y="240"/>
                  </a:cubicBezTo>
                  <a:moveTo>
                    <a:pt x="493" y="237"/>
                  </a:moveTo>
                  <a:cubicBezTo>
                    <a:pt x="474" y="220"/>
                    <a:pt x="456" y="204"/>
                    <a:pt x="439" y="188"/>
                  </a:cubicBezTo>
                  <a:cubicBezTo>
                    <a:pt x="457" y="186"/>
                    <a:pt x="476" y="184"/>
                    <a:pt x="495" y="181"/>
                  </a:cubicBezTo>
                  <a:cubicBezTo>
                    <a:pt x="514" y="178"/>
                    <a:pt x="533" y="174"/>
                    <a:pt x="552" y="171"/>
                  </a:cubicBezTo>
                  <a:cubicBezTo>
                    <a:pt x="570" y="188"/>
                    <a:pt x="589" y="206"/>
                    <a:pt x="609" y="225"/>
                  </a:cubicBezTo>
                  <a:cubicBezTo>
                    <a:pt x="569" y="231"/>
                    <a:pt x="530" y="235"/>
                    <a:pt x="493" y="237"/>
                  </a:cubicBezTo>
                  <a:moveTo>
                    <a:pt x="177" y="186"/>
                  </a:moveTo>
                  <a:cubicBezTo>
                    <a:pt x="177" y="186"/>
                    <a:pt x="177" y="186"/>
                    <a:pt x="176" y="186"/>
                  </a:cubicBezTo>
                  <a:cubicBezTo>
                    <a:pt x="169" y="180"/>
                    <a:pt x="162" y="175"/>
                    <a:pt x="155" y="169"/>
                  </a:cubicBezTo>
                  <a:cubicBezTo>
                    <a:pt x="145" y="162"/>
                    <a:pt x="134" y="153"/>
                    <a:pt x="123" y="145"/>
                  </a:cubicBezTo>
                  <a:cubicBezTo>
                    <a:pt x="125" y="145"/>
                    <a:pt x="127" y="145"/>
                    <a:pt x="129" y="145"/>
                  </a:cubicBezTo>
                  <a:cubicBezTo>
                    <a:pt x="144" y="158"/>
                    <a:pt x="160" y="171"/>
                    <a:pt x="177" y="186"/>
                  </a:cubicBezTo>
                  <a:moveTo>
                    <a:pt x="206" y="187"/>
                  </a:moveTo>
                  <a:cubicBezTo>
                    <a:pt x="203" y="187"/>
                    <a:pt x="199" y="187"/>
                    <a:pt x="196" y="186"/>
                  </a:cubicBezTo>
                  <a:cubicBezTo>
                    <a:pt x="179" y="172"/>
                    <a:pt x="162" y="158"/>
                    <a:pt x="146" y="145"/>
                  </a:cubicBezTo>
                  <a:cubicBezTo>
                    <a:pt x="152" y="145"/>
                    <a:pt x="158" y="144"/>
                    <a:pt x="165" y="144"/>
                  </a:cubicBezTo>
                  <a:cubicBezTo>
                    <a:pt x="178" y="158"/>
                    <a:pt x="192" y="172"/>
                    <a:pt x="206" y="187"/>
                  </a:cubicBezTo>
                  <a:moveTo>
                    <a:pt x="244" y="187"/>
                  </a:moveTo>
                  <a:cubicBezTo>
                    <a:pt x="236" y="187"/>
                    <a:pt x="229" y="187"/>
                    <a:pt x="223" y="187"/>
                  </a:cubicBezTo>
                  <a:cubicBezTo>
                    <a:pt x="208" y="172"/>
                    <a:pt x="194" y="158"/>
                    <a:pt x="180" y="144"/>
                  </a:cubicBezTo>
                  <a:cubicBezTo>
                    <a:pt x="191" y="143"/>
                    <a:pt x="204" y="143"/>
                    <a:pt x="217" y="142"/>
                  </a:cubicBezTo>
                  <a:cubicBezTo>
                    <a:pt x="220" y="145"/>
                    <a:pt x="222" y="147"/>
                    <a:pt x="225" y="150"/>
                  </a:cubicBezTo>
                  <a:cubicBezTo>
                    <a:pt x="238" y="161"/>
                    <a:pt x="252" y="174"/>
                    <a:pt x="267" y="187"/>
                  </a:cubicBezTo>
                  <a:cubicBezTo>
                    <a:pt x="259" y="187"/>
                    <a:pt x="251" y="187"/>
                    <a:pt x="244" y="187"/>
                  </a:cubicBezTo>
                  <a:moveTo>
                    <a:pt x="284" y="187"/>
                  </a:moveTo>
                  <a:cubicBezTo>
                    <a:pt x="266" y="170"/>
                    <a:pt x="248" y="155"/>
                    <a:pt x="233" y="141"/>
                  </a:cubicBezTo>
                  <a:cubicBezTo>
                    <a:pt x="242" y="141"/>
                    <a:pt x="252" y="140"/>
                    <a:pt x="261" y="139"/>
                  </a:cubicBezTo>
                  <a:cubicBezTo>
                    <a:pt x="278" y="155"/>
                    <a:pt x="294" y="170"/>
                    <a:pt x="311" y="186"/>
                  </a:cubicBezTo>
                  <a:cubicBezTo>
                    <a:pt x="302" y="186"/>
                    <a:pt x="293" y="186"/>
                    <a:pt x="284" y="187"/>
                  </a:cubicBezTo>
                  <a:moveTo>
                    <a:pt x="327" y="185"/>
                  </a:moveTo>
                  <a:cubicBezTo>
                    <a:pt x="310" y="170"/>
                    <a:pt x="293" y="154"/>
                    <a:pt x="277" y="138"/>
                  </a:cubicBezTo>
                  <a:cubicBezTo>
                    <a:pt x="297" y="136"/>
                    <a:pt x="318" y="134"/>
                    <a:pt x="339" y="131"/>
                  </a:cubicBezTo>
                  <a:cubicBezTo>
                    <a:pt x="345" y="131"/>
                    <a:pt x="351" y="130"/>
                    <a:pt x="358" y="129"/>
                  </a:cubicBezTo>
                  <a:cubicBezTo>
                    <a:pt x="374" y="144"/>
                    <a:pt x="392" y="161"/>
                    <a:pt x="412" y="179"/>
                  </a:cubicBezTo>
                  <a:cubicBezTo>
                    <a:pt x="382" y="182"/>
                    <a:pt x="353" y="184"/>
                    <a:pt x="327" y="185"/>
                  </a:cubicBezTo>
                  <a:moveTo>
                    <a:pt x="427" y="178"/>
                  </a:moveTo>
                  <a:cubicBezTo>
                    <a:pt x="423" y="174"/>
                    <a:pt x="423" y="174"/>
                    <a:pt x="423" y="174"/>
                  </a:cubicBezTo>
                  <a:cubicBezTo>
                    <a:pt x="405" y="157"/>
                    <a:pt x="388" y="141"/>
                    <a:pt x="372" y="127"/>
                  </a:cubicBezTo>
                  <a:cubicBezTo>
                    <a:pt x="408" y="122"/>
                    <a:pt x="447" y="115"/>
                    <a:pt x="485" y="106"/>
                  </a:cubicBezTo>
                  <a:cubicBezTo>
                    <a:pt x="500" y="120"/>
                    <a:pt x="516" y="136"/>
                    <a:pt x="533" y="152"/>
                  </a:cubicBezTo>
                  <a:cubicBezTo>
                    <a:pt x="540" y="159"/>
                    <a:pt x="540" y="159"/>
                    <a:pt x="540" y="159"/>
                  </a:cubicBezTo>
                  <a:cubicBezTo>
                    <a:pt x="540" y="160"/>
                    <a:pt x="541" y="160"/>
                    <a:pt x="541" y="161"/>
                  </a:cubicBezTo>
                  <a:cubicBezTo>
                    <a:pt x="503" y="168"/>
                    <a:pt x="464" y="174"/>
                    <a:pt x="427" y="178"/>
                  </a:cubicBezTo>
                  <a:moveTo>
                    <a:pt x="115" y="133"/>
                  </a:moveTo>
                  <a:cubicBezTo>
                    <a:pt x="112" y="133"/>
                    <a:pt x="109" y="133"/>
                    <a:pt x="107" y="133"/>
                  </a:cubicBezTo>
                  <a:cubicBezTo>
                    <a:pt x="93" y="121"/>
                    <a:pt x="77" y="109"/>
                    <a:pt x="62" y="95"/>
                  </a:cubicBezTo>
                  <a:cubicBezTo>
                    <a:pt x="65" y="95"/>
                    <a:pt x="68" y="95"/>
                    <a:pt x="72" y="95"/>
                  </a:cubicBezTo>
                  <a:cubicBezTo>
                    <a:pt x="84" y="106"/>
                    <a:pt x="99" y="119"/>
                    <a:pt x="115" y="133"/>
                  </a:cubicBezTo>
                  <a:moveTo>
                    <a:pt x="133" y="133"/>
                  </a:moveTo>
                  <a:cubicBezTo>
                    <a:pt x="116" y="119"/>
                    <a:pt x="101" y="106"/>
                    <a:pt x="88" y="94"/>
                  </a:cubicBezTo>
                  <a:cubicBezTo>
                    <a:pt x="97" y="94"/>
                    <a:pt x="106" y="93"/>
                    <a:pt x="116" y="92"/>
                  </a:cubicBezTo>
                  <a:cubicBezTo>
                    <a:pt x="128" y="105"/>
                    <a:pt x="140" y="119"/>
                    <a:pt x="153" y="132"/>
                  </a:cubicBezTo>
                  <a:cubicBezTo>
                    <a:pt x="146" y="133"/>
                    <a:pt x="139" y="133"/>
                    <a:pt x="133" y="133"/>
                  </a:cubicBezTo>
                  <a:moveTo>
                    <a:pt x="169" y="132"/>
                  </a:moveTo>
                  <a:cubicBezTo>
                    <a:pt x="156" y="118"/>
                    <a:pt x="143" y="105"/>
                    <a:pt x="131" y="91"/>
                  </a:cubicBezTo>
                  <a:cubicBezTo>
                    <a:pt x="139" y="91"/>
                    <a:pt x="147" y="90"/>
                    <a:pt x="156" y="89"/>
                  </a:cubicBezTo>
                  <a:cubicBezTo>
                    <a:pt x="160" y="93"/>
                    <a:pt x="164" y="96"/>
                    <a:pt x="167" y="99"/>
                  </a:cubicBezTo>
                  <a:cubicBezTo>
                    <a:pt x="176" y="106"/>
                    <a:pt x="189" y="117"/>
                    <a:pt x="204" y="131"/>
                  </a:cubicBezTo>
                  <a:cubicBezTo>
                    <a:pt x="191" y="131"/>
                    <a:pt x="180" y="132"/>
                    <a:pt x="169" y="132"/>
                  </a:cubicBezTo>
                  <a:moveTo>
                    <a:pt x="220" y="130"/>
                  </a:moveTo>
                  <a:cubicBezTo>
                    <a:pt x="201" y="112"/>
                    <a:pt x="185" y="98"/>
                    <a:pt x="174" y="90"/>
                  </a:cubicBezTo>
                  <a:cubicBezTo>
                    <a:pt x="173" y="89"/>
                    <a:pt x="173" y="88"/>
                    <a:pt x="172" y="88"/>
                  </a:cubicBezTo>
                  <a:cubicBezTo>
                    <a:pt x="182" y="87"/>
                    <a:pt x="193" y="85"/>
                    <a:pt x="205" y="84"/>
                  </a:cubicBezTo>
                  <a:cubicBezTo>
                    <a:pt x="220" y="99"/>
                    <a:pt x="235" y="113"/>
                    <a:pt x="250" y="128"/>
                  </a:cubicBezTo>
                  <a:cubicBezTo>
                    <a:pt x="239" y="129"/>
                    <a:pt x="230" y="129"/>
                    <a:pt x="220" y="130"/>
                  </a:cubicBezTo>
                  <a:moveTo>
                    <a:pt x="265" y="127"/>
                  </a:moveTo>
                  <a:cubicBezTo>
                    <a:pt x="250" y="112"/>
                    <a:pt x="235" y="97"/>
                    <a:pt x="220" y="82"/>
                  </a:cubicBezTo>
                  <a:cubicBezTo>
                    <a:pt x="243" y="79"/>
                    <a:pt x="268" y="76"/>
                    <a:pt x="293" y="71"/>
                  </a:cubicBezTo>
                  <a:cubicBezTo>
                    <a:pt x="294" y="71"/>
                    <a:pt x="295" y="71"/>
                    <a:pt x="296" y="71"/>
                  </a:cubicBezTo>
                  <a:cubicBezTo>
                    <a:pt x="303" y="77"/>
                    <a:pt x="312" y="86"/>
                    <a:pt x="322" y="95"/>
                  </a:cubicBezTo>
                  <a:cubicBezTo>
                    <a:pt x="329" y="102"/>
                    <a:pt x="337" y="110"/>
                    <a:pt x="346" y="118"/>
                  </a:cubicBezTo>
                  <a:cubicBezTo>
                    <a:pt x="318" y="122"/>
                    <a:pt x="290" y="125"/>
                    <a:pt x="265" y="127"/>
                  </a:cubicBezTo>
                  <a:moveTo>
                    <a:pt x="555" y="158"/>
                  </a:moveTo>
                  <a:cubicBezTo>
                    <a:pt x="553" y="155"/>
                    <a:pt x="550" y="153"/>
                    <a:pt x="547" y="150"/>
                  </a:cubicBezTo>
                  <a:cubicBezTo>
                    <a:pt x="540" y="143"/>
                    <a:pt x="540" y="143"/>
                    <a:pt x="540" y="143"/>
                  </a:cubicBezTo>
                  <a:cubicBezTo>
                    <a:pt x="525" y="129"/>
                    <a:pt x="511" y="115"/>
                    <a:pt x="499" y="102"/>
                  </a:cubicBezTo>
                  <a:cubicBezTo>
                    <a:pt x="533" y="94"/>
                    <a:pt x="568" y="83"/>
                    <a:pt x="601" y="71"/>
                  </a:cubicBezTo>
                  <a:cubicBezTo>
                    <a:pt x="615" y="86"/>
                    <a:pt x="631" y="103"/>
                    <a:pt x="650" y="122"/>
                  </a:cubicBezTo>
                  <a:cubicBezTo>
                    <a:pt x="652" y="124"/>
                    <a:pt x="655" y="127"/>
                    <a:pt x="658" y="130"/>
                  </a:cubicBezTo>
                  <a:cubicBezTo>
                    <a:pt x="625" y="141"/>
                    <a:pt x="590" y="150"/>
                    <a:pt x="555" y="158"/>
                  </a:cubicBezTo>
                  <a:moveTo>
                    <a:pt x="51" y="84"/>
                  </a:moveTo>
                  <a:cubicBezTo>
                    <a:pt x="40" y="73"/>
                    <a:pt x="25" y="61"/>
                    <a:pt x="13" y="48"/>
                  </a:cubicBezTo>
                  <a:cubicBezTo>
                    <a:pt x="16" y="48"/>
                    <a:pt x="19" y="47"/>
                    <a:pt x="23" y="47"/>
                  </a:cubicBezTo>
                  <a:cubicBezTo>
                    <a:pt x="26" y="51"/>
                    <a:pt x="29" y="54"/>
                    <a:pt x="32" y="57"/>
                  </a:cubicBezTo>
                  <a:cubicBezTo>
                    <a:pt x="37" y="63"/>
                    <a:pt x="48" y="72"/>
                    <a:pt x="60" y="83"/>
                  </a:cubicBezTo>
                  <a:cubicBezTo>
                    <a:pt x="55" y="84"/>
                    <a:pt x="51" y="84"/>
                    <a:pt x="51" y="84"/>
                  </a:cubicBezTo>
                  <a:cubicBezTo>
                    <a:pt x="51" y="84"/>
                    <a:pt x="51" y="84"/>
                    <a:pt x="51" y="84"/>
                  </a:cubicBezTo>
                  <a:cubicBezTo>
                    <a:pt x="51" y="84"/>
                    <a:pt x="51" y="84"/>
                    <a:pt x="51" y="84"/>
                  </a:cubicBezTo>
                  <a:moveTo>
                    <a:pt x="361" y="116"/>
                  </a:moveTo>
                  <a:cubicBezTo>
                    <a:pt x="349" y="105"/>
                    <a:pt x="339" y="95"/>
                    <a:pt x="330" y="86"/>
                  </a:cubicBezTo>
                  <a:cubicBezTo>
                    <a:pt x="323" y="80"/>
                    <a:pt x="316" y="74"/>
                    <a:pt x="311" y="68"/>
                  </a:cubicBezTo>
                  <a:cubicBezTo>
                    <a:pt x="346" y="62"/>
                    <a:pt x="385" y="53"/>
                    <a:pt x="424" y="43"/>
                  </a:cubicBezTo>
                  <a:cubicBezTo>
                    <a:pt x="437" y="56"/>
                    <a:pt x="454" y="74"/>
                    <a:pt x="475" y="96"/>
                  </a:cubicBezTo>
                  <a:cubicBezTo>
                    <a:pt x="437" y="104"/>
                    <a:pt x="398" y="111"/>
                    <a:pt x="361" y="116"/>
                  </a:cubicBezTo>
                  <a:moveTo>
                    <a:pt x="76" y="83"/>
                  </a:moveTo>
                  <a:cubicBezTo>
                    <a:pt x="59" y="67"/>
                    <a:pt x="46" y="55"/>
                    <a:pt x="39" y="48"/>
                  </a:cubicBezTo>
                  <a:cubicBezTo>
                    <a:pt x="39" y="48"/>
                    <a:pt x="38" y="47"/>
                    <a:pt x="37" y="46"/>
                  </a:cubicBezTo>
                  <a:cubicBezTo>
                    <a:pt x="47" y="45"/>
                    <a:pt x="59" y="44"/>
                    <a:pt x="72" y="42"/>
                  </a:cubicBezTo>
                  <a:cubicBezTo>
                    <a:pt x="82" y="55"/>
                    <a:pt x="94" y="68"/>
                    <a:pt x="106" y="81"/>
                  </a:cubicBezTo>
                  <a:cubicBezTo>
                    <a:pt x="94" y="82"/>
                    <a:pt x="84" y="82"/>
                    <a:pt x="76" y="83"/>
                  </a:cubicBezTo>
                  <a:moveTo>
                    <a:pt x="121" y="80"/>
                  </a:moveTo>
                  <a:cubicBezTo>
                    <a:pt x="108" y="66"/>
                    <a:pt x="97" y="53"/>
                    <a:pt x="85" y="40"/>
                  </a:cubicBezTo>
                  <a:cubicBezTo>
                    <a:pt x="92" y="40"/>
                    <a:pt x="98" y="39"/>
                    <a:pt x="105" y="38"/>
                  </a:cubicBezTo>
                  <a:cubicBezTo>
                    <a:pt x="118" y="53"/>
                    <a:pt x="131" y="66"/>
                    <a:pt x="144" y="78"/>
                  </a:cubicBezTo>
                  <a:cubicBezTo>
                    <a:pt x="135" y="79"/>
                    <a:pt x="128" y="79"/>
                    <a:pt x="121" y="80"/>
                  </a:cubicBezTo>
                  <a:moveTo>
                    <a:pt x="159" y="77"/>
                  </a:moveTo>
                  <a:cubicBezTo>
                    <a:pt x="146" y="65"/>
                    <a:pt x="132" y="51"/>
                    <a:pt x="119" y="36"/>
                  </a:cubicBezTo>
                  <a:cubicBezTo>
                    <a:pt x="130" y="34"/>
                    <a:pt x="141" y="33"/>
                    <a:pt x="153" y="31"/>
                  </a:cubicBezTo>
                  <a:cubicBezTo>
                    <a:pt x="166" y="45"/>
                    <a:pt x="180" y="59"/>
                    <a:pt x="194" y="73"/>
                  </a:cubicBezTo>
                  <a:cubicBezTo>
                    <a:pt x="182" y="74"/>
                    <a:pt x="170" y="76"/>
                    <a:pt x="159" y="77"/>
                  </a:cubicBezTo>
                  <a:moveTo>
                    <a:pt x="209" y="71"/>
                  </a:moveTo>
                  <a:cubicBezTo>
                    <a:pt x="194" y="57"/>
                    <a:pt x="180" y="43"/>
                    <a:pt x="167" y="29"/>
                  </a:cubicBezTo>
                  <a:cubicBezTo>
                    <a:pt x="190" y="25"/>
                    <a:pt x="216" y="20"/>
                    <a:pt x="242" y="14"/>
                  </a:cubicBezTo>
                  <a:cubicBezTo>
                    <a:pt x="257" y="31"/>
                    <a:pt x="271" y="47"/>
                    <a:pt x="285" y="60"/>
                  </a:cubicBezTo>
                  <a:cubicBezTo>
                    <a:pt x="258" y="65"/>
                    <a:pt x="233" y="68"/>
                    <a:pt x="209" y="71"/>
                  </a:cubicBezTo>
                  <a:moveTo>
                    <a:pt x="27" y="35"/>
                  </a:moveTo>
                  <a:cubicBezTo>
                    <a:pt x="22" y="28"/>
                    <a:pt x="15" y="20"/>
                    <a:pt x="9" y="11"/>
                  </a:cubicBezTo>
                  <a:cubicBezTo>
                    <a:pt x="18" y="9"/>
                    <a:pt x="28" y="7"/>
                    <a:pt x="40" y="5"/>
                  </a:cubicBezTo>
                  <a:cubicBezTo>
                    <a:pt x="47" y="13"/>
                    <a:pt x="54" y="22"/>
                    <a:pt x="62" y="31"/>
                  </a:cubicBezTo>
                  <a:cubicBezTo>
                    <a:pt x="48" y="33"/>
                    <a:pt x="37" y="34"/>
                    <a:pt x="27" y="35"/>
                  </a:cubicBezTo>
                  <a:moveTo>
                    <a:pt x="489" y="93"/>
                  </a:moveTo>
                  <a:cubicBezTo>
                    <a:pt x="468" y="71"/>
                    <a:pt x="450" y="53"/>
                    <a:pt x="437" y="39"/>
                  </a:cubicBezTo>
                  <a:cubicBezTo>
                    <a:pt x="472" y="29"/>
                    <a:pt x="507" y="17"/>
                    <a:pt x="541" y="3"/>
                  </a:cubicBezTo>
                  <a:cubicBezTo>
                    <a:pt x="550" y="14"/>
                    <a:pt x="568" y="34"/>
                    <a:pt x="593" y="61"/>
                  </a:cubicBezTo>
                  <a:cubicBezTo>
                    <a:pt x="559" y="74"/>
                    <a:pt x="524" y="84"/>
                    <a:pt x="489" y="93"/>
                  </a:cubicBezTo>
                  <a:moveTo>
                    <a:pt x="698" y="0"/>
                  </a:moveTo>
                  <a:cubicBezTo>
                    <a:pt x="687" y="0"/>
                    <a:pt x="687" y="0"/>
                    <a:pt x="687" y="0"/>
                  </a:cubicBezTo>
                  <a:cubicBezTo>
                    <a:pt x="690" y="3"/>
                    <a:pt x="693" y="7"/>
                    <a:pt x="696" y="11"/>
                  </a:cubicBezTo>
                  <a:cubicBezTo>
                    <a:pt x="669" y="29"/>
                    <a:pt x="637" y="44"/>
                    <a:pt x="604" y="57"/>
                  </a:cubicBezTo>
                  <a:cubicBezTo>
                    <a:pt x="581" y="32"/>
                    <a:pt x="564" y="12"/>
                    <a:pt x="553" y="0"/>
                  </a:cubicBezTo>
                  <a:cubicBezTo>
                    <a:pt x="517" y="0"/>
                    <a:pt x="517" y="0"/>
                    <a:pt x="517" y="0"/>
                  </a:cubicBezTo>
                  <a:cubicBezTo>
                    <a:pt x="488" y="11"/>
                    <a:pt x="458" y="21"/>
                    <a:pt x="427" y="29"/>
                  </a:cubicBezTo>
                  <a:cubicBezTo>
                    <a:pt x="425" y="27"/>
                    <a:pt x="423" y="24"/>
                    <a:pt x="421" y="22"/>
                  </a:cubicBezTo>
                  <a:cubicBezTo>
                    <a:pt x="414" y="15"/>
                    <a:pt x="407" y="8"/>
                    <a:pt x="401" y="0"/>
                  </a:cubicBezTo>
                  <a:cubicBezTo>
                    <a:pt x="386" y="0"/>
                    <a:pt x="386" y="0"/>
                    <a:pt x="386" y="0"/>
                  </a:cubicBezTo>
                  <a:cubicBezTo>
                    <a:pt x="395" y="11"/>
                    <a:pt x="404" y="21"/>
                    <a:pt x="413" y="31"/>
                  </a:cubicBezTo>
                  <a:cubicBezTo>
                    <a:pt x="413" y="31"/>
                    <a:pt x="414" y="32"/>
                    <a:pt x="415" y="33"/>
                  </a:cubicBezTo>
                  <a:cubicBezTo>
                    <a:pt x="376" y="43"/>
                    <a:pt x="337" y="51"/>
                    <a:pt x="299" y="58"/>
                  </a:cubicBezTo>
                  <a:cubicBezTo>
                    <a:pt x="299" y="57"/>
                    <a:pt x="298" y="56"/>
                    <a:pt x="297" y="56"/>
                  </a:cubicBezTo>
                  <a:cubicBezTo>
                    <a:pt x="284" y="43"/>
                    <a:pt x="269" y="28"/>
                    <a:pt x="255" y="11"/>
                  </a:cubicBezTo>
                  <a:cubicBezTo>
                    <a:pt x="270" y="8"/>
                    <a:pt x="286" y="4"/>
                    <a:pt x="302" y="0"/>
                  </a:cubicBezTo>
                  <a:cubicBezTo>
                    <a:pt x="250" y="0"/>
                    <a:pt x="250" y="0"/>
                    <a:pt x="250" y="0"/>
                  </a:cubicBezTo>
                  <a:cubicBezTo>
                    <a:pt x="249" y="0"/>
                    <a:pt x="247" y="1"/>
                    <a:pt x="246" y="1"/>
                  </a:cubicBezTo>
                  <a:cubicBezTo>
                    <a:pt x="246" y="1"/>
                    <a:pt x="245" y="0"/>
                    <a:pt x="245" y="0"/>
                  </a:cubicBezTo>
                  <a:cubicBezTo>
                    <a:pt x="230" y="0"/>
                    <a:pt x="230" y="0"/>
                    <a:pt x="230" y="0"/>
                  </a:cubicBezTo>
                  <a:cubicBezTo>
                    <a:pt x="231" y="1"/>
                    <a:pt x="232" y="2"/>
                    <a:pt x="233" y="4"/>
                  </a:cubicBezTo>
                  <a:cubicBezTo>
                    <a:pt x="206" y="9"/>
                    <a:pt x="180" y="14"/>
                    <a:pt x="156" y="18"/>
                  </a:cubicBezTo>
                  <a:cubicBezTo>
                    <a:pt x="151" y="12"/>
                    <a:pt x="145" y="6"/>
                    <a:pt x="139" y="0"/>
                  </a:cubicBezTo>
                  <a:cubicBezTo>
                    <a:pt x="123" y="0"/>
                    <a:pt x="123" y="0"/>
                    <a:pt x="123" y="0"/>
                  </a:cubicBezTo>
                  <a:cubicBezTo>
                    <a:pt x="130" y="7"/>
                    <a:pt x="136" y="13"/>
                    <a:pt x="142" y="20"/>
                  </a:cubicBezTo>
                  <a:cubicBezTo>
                    <a:pt x="131" y="22"/>
                    <a:pt x="120" y="24"/>
                    <a:pt x="109" y="25"/>
                  </a:cubicBezTo>
                  <a:cubicBezTo>
                    <a:pt x="102" y="17"/>
                    <a:pt x="95" y="9"/>
                    <a:pt x="87" y="0"/>
                  </a:cubicBezTo>
                  <a:cubicBezTo>
                    <a:pt x="72" y="0"/>
                    <a:pt x="72" y="0"/>
                    <a:pt x="72" y="0"/>
                  </a:cubicBezTo>
                  <a:cubicBezTo>
                    <a:pt x="80" y="9"/>
                    <a:pt x="88" y="18"/>
                    <a:pt x="95" y="27"/>
                  </a:cubicBezTo>
                  <a:cubicBezTo>
                    <a:pt x="89" y="28"/>
                    <a:pt x="82" y="29"/>
                    <a:pt x="76" y="29"/>
                  </a:cubicBezTo>
                  <a:cubicBezTo>
                    <a:pt x="68" y="20"/>
                    <a:pt x="60" y="11"/>
                    <a:pt x="53" y="3"/>
                  </a:cubicBezTo>
                  <a:cubicBezTo>
                    <a:pt x="57" y="2"/>
                    <a:pt x="61" y="1"/>
                    <a:pt x="66" y="0"/>
                  </a:cubicBezTo>
                  <a:cubicBezTo>
                    <a:pt x="3" y="0"/>
                    <a:pt x="3" y="0"/>
                    <a:pt x="3" y="0"/>
                  </a:cubicBezTo>
                  <a:cubicBezTo>
                    <a:pt x="2" y="0"/>
                    <a:pt x="2" y="0"/>
                    <a:pt x="1" y="0"/>
                  </a:cubicBezTo>
                  <a:cubicBezTo>
                    <a:pt x="1" y="0"/>
                    <a:pt x="1" y="0"/>
                    <a:pt x="1" y="0"/>
                  </a:cubicBezTo>
                  <a:cubicBezTo>
                    <a:pt x="0" y="0"/>
                    <a:pt x="0" y="0"/>
                    <a:pt x="0" y="0"/>
                  </a:cubicBezTo>
                  <a:cubicBezTo>
                    <a:pt x="0" y="18"/>
                    <a:pt x="0" y="18"/>
                    <a:pt x="0" y="18"/>
                  </a:cubicBezTo>
                  <a:cubicBezTo>
                    <a:pt x="4" y="24"/>
                    <a:pt x="9" y="30"/>
                    <a:pt x="14" y="36"/>
                  </a:cubicBezTo>
                  <a:cubicBezTo>
                    <a:pt x="7" y="36"/>
                    <a:pt x="3" y="37"/>
                    <a:pt x="2" y="37"/>
                  </a:cubicBezTo>
                  <a:cubicBezTo>
                    <a:pt x="1" y="36"/>
                    <a:pt x="0" y="35"/>
                    <a:pt x="0" y="34"/>
                  </a:cubicBezTo>
                  <a:cubicBezTo>
                    <a:pt x="0" y="49"/>
                    <a:pt x="0" y="49"/>
                    <a:pt x="0" y="49"/>
                  </a:cubicBezTo>
                  <a:cubicBezTo>
                    <a:pt x="48" y="98"/>
                    <a:pt x="103" y="145"/>
                    <a:pt x="148" y="179"/>
                  </a:cubicBezTo>
                  <a:cubicBezTo>
                    <a:pt x="163" y="190"/>
                    <a:pt x="177" y="201"/>
                    <a:pt x="190" y="211"/>
                  </a:cubicBezTo>
                  <a:cubicBezTo>
                    <a:pt x="235" y="247"/>
                    <a:pt x="281" y="283"/>
                    <a:pt x="373" y="342"/>
                  </a:cubicBezTo>
                  <a:cubicBezTo>
                    <a:pt x="372" y="342"/>
                    <a:pt x="372" y="342"/>
                    <a:pt x="372" y="342"/>
                  </a:cubicBezTo>
                  <a:cubicBezTo>
                    <a:pt x="373" y="342"/>
                    <a:pt x="373" y="342"/>
                    <a:pt x="373" y="342"/>
                  </a:cubicBezTo>
                  <a:cubicBezTo>
                    <a:pt x="392" y="354"/>
                    <a:pt x="414" y="368"/>
                    <a:pt x="437" y="383"/>
                  </a:cubicBezTo>
                  <a:cubicBezTo>
                    <a:pt x="467" y="403"/>
                    <a:pt x="498" y="424"/>
                    <a:pt x="530" y="443"/>
                  </a:cubicBezTo>
                  <a:cubicBezTo>
                    <a:pt x="529" y="444"/>
                    <a:pt x="529" y="444"/>
                    <a:pt x="529" y="444"/>
                  </a:cubicBezTo>
                  <a:cubicBezTo>
                    <a:pt x="530" y="444"/>
                    <a:pt x="535" y="447"/>
                    <a:pt x="543" y="451"/>
                  </a:cubicBezTo>
                  <a:cubicBezTo>
                    <a:pt x="563" y="462"/>
                    <a:pt x="583" y="473"/>
                    <a:pt x="603" y="483"/>
                  </a:cubicBezTo>
                  <a:cubicBezTo>
                    <a:pt x="608" y="486"/>
                    <a:pt x="612" y="488"/>
                    <a:pt x="616" y="491"/>
                  </a:cubicBezTo>
                  <a:cubicBezTo>
                    <a:pt x="616" y="492"/>
                    <a:pt x="617" y="493"/>
                    <a:pt x="617" y="494"/>
                  </a:cubicBezTo>
                  <a:cubicBezTo>
                    <a:pt x="661" y="494"/>
                    <a:pt x="661" y="494"/>
                    <a:pt x="661" y="494"/>
                  </a:cubicBezTo>
                  <a:cubicBezTo>
                    <a:pt x="655" y="492"/>
                    <a:pt x="650" y="490"/>
                    <a:pt x="645" y="487"/>
                  </a:cubicBezTo>
                  <a:cubicBezTo>
                    <a:pt x="653" y="490"/>
                    <a:pt x="661" y="492"/>
                    <a:pt x="670" y="494"/>
                  </a:cubicBezTo>
                  <a:cubicBezTo>
                    <a:pt x="698" y="494"/>
                    <a:pt x="698" y="494"/>
                    <a:pt x="698" y="494"/>
                  </a:cubicBezTo>
                  <a:cubicBezTo>
                    <a:pt x="698" y="487"/>
                    <a:pt x="698" y="487"/>
                    <a:pt x="698" y="487"/>
                  </a:cubicBezTo>
                  <a:cubicBezTo>
                    <a:pt x="664" y="469"/>
                    <a:pt x="630" y="449"/>
                    <a:pt x="596" y="428"/>
                  </a:cubicBezTo>
                  <a:cubicBezTo>
                    <a:pt x="604" y="429"/>
                    <a:pt x="611" y="431"/>
                    <a:pt x="619" y="432"/>
                  </a:cubicBezTo>
                  <a:cubicBezTo>
                    <a:pt x="645" y="450"/>
                    <a:pt x="672" y="466"/>
                    <a:pt x="698" y="481"/>
                  </a:cubicBezTo>
                  <a:cubicBezTo>
                    <a:pt x="698" y="467"/>
                    <a:pt x="698" y="467"/>
                    <a:pt x="698" y="467"/>
                  </a:cubicBezTo>
                  <a:cubicBezTo>
                    <a:pt x="682" y="458"/>
                    <a:pt x="665" y="448"/>
                    <a:pt x="648" y="437"/>
                  </a:cubicBezTo>
                  <a:cubicBezTo>
                    <a:pt x="664" y="440"/>
                    <a:pt x="681" y="442"/>
                    <a:pt x="698" y="443"/>
                  </a:cubicBezTo>
                  <a:cubicBezTo>
                    <a:pt x="698" y="431"/>
                    <a:pt x="698" y="431"/>
                    <a:pt x="698" y="431"/>
                  </a:cubicBezTo>
                  <a:cubicBezTo>
                    <a:pt x="672" y="429"/>
                    <a:pt x="646" y="425"/>
                    <a:pt x="623" y="421"/>
                  </a:cubicBezTo>
                  <a:cubicBezTo>
                    <a:pt x="599" y="405"/>
                    <a:pt x="576" y="389"/>
                    <a:pt x="553" y="372"/>
                  </a:cubicBezTo>
                  <a:cubicBezTo>
                    <a:pt x="580" y="375"/>
                    <a:pt x="609" y="377"/>
                    <a:pt x="640" y="378"/>
                  </a:cubicBezTo>
                  <a:cubicBezTo>
                    <a:pt x="659" y="393"/>
                    <a:pt x="679" y="407"/>
                    <a:pt x="698" y="422"/>
                  </a:cubicBezTo>
                  <a:cubicBezTo>
                    <a:pt x="698" y="407"/>
                    <a:pt x="698" y="407"/>
                    <a:pt x="698" y="407"/>
                  </a:cubicBezTo>
                  <a:cubicBezTo>
                    <a:pt x="685" y="398"/>
                    <a:pt x="672" y="388"/>
                    <a:pt x="660" y="378"/>
                  </a:cubicBezTo>
                  <a:cubicBezTo>
                    <a:pt x="663" y="378"/>
                    <a:pt x="667" y="378"/>
                    <a:pt x="670" y="378"/>
                  </a:cubicBezTo>
                  <a:cubicBezTo>
                    <a:pt x="679" y="378"/>
                    <a:pt x="689" y="378"/>
                    <a:pt x="698" y="378"/>
                  </a:cubicBezTo>
                  <a:cubicBezTo>
                    <a:pt x="698" y="366"/>
                    <a:pt x="698" y="366"/>
                    <a:pt x="698" y="366"/>
                  </a:cubicBezTo>
                  <a:cubicBezTo>
                    <a:pt x="689" y="366"/>
                    <a:pt x="679" y="366"/>
                    <a:pt x="670" y="366"/>
                  </a:cubicBezTo>
                  <a:cubicBezTo>
                    <a:pt x="661" y="366"/>
                    <a:pt x="653" y="366"/>
                    <a:pt x="644" y="366"/>
                  </a:cubicBezTo>
                  <a:cubicBezTo>
                    <a:pt x="622" y="349"/>
                    <a:pt x="601" y="331"/>
                    <a:pt x="581" y="314"/>
                  </a:cubicBezTo>
                  <a:cubicBezTo>
                    <a:pt x="617" y="312"/>
                    <a:pt x="655" y="309"/>
                    <a:pt x="694" y="304"/>
                  </a:cubicBezTo>
                  <a:cubicBezTo>
                    <a:pt x="695" y="305"/>
                    <a:pt x="697" y="307"/>
                    <a:pt x="698" y="308"/>
                  </a:cubicBezTo>
                  <a:cubicBezTo>
                    <a:pt x="698" y="291"/>
                    <a:pt x="698" y="291"/>
                    <a:pt x="698" y="291"/>
                  </a:cubicBezTo>
                  <a:cubicBezTo>
                    <a:pt x="698" y="291"/>
                    <a:pt x="698" y="291"/>
                    <a:pt x="697" y="291"/>
                  </a:cubicBezTo>
                  <a:cubicBezTo>
                    <a:pt x="675" y="272"/>
                    <a:pt x="654" y="252"/>
                    <a:pt x="634" y="233"/>
                  </a:cubicBezTo>
                  <a:cubicBezTo>
                    <a:pt x="655" y="229"/>
                    <a:pt x="677" y="225"/>
                    <a:pt x="698" y="219"/>
                  </a:cubicBezTo>
                  <a:cubicBezTo>
                    <a:pt x="698" y="207"/>
                    <a:pt x="698" y="207"/>
                    <a:pt x="698" y="207"/>
                  </a:cubicBezTo>
                  <a:cubicBezTo>
                    <a:pt x="674" y="213"/>
                    <a:pt x="648" y="219"/>
                    <a:pt x="623" y="223"/>
                  </a:cubicBezTo>
                  <a:cubicBezTo>
                    <a:pt x="603" y="204"/>
                    <a:pt x="584" y="185"/>
                    <a:pt x="565" y="168"/>
                  </a:cubicBezTo>
                  <a:cubicBezTo>
                    <a:pt x="600" y="160"/>
                    <a:pt x="634" y="151"/>
                    <a:pt x="667" y="139"/>
                  </a:cubicBezTo>
                  <a:cubicBezTo>
                    <a:pt x="677" y="150"/>
                    <a:pt x="688" y="161"/>
                    <a:pt x="698" y="172"/>
                  </a:cubicBezTo>
                  <a:cubicBezTo>
                    <a:pt x="698" y="155"/>
                    <a:pt x="698" y="155"/>
                    <a:pt x="698" y="155"/>
                  </a:cubicBezTo>
                  <a:cubicBezTo>
                    <a:pt x="692" y="149"/>
                    <a:pt x="685" y="142"/>
                    <a:pt x="679" y="135"/>
                  </a:cubicBezTo>
                  <a:cubicBezTo>
                    <a:pt x="685" y="133"/>
                    <a:pt x="692" y="130"/>
                    <a:pt x="698" y="127"/>
                  </a:cubicBezTo>
                  <a:cubicBezTo>
                    <a:pt x="698" y="114"/>
                    <a:pt x="698" y="114"/>
                    <a:pt x="698" y="114"/>
                  </a:cubicBezTo>
                  <a:cubicBezTo>
                    <a:pt x="689" y="118"/>
                    <a:pt x="679" y="122"/>
                    <a:pt x="670" y="126"/>
                  </a:cubicBezTo>
                  <a:cubicBezTo>
                    <a:pt x="666" y="121"/>
                    <a:pt x="661" y="117"/>
                    <a:pt x="657" y="113"/>
                  </a:cubicBezTo>
                  <a:cubicBezTo>
                    <a:pt x="641" y="96"/>
                    <a:pt x="626" y="80"/>
                    <a:pt x="613" y="66"/>
                  </a:cubicBezTo>
                  <a:cubicBezTo>
                    <a:pt x="643" y="54"/>
                    <a:pt x="672" y="40"/>
                    <a:pt x="698" y="24"/>
                  </a:cubicBezTo>
                  <a:cubicBezTo>
                    <a:pt x="698" y="0"/>
                    <a:pt x="698" y="0"/>
                    <a:pt x="698" y="0"/>
                  </a:cubicBezTo>
                  <a:moveTo>
                    <a:pt x="1417" y="451"/>
                  </a:moveTo>
                  <a:cubicBezTo>
                    <a:pt x="1417" y="440"/>
                    <a:pt x="1418" y="431"/>
                    <a:pt x="1419" y="426"/>
                  </a:cubicBezTo>
                  <a:cubicBezTo>
                    <a:pt x="1424" y="424"/>
                    <a:pt x="1430" y="422"/>
                    <a:pt x="1435" y="420"/>
                  </a:cubicBezTo>
                  <a:cubicBezTo>
                    <a:pt x="1444" y="428"/>
                    <a:pt x="1453" y="434"/>
                    <a:pt x="1462" y="439"/>
                  </a:cubicBezTo>
                  <a:cubicBezTo>
                    <a:pt x="1448" y="442"/>
                    <a:pt x="1433" y="446"/>
                    <a:pt x="1417" y="451"/>
                  </a:cubicBezTo>
                  <a:moveTo>
                    <a:pt x="1711" y="446"/>
                  </a:moveTo>
                  <a:cubicBezTo>
                    <a:pt x="1704" y="445"/>
                    <a:pt x="1697" y="445"/>
                    <a:pt x="1690" y="445"/>
                  </a:cubicBezTo>
                  <a:cubicBezTo>
                    <a:pt x="1691" y="435"/>
                    <a:pt x="1692" y="426"/>
                    <a:pt x="1693" y="419"/>
                  </a:cubicBezTo>
                  <a:cubicBezTo>
                    <a:pt x="1699" y="430"/>
                    <a:pt x="1705" y="439"/>
                    <a:pt x="1711" y="446"/>
                  </a:cubicBezTo>
                  <a:moveTo>
                    <a:pt x="1970" y="419"/>
                  </a:moveTo>
                  <a:cubicBezTo>
                    <a:pt x="1992" y="419"/>
                    <a:pt x="2014" y="418"/>
                    <a:pt x="2038" y="417"/>
                  </a:cubicBezTo>
                  <a:cubicBezTo>
                    <a:pt x="2038" y="429"/>
                    <a:pt x="2038" y="438"/>
                    <a:pt x="2038" y="444"/>
                  </a:cubicBezTo>
                  <a:cubicBezTo>
                    <a:pt x="2038" y="446"/>
                    <a:pt x="2038" y="448"/>
                    <a:pt x="2038" y="449"/>
                  </a:cubicBezTo>
                  <a:cubicBezTo>
                    <a:pt x="2011" y="450"/>
                    <a:pt x="1985" y="451"/>
                    <a:pt x="1959" y="451"/>
                  </a:cubicBezTo>
                  <a:cubicBezTo>
                    <a:pt x="1962" y="437"/>
                    <a:pt x="1964" y="426"/>
                    <a:pt x="1967" y="419"/>
                  </a:cubicBezTo>
                  <a:cubicBezTo>
                    <a:pt x="1968" y="419"/>
                    <a:pt x="1969" y="419"/>
                    <a:pt x="1970" y="419"/>
                  </a:cubicBezTo>
                  <a:moveTo>
                    <a:pt x="1911" y="452"/>
                  </a:moveTo>
                  <a:cubicBezTo>
                    <a:pt x="1908" y="452"/>
                    <a:pt x="1905" y="452"/>
                    <a:pt x="1901" y="451"/>
                  </a:cubicBezTo>
                  <a:cubicBezTo>
                    <a:pt x="1904" y="450"/>
                    <a:pt x="1904" y="450"/>
                    <a:pt x="1904" y="450"/>
                  </a:cubicBezTo>
                  <a:cubicBezTo>
                    <a:pt x="1900" y="443"/>
                    <a:pt x="1896" y="431"/>
                    <a:pt x="1892" y="415"/>
                  </a:cubicBezTo>
                  <a:cubicBezTo>
                    <a:pt x="1898" y="416"/>
                    <a:pt x="1898" y="416"/>
                    <a:pt x="1898" y="416"/>
                  </a:cubicBezTo>
                  <a:cubicBezTo>
                    <a:pt x="1916" y="417"/>
                    <a:pt x="1935" y="418"/>
                    <a:pt x="1955" y="418"/>
                  </a:cubicBezTo>
                  <a:cubicBezTo>
                    <a:pt x="1953" y="426"/>
                    <a:pt x="1950" y="437"/>
                    <a:pt x="1948" y="451"/>
                  </a:cubicBezTo>
                  <a:cubicBezTo>
                    <a:pt x="1935" y="451"/>
                    <a:pt x="1923" y="452"/>
                    <a:pt x="1911" y="452"/>
                  </a:cubicBezTo>
                  <a:moveTo>
                    <a:pt x="1892" y="451"/>
                  </a:moveTo>
                  <a:cubicBezTo>
                    <a:pt x="1872" y="451"/>
                    <a:pt x="1851" y="451"/>
                    <a:pt x="1832" y="451"/>
                  </a:cubicBezTo>
                  <a:cubicBezTo>
                    <a:pt x="1836" y="430"/>
                    <a:pt x="1839" y="415"/>
                    <a:pt x="1841" y="411"/>
                  </a:cubicBezTo>
                  <a:cubicBezTo>
                    <a:pt x="1841" y="411"/>
                    <a:pt x="1841" y="411"/>
                    <a:pt x="1841" y="411"/>
                  </a:cubicBezTo>
                  <a:cubicBezTo>
                    <a:pt x="1850" y="412"/>
                    <a:pt x="1859" y="412"/>
                    <a:pt x="1868" y="413"/>
                  </a:cubicBezTo>
                  <a:cubicBezTo>
                    <a:pt x="1880" y="414"/>
                    <a:pt x="1880" y="414"/>
                    <a:pt x="1880" y="414"/>
                  </a:cubicBezTo>
                  <a:cubicBezTo>
                    <a:pt x="1884" y="430"/>
                    <a:pt x="1888" y="443"/>
                    <a:pt x="1892" y="451"/>
                  </a:cubicBezTo>
                  <a:moveTo>
                    <a:pt x="1820" y="450"/>
                  </a:moveTo>
                  <a:cubicBezTo>
                    <a:pt x="1819" y="450"/>
                    <a:pt x="1819" y="450"/>
                    <a:pt x="1818" y="450"/>
                  </a:cubicBezTo>
                  <a:cubicBezTo>
                    <a:pt x="1812" y="441"/>
                    <a:pt x="1805" y="426"/>
                    <a:pt x="1798" y="407"/>
                  </a:cubicBezTo>
                  <a:cubicBezTo>
                    <a:pt x="1808" y="408"/>
                    <a:pt x="1819" y="409"/>
                    <a:pt x="1830" y="410"/>
                  </a:cubicBezTo>
                  <a:cubicBezTo>
                    <a:pt x="1827" y="417"/>
                    <a:pt x="1824" y="431"/>
                    <a:pt x="1820" y="450"/>
                  </a:cubicBezTo>
                  <a:moveTo>
                    <a:pt x="1940" y="406"/>
                  </a:moveTo>
                  <a:cubicBezTo>
                    <a:pt x="1926" y="406"/>
                    <a:pt x="1912" y="405"/>
                    <a:pt x="1899" y="404"/>
                  </a:cubicBezTo>
                  <a:cubicBezTo>
                    <a:pt x="1888" y="403"/>
                    <a:pt x="1888" y="403"/>
                    <a:pt x="1888" y="403"/>
                  </a:cubicBezTo>
                  <a:cubicBezTo>
                    <a:pt x="1888" y="402"/>
                    <a:pt x="1888" y="402"/>
                    <a:pt x="1888" y="402"/>
                  </a:cubicBezTo>
                  <a:cubicBezTo>
                    <a:pt x="1905" y="403"/>
                    <a:pt x="1923" y="405"/>
                    <a:pt x="1940" y="406"/>
                  </a:cubicBezTo>
                  <a:moveTo>
                    <a:pt x="1481" y="436"/>
                  </a:moveTo>
                  <a:cubicBezTo>
                    <a:pt x="1470" y="431"/>
                    <a:pt x="1459" y="424"/>
                    <a:pt x="1448" y="416"/>
                  </a:cubicBezTo>
                  <a:cubicBezTo>
                    <a:pt x="1467" y="409"/>
                    <a:pt x="1485" y="404"/>
                    <a:pt x="1500" y="401"/>
                  </a:cubicBezTo>
                  <a:cubicBezTo>
                    <a:pt x="1512" y="415"/>
                    <a:pt x="1523" y="426"/>
                    <a:pt x="1534" y="434"/>
                  </a:cubicBezTo>
                  <a:cubicBezTo>
                    <a:pt x="1525" y="434"/>
                    <a:pt x="1517" y="434"/>
                    <a:pt x="1510" y="434"/>
                  </a:cubicBezTo>
                  <a:cubicBezTo>
                    <a:pt x="1510" y="434"/>
                    <a:pt x="1510" y="434"/>
                    <a:pt x="1509" y="434"/>
                  </a:cubicBezTo>
                  <a:cubicBezTo>
                    <a:pt x="1500" y="434"/>
                    <a:pt x="1491" y="434"/>
                    <a:pt x="1481" y="436"/>
                  </a:cubicBezTo>
                  <a:moveTo>
                    <a:pt x="1804" y="450"/>
                  </a:moveTo>
                  <a:cubicBezTo>
                    <a:pt x="1777" y="449"/>
                    <a:pt x="1751" y="448"/>
                    <a:pt x="1727" y="447"/>
                  </a:cubicBezTo>
                  <a:cubicBezTo>
                    <a:pt x="1718" y="438"/>
                    <a:pt x="1708" y="422"/>
                    <a:pt x="1697" y="402"/>
                  </a:cubicBezTo>
                  <a:cubicBezTo>
                    <a:pt x="1697" y="401"/>
                    <a:pt x="1697" y="401"/>
                    <a:pt x="1697" y="401"/>
                  </a:cubicBezTo>
                  <a:cubicBezTo>
                    <a:pt x="1697" y="401"/>
                    <a:pt x="1697" y="401"/>
                    <a:pt x="1697" y="401"/>
                  </a:cubicBezTo>
                  <a:cubicBezTo>
                    <a:pt x="1696" y="400"/>
                    <a:pt x="1696" y="400"/>
                    <a:pt x="1696" y="399"/>
                  </a:cubicBezTo>
                  <a:cubicBezTo>
                    <a:pt x="1723" y="401"/>
                    <a:pt x="1753" y="403"/>
                    <a:pt x="1785" y="406"/>
                  </a:cubicBezTo>
                  <a:cubicBezTo>
                    <a:pt x="1792" y="424"/>
                    <a:pt x="1798" y="439"/>
                    <a:pt x="1804" y="450"/>
                  </a:cubicBezTo>
                  <a:moveTo>
                    <a:pt x="1543" y="427"/>
                  </a:moveTo>
                  <a:cubicBezTo>
                    <a:pt x="1533" y="420"/>
                    <a:pt x="1523" y="410"/>
                    <a:pt x="1513" y="399"/>
                  </a:cubicBezTo>
                  <a:cubicBezTo>
                    <a:pt x="1516" y="399"/>
                    <a:pt x="1519" y="398"/>
                    <a:pt x="1521" y="398"/>
                  </a:cubicBezTo>
                  <a:cubicBezTo>
                    <a:pt x="1529" y="397"/>
                    <a:pt x="1538" y="397"/>
                    <a:pt x="1547" y="396"/>
                  </a:cubicBezTo>
                  <a:cubicBezTo>
                    <a:pt x="1545" y="403"/>
                    <a:pt x="1544" y="413"/>
                    <a:pt x="1543" y="427"/>
                  </a:cubicBezTo>
                  <a:moveTo>
                    <a:pt x="1679" y="444"/>
                  </a:moveTo>
                  <a:cubicBezTo>
                    <a:pt x="1667" y="443"/>
                    <a:pt x="1655" y="442"/>
                    <a:pt x="1644" y="442"/>
                  </a:cubicBezTo>
                  <a:cubicBezTo>
                    <a:pt x="1644" y="441"/>
                    <a:pt x="1644" y="441"/>
                    <a:pt x="1644" y="441"/>
                  </a:cubicBezTo>
                  <a:cubicBezTo>
                    <a:pt x="1631" y="433"/>
                    <a:pt x="1617" y="417"/>
                    <a:pt x="1603" y="395"/>
                  </a:cubicBezTo>
                  <a:cubicBezTo>
                    <a:pt x="1627" y="395"/>
                    <a:pt x="1654" y="396"/>
                    <a:pt x="1683" y="398"/>
                  </a:cubicBezTo>
                  <a:cubicBezTo>
                    <a:pt x="1683" y="400"/>
                    <a:pt x="1684" y="402"/>
                    <a:pt x="1685" y="403"/>
                  </a:cubicBezTo>
                  <a:cubicBezTo>
                    <a:pt x="1683" y="412"/>
                    <a:pt x="1681" y="425"/>
                    <a:pt x="1679" y="444"/>
                  </a:cubicBezTo>
                  <a:moveTo>
                    <a:pt x="1625" y="440"/>
                  </a:moveTo>
                  <a:cubicBezTo>
                    <a:pt x="1614" y="440"/>
                    <a:pt x="1604" y="439"/>
                    <a:pt x="1595" y="438"/>
                  </a:cubicBezTo>
                  <a:cubicBezTo>
                    <a:pt x="1580" y="437"/>
                    <a:pt x="1567" y="436"/>
                    <a:pt x="1555" y="436"/>
                  </a:cubicBezTo>
                  <a:cubicBezTo>
                    <a:pt x="1556" y="435"/>
                    <a:pt x="1556" y="435"/>
                    <a:pt x="1556" y="435"/>
                  </a:cubicBezTo>
                  <a:cubicBezTo>
                    <a:pt x="1555" y="434"/>
                    <a:pt x="1554" y="434"/>
                    <a:pt x="1554" y="433"/>
                  </a:cubicBezTo>
                  <a:cubicBezTo>
                    <a:pt x="1555" y="415"/>
                    <a:pt x="1556" y="402"/>
                    <a:pt x="1558" y="396"/>
                  </a:cubicBezTo>
                  <a:cubicBezTo>
                    <a:pt x="1568" y="395"/>
                    <a:pt x="1578" y="395"/>
                    <a:pt x="1589" y="395"/>
                  </a:cubicBezTo>
                  <a:cubicBezTo>
                    <a:pt x="1601" y="414"/>
                    <a:pt x="1613" y="429"/>
                    <a:pt x="1625" y="440"/>
                  </a:cubicBezTo>
                  <a:moveTo>
                    <a:pt x="1876" y="402"/>
                  </a:moveTo>
                  <a:cubicBezTo>
                    <a:pt x="1869" y="401"/>
                    <a:pt x="1869" y="401"/>
                    <a:pt x="1869" y="401"/>
                  </a:cubicBezTo>
                  <a:cubicBezTo>
                    <a:pt x="1842" y="399"/>
                    <a:pt x="1817" y="397"/>
                    <a:pt x="1793" y="395"/>
                  </a:cubicBezTo>
                  <a:cubicBezTo>
                    <a:pt x="1793" y="394"/>
                    <a:pt x="1792" y="394"/>
                    <a:pt x="1792" y="393"/>
                  </a:cubicBezTo>
                  <a:cubicBezTo>
                    <a:pt x="1819" y="395"/>
                    <a:pt x="1847" y="398"/>
                    <a:pt x="1874" y="400"/>
                  </a:cubicBezTo>
                  <a:cubicBezTo>
                    <a:pt x="1875" y="400"/>
                    <a:pt x="1876" y="400"/>
                    <a:pt x="1876" y="400"/>
                  </a:cubicBezTo>
                  <a:cubicBezTo>
                    <a:pt x="1876" y="401"/>
                    <a:pt x="1876" y="401"/>
                    <a:pt x="1876" y="402"/>
                  </a:cubicBezTo>
                  <a:moveTo>
                    <a:pt x="1780" y="394"/>
                  </a:moveTo>
                  <a:cubicBezTo>
                    <a:pt x="1760" y="392"/>
                    <a:pt x="1741" y="390"/>
                    <a:pt x="1723" y="389"/>
                  </a:cubicBezTo>
                  <a:cubicBezTo>
                    <a:pt x="1742" y="390"/>
                    <a:pt x="1761" y="391"/>
                    <a:pt x="1780" y="392"/>
                  </a:cubicBezTo>
                  <a:cubicBezTo>
                    <a:pt x="1780" y="393"/>
                    <a:pt x="1780" y="393"/>
                    <a:pt x="1780" y="394"/>
                  </a:cubicBezTo>
                  <a:moveTo>
                    <a:pt x="1434" y="404"/>
                  </a:moveTo>
                  <a:cubicBezTo>
                    <a:pt x="1424" y="396"/>
                    <a:pt x="1415" y="386"/>
                    <a:pt x="1404" y="375"/>
                  </a:cubicBezTo>
                  <a:cubicBezTo>
                    <a:pt x="1425" y="368"/>
                    <a:pt x="1445" y="361"/>
                    <a:pt x="1466" y="355"/>
                  </a:cubicBezTo>
                  <a:cubicBezTo>
                    <a:pt x="1474" y="368"/>
                    <a:pt x="1483" y="380"/>
                    <a:pt x="1491" y="390"/>
                  </a:cubicBezTo>
                  <a:cubicBezTo>
                    <a:pt x="1471" y="393"/>
                    <a:pt x="1452" y="398"/>
                    <a:pt x="1434" y="404"/>
                  </a:cubicBezTo>
                  <a:moveTo>
                    <a:pt x="1504" y="388"/>
                  </a:moveTo>
                  <a:cubicBezTo>
                    <a:pt x="1495" y="377"/>
                    <a:pt x="1486" y="365"/>
                    <a:pt x="1477" y="352"/>
                  </a:cubicBezTo>
                  <a:cubicBezTo>
                    <a:pt x="1504" y="345"/>
                    <a:pt x="1530" y="340"/>
                    <a:pt x="1556" y="337"/>
                  </a:cubicBezTo>
                  <a:cubicBezTo>
                    <a:pt x="1564" y="352"/>
                    <a:pt x="1572" y="366"/>
                    <a:pt x="1580" y="379"/>
                  </a:cubicBezTo>
                  <a:cubicBezTo>
                    <a:pt x="1560" y="381"/>
                    <a:pt x="1540" y="383"/>
                    <a:pt x="1519" y="386"/>
                  </a:cubicBezTo>
                  <a:cubicBezTo>
                    <a:pt x="1514" y="387"/>
                    <a:pt x="1509" y="387"/>
                    <a:pt x="1504" y="388"/>
                  </a:cubicBezTo>
                  <a:moveTo>
                    <a:pt x="1593" y="378"/>
                  </a:moveTo>
                  <a:cubicBezTo>
                    <a:pt x="1585" y="365"/>
                    <a:pt x="1577" y="351"/>
                    <a:pt x="1569" y="335"/>
                  </a:cubicBezTo>
                  <a:cubicBezTo>
                    <a:pt x="1589" y="333"/>
                    <a:pt x="1618" y="332"/>
                    <a:pt x="1654" y="332"/>
                  </a:cubicBezTo>
                  <a:cubicBezTo>
                    <a:pt x="1660" y="348"/>
                    <a:pt x="1666" y="362"/>
                    <a:pt x="1672" y="376"/>
                  </a:cubicBezTo>
                  <a:cubicBezTo>
                    <a:pt x="1671" y="376"/>
                    <a:pt x="1670" y="376"/>
                    <a:pt x="1668" y="376"/>
                  </a:cubicBezTo>
                  <a:cubicBezTo>
                    <a:pt x="1644" y="376"/>
                    <a:pt x="1618" y="377"/>
                    <a:pt x="1593" y="378"/>
                  </a:cubicBezTo>
                  <a:moveTo>
                    <a:pt x="1776" y="380"/>
                  </a:moveTo>
                  <a:cubicBezTo>
                    <a:pt x="1745" y="378"/>
                    <a:pt x="1715" y="376"/>
                    <a:pt x="1685" y="376"/>
                  </a:cubicBezTo>
                  <a:cubicBezTo>
                    <a:pt x="1678" y="362"/>
                    <a:pt x="1672" y="347"/>
                    <a:pt x="1666" y="331"/>
                  </a:cubicBezTo>
                  <a:cubicBezTo>
                    <a:pt x="1682" y="331"/>
                    <a:pt x="1700" y="331"/>
                    <a:pt x="1720" y="330"/>
                  </a:cubicBezTo>
                  <a:cubicBezTo>
                    <a:pt x="1732" y="330"/>
                    <a:pt x="1745" y="330"/>
                    <a:pt x="1759" y="330"/>
                  </a:cubicBezTo>
                  <a:cubicBezTo>
                    <a:pt x="1765" y="348"/>
                    <a:pt x="1770" y="365"/>
                    <a:pt x="1776" y="380"/>
                  </a:cubicBezTo>
                  <a:moveTo>
                    <a:pt x="1873" y="388"/>
                  </a:moveTo>
                  <a:cubicBezTo>
                    <a:pt x="1844" y="385"/>
                    <a:pt x="1816" y="383"/>
                    <a:pt x="1788" y="381"/>
                  </a:cubicBezTo>
                  <a:cubicBezTo>
                    <a:pt x="1782" y="365"/>
                    <a:pt x="1776" y="348"/>
                    <a:pt x="1770" y="329"/>
                  </a:cubicBezTo>
                  <a:cubicBezTo>
                    <a:pt x="1798" y="329"/>
                    <a:pt x="1827" y="328"/>
                    <a:pt x="1858" y="327"/>
                  </a:cubicBezTo>
                  <a:cubicBezTo>
                    <a:pt x="1863" y="350"/>
                    <a:pt x="1868" y="370"/>
                    <a:pt x="1873" y="388"/>
                  </a:cubicBezTo>
                  <a:moveTo>
                    <a:pt x="1958" y="395"/>
                  </a:moveTo>
                  <a:cubicBezTo>
                    <a:pt x="1933" y="394"/>
                    <a:pt x="1909" y="391"/>
                    <a:pt x="1885" y="389"/>
                  </a:cubicBezTo>
                  <a:cubicBezTo>
                    <a:pt x="1880" y="371"/>
                    <a:pt x="1875" y="350"/>
                    <a:pt x="1870" y="327"/>
                  </a:cubicBezTo>
                  <a:cubicBezTo>
                    <a:pt x="1894" y="326"/>
                    <a:pt x="1915" y="326"/>
                    <a:pt x="1947" y="324"/>
                  </a:cubicBezTo>
                  <a:cubicBezTo>
                    <a:pt x="1947" y="325"/>
                    <a:pt x="1947" y="325"/>
                    <a:pt x="1947" y="325"/>
                  </a:cubicBezTo>
                  <a:cubicBezTo>
                    <a:pt x="1951" y="357"/>
                    <a:pt x="1954" y="381"/>
                    <a:pt x="1958" y="395"/>
                  </a:cubicBezTo>
                  <a:moveTo>
                    <a:pt x="2038" y="400"/>
                  </a:moveTo>
                  <a:cubicBezTo>
                    <a:pt x="2014" y="399"/>
                    <a:pt x="1991" y="398"/>
                    <a:pt x="1968" y="396"/>
                  </a:cubicBezTo>
                  <a:cubicBezTo>
                    <a:pt x="1969" y="396"/>
                    <a:pt x="1969" y="396"/>
                    <a:pt x="1969" y="396"/>
                  </a:cubicBezTo>
                  <a:cubicBezTo>
                    <a:pt x="1966" y="383"/>
                    <a:pt x="1962" y="357"/>
                    <a:pt x="1958" y="324"/>
                  </a:cubicBezTo>
                  <a:cubicBezTo>
                    <a:pt x="1983" y="323"/>
                    <a:pt x="2009" y="321"/>
                    <a:pt x="2035" y="320"/>
                  </a:cubicBezTo>
                  <a:cubicBezTo>
                    <a:pt x="2036" y="352"/>
                    <a:pt x="2037" y="379"/>
                    <a:pt x="2038" y="400"/>
                  </a:cubicBezTo>
                  <a:moveTo>
                    <a:pt x="1470" y="342"/>
                  </a:moveTo>
                  <a:cubicBezTo>
                    <a:pt x="1454" y="317"/>
                    <a:pt x="1437" y="288"/>
                    <a:pt x="1419" y="257"/>
                  </a:cubicBezTo>
                  <a:cubicBezTo>
                    <a:pt x="1448" y="248"/>
                    <a:pt x="1478" y="240"/>
                    <a:pt x="1507" y="234"/>
                  </a:cubicBezTo>
                  <a:cubicBezTo>
                    <a:pt x="1522" y="267"/>
                    <a:pt x="1536" y="297"/>
                    <a:pt x="1551" y="325"/>
                  </a:cubicBezTo>
                  <a:cubicBezTo>
                    <a:pt x="1524" y="329"/>
                    <a:pt x="1497" y="334"/>
                    <a:pt x="1470" y="342"/>
                  </a:cubicBezTo>
                  <a:moveTo>
                    <a:pt x="1563" y="324"/>
                  </a:moveTo>
                  <a:cubicBezTo>
                    <a:pt x="1548" y="296"/>
                    <a:pt x="1533" y="265"/>
                    <a:pt x="1518" y="232"/>
                  </a:cubicBezTo>
                  <a:cubicBezTo>
                    <a:pt x="1520" y="232"/>
                    <a:pt x="1521" y="231"/>
                    <a:pt x="1523" y="231"/>
                  </a:cubicBezTo>
                  <a:cubicBezTo>
                    <a:pt x="1545" y="227"/>
                    <a:pt x="1575" y="224"/>
                    <a:pt x="1611" y="222"/>
                  </a:cubicBezTo>
                  <a:cubicBezTo>
                    <a:pt x="1613" y="228"/>
                    <a:pt x="1616" y="235"/>
                    <a:pt x="1619" y="241"/>
                  </a:cubicBezTo>
                  <a:cubicBezTo>
                    <a:pt x="1629" y="269"/>
                    <a:pt x="1639" y="296"/>
                    <a:pt x="1649" y="320"/>
                  </a:cubicBezTo>
                  <a:cubicBezTo>
                    <a:pt x="1613" y="321"/>
                    <a:pt x="1584" y="322"/>
                    <a:pt x="1564" y="324"/>
                  </a:cubicBezTo>
                  <a:cubicBezTo>
                    <a:pt x="1563" y="324"/>
                    <a:pt x="1563" y="324"/>
                    <a:pt x="1563" y="324"/>
                  </a:cubicBezTo>
                  <a:moveTo>
                    <a:pt x="1661" y="319"/>
                  </a:moveTo>
                  <a:cubicBezTo>
                    <a:pt x="1651" y="294"/>
                    <a:pt x="1640" y="266"/>
                    <a:pt x="1629" y="237"/>
                  </a:cubicBezTo>
                  <a:cubicBezTo>
                    <a:pt x="1627" y="232"/>
                    <a:pt x="1625" y="226"/>
                    <a:pt x="1623" y="221"/>
                  </a:cubicBezTo>
                  <a:cubicBezTo>
                    <a:pt x="1652" y="219"/>
                    <a:pt x="1686" y="217"/>
                    <a:pt x="1722" y="216"/>
                  </a:cubicBezTo>
                  <a:cubicBezTo>
                    <a:pt x="1728" y="235"/>
                    <a:pt x="1735" y="255"/>
                    <a:pt x="1741" y="273"/>
                  </a:cubicBezTo>
                  <a:cubicBezTo>
                    <a:pt x="1745" y="289"/>
                    <a:pt x="1750" y="304"/>
                    <a:pt x="1755" y="318"/>
                  </a:cubicBezTo>
                  <a:cubicBezTo>
                    <a:pt x="1743" y="318"/>
                    <a:pt x="1731" y="318"/>
                    <a:pt x="1720" y="318"/>
                  </a:cubicBezTo>
                  <a:cubicBezTo>
                    <a:pt x="1698" y="319"/>
                    <a:pt x="1679" y="319"/>
                    <a:pt x="1661" y="319"/>
                  </a:cubicBezTo>
                  <a:moveTo>
                    <a:pt x="1866" y="315"/>
                  </a:moveTo>
                  <a:cubicBezTo>
                    <a:pt x="1866" y="313"/>
                    <a:pt x="1866" y="312"/>
                    <a:pt x="1865" y="310"/>
                  </a:cubicBezTo>
                  <a:cubicBezTo>
                    <a:pt x="1858" y="280"/>
                    <a:pt x="1850" y="250"/>
                    <a:pt x="1841" y="214"/>
                  </a:cubicBezTo>
                  <a:cubicBezTo>
                    <a:pt x="1848" y="214"/>
                    <a:pt x="1855" y="214"/>
                    <a:pt x="1862" y="214"/>
                  </a:cubicBezTo>
                  <a:cubicBezTo>
                    <a:pt x="1884" y="214"/>
                    <a:pt x="1906" y="215"/>
                    <a:pt x="1929" y="215"/>
                  </a:cubicBezTo>
                  <a:cubicBezTo>
                    <a:pt x="1930" y="215"/>
                    <a:pt x="1930" y="215"/>
                    <a:pt x="1930" y="215"/>
                  </a:cubicBezTo>
                  <a:cubicBezTo>
                    <a:pt x="1936" y="261"/>
                    <a:pt x="1941" y="286"/>
                    <a:pt x="1945" y="316"/>
                  </a:cubicBezTo>
                  <a:cubicBezTo>
                    <a:pt x="1940" y="316"/>
                    <a:pt x="1934" y="316"/>
                    <a:pt x="1929" y="316"/>
                  </a:cubicBezTo>
                  <a:cubicBezTo>
                    <a:pt x="1920" y="316"/>
                    <a:pt x="1911" y="316"/>
                    <a:pt x="1903" y="316"/>
                  </a:cubicBezTo>
                  <a:cubicBezTo>
                    <a:pt x="1894" y="315"/>
                    <a:pt x="1886" y="315"/>
                    <a:pt x="1877" y="315"/>
                  </a:cubicBezTo>
                  <a:cubicBezTo>
                    <a:pt x="1874" y="315"/>
                    <a:pt x="1870" y="315"/>
                    <a:pt x="1866" y="315"/>
                  </a:cubicBezTo>
                  <a:moveTo>
                    <a:pt x="1767" y="318"/>
                  </a:moveTo>
                  <a:cubicBezTo>
                    <a:pt x="1762" y="302"/>
                    <a:pt x="1756" y="286"/>
                    <a:pt x="1751" y="269"/>
                  </a:cubicBezTo>
                  <a:cubicBezTo>
                    <a:pt x="1745" y="252"/>
                    <a:pt x="1740" y="234"/>
                    <a:pt x="1734" y="215"/>
                  </a:cubicBezTo>
                  <a:cubicBezTo>
                    <a:pt x="1764" y="214"/>
                    <a:pt x="1796" y="213"/>
                    <a:pt x="1829" y="212"/>
                  </a:cubicBezTo>
                  <a:cubicBezTo>
                    <a:pt x="1838" y="248"/>
                    <a:pt x="1847" y="282"/>
                    <a:pt x="1854" y="313"/>
                  </a:cubicBezTo>
                  <a:cubicBezTo>
                    <a:pt x="1854" y="314"/>
                    <a:pt x="1855" y="315"/>
                    <a:pt x="1855" y="316"/>
                  </a:cubicBezTo>
                  <a:cubicBezTo>
                    <a:pt x="1824" y="316"/>
                    <a:pt x="1794" y="317"/>
                    <a:pt x="1767" y="318"/>
                  </a:cubicBezTo>
                  <a:moveTo>
                    <a:pt x="1956" y="312"/>
                  </a:moveTo>
                  <a:cubicBezTo>
                    <a:pt x="1952" y="282"/>
                    <a:pt x="1947" y="247"/>
                    <a:pt x="1941" y="208"/>
                  </a:cubicBezTo>
                  <a:cubicBezTo>
                    <a:pt x="1969" y="207"/>
                    <a:pt x="1997" y="206"/>
                    <a:pt x="2027" y="205"/>
                  </a:cubicBezTo>
                  <a:cubicBezTo>
                    <a:pt x="2030" y="242"/>
                    <a:pt x="2033" y="277"/>
                    <a:pt x="2034" y="308"/>
                  </a:cubicBezTo>
                  <a:cubicBezTo>
                    <a:pt x="2008" y="310"/>
                    <a:pt x="1982" y="311"/>
                    <a:pt x="1956" y="312"/>
                  </a:cubicBezTo>
                  <a:moveTo>
                    <a:pt x="1513" y="221"/>
                  </a:moveTo>
                  <a:cubicBezTo>
                    <a:pt x="1511" y="217"/>
                    <a:pt x="1509" y="213"/>
                    <a:pt x="1507" y="209"/>
                  </a:cubicBezTo>
                  <a:cubicBezTo>
                    <a:pt x="1495" y="183"/>
                    <a:pt x="1482" y="157"/>
                    <a:pt x="1469" y="130"/>
                  </a:cubicBezTo>
                  <a:cubicBezTo>
                    <a:pt x="1473" y="129"/>
                    <a:pt x="1477" y="128"/>
                    <a:pt x="1481" y="127"/>
                  </a:cubicBezTo>
                  <a:cubicBezTo>
                    <a:pt x="1504" y="122"/>
                    <a:pt x="1533" y="117"/>
                    <a:pt x="1568" y="113"/>
                  </a:cubicBezTo>
                  <a:cubicBezTo>
                    <a:pt x="1582" y="145"/>
                    <a:pt x="1594" y="178"/>
                    <a:pt x="1607" y="210"/>
                  </a:cubicBezTo>
                  <a:cubicBezTo>
                    <a:pt x="1572" y="213"/>
                    <a:pt x="1543" y="216"/>
                    <a:pt x="1521" y="219"/>
                  </a:cubicBezTo>
                  <a:cubicBezTo>
                    <a:pt x="1518" y="220"/>
                    <a:pt x="1516" y="220"/>
                    <a:pt x="1513" y="221"/>
                  </a:cubicBezTo>
                  <a:moveTo>
                    <a:pt x="1618" y="209"/>
                  </a:moveTo>
                  <a:cubicBezTo>
                    <a:pt x="1606" y="177"/>
                    <a:pt x="1593" y="144"/>
                    <a:pt x="1580" y="111"/>
                  </a:cubicBezTo>
                  <a:cubicBezTo>
                    <a:pt x="1611" y="108"/>
                    <a:pt x="1646" y="105"/>
                    <a:pt x="1684" y="103"/>
                  </a:cubicBezTo>
                  <a:cubicBezTo>
                    <a:pt x="1696" y="137"/>
                    <a:pt x="1707" y="171"/>
                    <a:pt x="1718" y="204"/>
                  </a:cubicBezTo>
                  <a:cubicBezTo>
                    <a:pt x="1682" y="205"/>
                    <a:pt x="1648" y="207"/>
                    <a:pt x="1618" y="209"/>
                  </a:cubicBezTo>
                  <a:moveTo>
                    <a:pt x="1730" y="203"/>
                  </a:moveTo>
                  <a:cubicBezTo>
                    <a:pt x="1719" y="170"/>
                    <a:pt x="1708" y="136"/>
                    <a:pt x="1696" y="102"/>
                  </a:cubicBezTo>
                  <a:cubicBezTo>
                    <a:pt x="1728" y="100"/>
                    <a:pt x="1762" y="98"/>
                    <a:pt x="1798" y="97"/>
                  </a:cubicBezTo>
                  <a:cubicBezTo>
                    <a:pt x="1808" y="132"/>
                    <a:pt x="1818" y="166"/>
                    <a:pt x="1826" y="200"/>
                  </a:cubicBezTo>
                  <a:cubicBezTo>
                    <a:pt x="1792" y="201"/>
                    <a:pt x="1760" y="202"/>
                    <a:pt x="1730" y="203"/>
                  </a:cubicBezTo>
                  <a:moveTo>
                    <a:pt x="1838" y="199"/>
                  </a:moveTo>
                  <a:cubicBezTo>
                    <a:pt x="1829" y="166"/>
                    <a:pt x="1820" y="131"/>
                    <a:pt x="1809" y="96"/>
                  </a:cubicBezTo>
                  <a:cubicBezTo>
                    <a:pt x="1841" y="95"/>
                    <a:pt x="1874" y="94"/>
                    <a:pt x="1908" y="94"/>
                  </a:cubicBezTo>
                  <a:cubicBezTo>
                    <a:pt x="1916" y="129"/>
                    <a:pt x="1922" y="164"/>
                    <a:pt x="1928" y="197"/>
                  </a:cubicBezTo>
                  <a:cubicBezTo>
                    <a:pt x="1897" y="197"/>
                    <a:pt x="1867" y="198"/>
                    <a:pt x="1838" y="199"/>
                  </a:cubicBezTo>
                  <a:moveTo>
                    <a:pt x="1939" y="196"/>
                  </a:moveTo>
                  <a:cubicBezTo>
                    <a:pt x="1934" y="164"/>
                    <a:pt x="1927" y="129"/>
                    <a:pt x="1920" y="93"/>
                  </a:cubicBezTo>
                  <a:cubicBezTo>
                    <a:pt x="1950" y="93"/>
                    <a:pt x="1982" y="93"/>
                    <a:pt x="2014" y="92"/>
                  </a:cubicBezTo>
                  <a:cubicBezTo>
                    <a:pt x="2019" y="127"/>
                    <a:pt x="2023" y="161"/>
                    <a:pt x="2026" y="193"/>
                  </a:cubicBezTo>
                  <a:cubicBezTo>
                    <a:pt x="1996" y="194"/>
                    <a:pt x="1967" y="195"/>
                    <a:pt x="1939" y="196"/>
                  </a:cubicBezTo>
                  <a:moveTo>
                    <a:pt x="1464" y="119"/>
                  </a:moveTo>
                  <a:cubicBezTo>
                    <a:pt x="1449" y="88"/>
                    <a:pt x="1434" y="57"/>
                    <a:pt x="1417" y="27"/>
                  </a:cubicBezTo>
                  <a:cubicBezTo>
                    <a:pt x="1424" y="25"/>
                    <a:pt x="1432" y="24"/>
                    <a:pt x="1439" y="22"/>
                  </a:cubicBezTo>
                  <a:cubicBezTo>
                    <a:pt x="1461" y="18"/>
                    <a:pt x="1490" y="13"/>
                    <a:pt x="1522" y="8"/>
                  </a:cubicBezTo>
                  <a:cubicBezTo>
                    <a:pt x="1537" y="39"/>
                    <a:pt x="1551" y="70"/>
                    <a:pt x="1564" y="101"/>
                  </a:cubicBezTo>
                  <a:cubicBezTo>
                    <a:pt x="1530" y="105"/>
                    <a:pt x="1501" y="110"/>
                    <a:pt x="1479" y="115"/>
                  </a:cubicBezTo>
                  <a:cubicBezTo>
                    <a:pt x="1474" y="116"/>
                    <a:pt x="1469" y="117"/>
                    <a:pt x="1464" y="119"/>
                  </a:cubicBezTo>
                  <a:moveTo>
                    <a:pt x="2010" y="0"/>
                  </a:moveTo>
                  <a:cubicBezTo>
                    <a:pt x="1999" y="0"/>
                    <a:pt x="1999" y="0"/>
                    <a:pt x="1999" y="0"/>
                  </a:cubicBezTo>
                  <a:cubicBezTo>
                    <a:pt x="2004" y="27"/>
                    <a:pt x="2009" y="54"/>
                    <a:pt x="2012" y="80"/>
                  </a:cubicBezTo>
                  <a:cubicBezTo>
                    <a:pt x="1980" y="81"/>
                    <a:pt x="1948" y="81"/>
                    <a:pt x="1917" y="81"/>
                  </a:cubicBezTo>
                  <a:cubicBezTo>
                    <a:pt x="1911" y="55"/>
                    <a:pt x="1905" y="27"/>
                    <a:pt x="1898" y="0"/>
                  </a:cubicBezTo>
                  <a:cubicBezTo>
                    <a:pt x="1886" y="0"/>
                    <a:pt x="1886" y="0"/>
                    <a:pt x="1886" y="0"/>
                  </a:cubicBezTo>
                  <a:cubicBezTo>
                    <a:pt x="1893" y="27"/>
                    <a:pt x="1900" y="55"/>
                    <a:pt x="1906" y="82"/>
                  </a:cubicBezTo>
                  <a:cubicBezTo>
                    <a:pt x="1871" y="82"/>
                    <a:pt x="1838" y="83"/>
                    <a:pt x="1806" y="84"/>
                  </a:cubicBezTo>
                  <a:cubicBezTo>
                    <a:pt x="1798" y="56"/>
                    <a:pt x="1789" y="28"/>
                    <a:pt x="1779" y="0"/>
                  </a:cubicBezTo>
                  <a:cubicBezTo>
                    <a:pt x="1767" y="0"/>
                    <a:pt x="1767" y="0"/>
                    <a:pt x="1767" y="0"/>
                  </a:cubicBezTo>
                  <a:cubicBezTo>
                    <a:pt x="1777" y="28"/>
                    <a:pt x="1786" y="56"/>
                    <a:pt x="1794" y="85"/>
                  </a:cubicBezTo>
                  <a:cubicBezTo>
                    <a:pt x="1758" y="86"/>
                    <a:pt x="1724" y="88"/>
                    <a:pt x="1691" y="90"/>
                  </a:cubicBezTo>
                  <a:cubicBezTo>
                    <a:pt x="1681" y="60"/>
                    <a:pt x="1669" y="29"/>
                    <a:pt x="1657" y="0"/>
                  </a:cubicBezTo>
                  <a:cubicBezTo>
                    <a:pt x="1645" y="0"/>
                    <a:pt x="1645" y="0"/>
                    <a:pt x="1645" y="0"/>
                  </a:cubicBezTo>
                  <a:cubicBezTo>
                    <a:pt x="1657" y="30"/>
                    <a:pt x="1669" y="60"/>
                    <a:pt x="1680" y="91"/>
                  </a:cubicBezTo>
                  <a:cubicBezTo>
                    <a:pt x="1641" y="93"/>
                    <a:pt x="1606" y="97"/>
                    <a:pt x="1575" y="100"/>
                  </a:cubicBezTo>
                  <a:cubicBezTo>
                    <a:pt x="1562" y="68"/>
                    <a:pt x="1549" y="37"/>
                    <a:pt x="1534" y="7"/>
                  </a:cubicBezTo>
                  <a:cubicBezTo>
                    <a:pt x="1551" y="4"/>
                    <a:pt x="1569" y="2"/>
                    <a:pt x="1589" y="0"/>
                  </a:cubicBezTo>
                  <a:cubicBezTo>
                    <a:pt x="1497" y="0"/>
                    <a:pt x="1497" y="0"/>
                    <a:pt x="1497" y="0"/>
                  </a:cubicBezTo>
                  <a:cubicBezTo>
                    <a:pt x="1474" y="3"/>
                    <a:pt x="1454" y="7"/>
                    <a:pt x="1436" y="11"/>
                  </a:cubicBezTo>
                  <a:cubicBezTo>
                    <a:pt x="1428" y="12"/>
                    <a:pt x="1420" y="14"/>
                    <a:pt x="1411" y="16"/>
                  </a:cubicBezTo>
                  <a:cubicBezTo>
                    <a:pt x="1408" y="11"/>
                    <a:pt x="1405" y="5"/>
                    <a:pt x="1402" y="0"/>
                  </a:cubicBezTo>
                  <a:cubicBezTo>
                    <a:pt x="1399" y="0"/>
                    <a:pt x="1399" y="0"/>
                    <a:pt x="1399" y="0"/>
                  </a:cubicBezTo>
                  <a:cubicBezTo>
                    <a:pt x="1399" y="17"/>
                    <a:pt x="1399" y="17"/>
                    <a:pt x="1399" y="17"/>
                  </a:cubicBezTo>
                  <a:cubicBezTo>
                    <a:pt x="1399" y="18"/>
                    <a:pt x="1400" y="18"/>
                    <a:pt x="1400" y="19"/>
                  </a:cubicBezTo>
                  <a:cubicBezTo>
                    <a:pt x="1400" y="19"/>
                    <a:pt x="1399" y="19"/>
                    <a:pt x="1399" y="19"/>
                  </a:cubicBezTo>
                  <a:cubicBezTo>
                    <a:pt x="1399" y="32"/>
                    <a:pt x="1399" y="32"/>
                    <a:pt x="1399" y="32"/>
                  </a:cubicBezTo>
                  <a:cubicBezTo>
                    <a:pt x="1401" y="31"/>
                    <a:pt x="1404" y="31"/>
                    <a:pt x="1406" y="30"/>
                  </a:cubicBezTo>
                  <a:cubicBezTo>
                    <a:pt x="1422" y="60"/>
                    <a:pt x="1438" y="91"/>
                    <a:pt x="1453" y="121"/>
                  </a:cubicBezTo>
                  <a:cubicBezTo>
                    <a:pt x="1435" y="126"/>
                    <a:pt x="1417" y="131"/>
                    <a:pt x="1399" y="137"/>
                  </a:cubicBezTo>
                  <a:cubicBezTo>
                    <a:pt x="1399" y="149"/>
                    <a:pt x="1399" y="149"/>
                    <a:pt x="1399" y="149"/>
                  </a:cubicBezTo>
                  <a:cubicBezTo>
                    <a:pt x="1419" y="143"/>
                    <a:pt x="1438" y="137"/>
                    <a:pt x="1458" y="132"/>
                  </a:cubicBezTo>
                  <a:cubicBezTo>
                    <a:pt x="1472" y="160"/>
                    <a:pt x="1485" y="188"/>
                    <a:pt x="1497" y="214"/>
                  </a:cubicBezTo>
                  <a:cubicBezTo>
                    <a:pt x="1499" y="217"/>
                    <a:pt x="1500" y="220"/>
                    <a:pt x="1501" y="223"/>
                  </a:cubicBezTo>
                  <a:cubicBezTo>
                    <a:pt x="1472" y="229"/>
                    <a:pt x="1443" y="237"/>
                    <a:pt x="1413" y="247"/>
                  </a:cubicBezTo>
                  <a:cubicBezTo>
                    <a:pt x="1408" y="238"/>
                    <a:pt x="1404" y="230"/>
                    <a:pt x="1399" y="222"/>
                  </a:cubicBezTo>
                  <a:cubicBezTo>
                    <a:pt x="1399" y="245"/>
                    <a:pt x="1399" y="245"/>
                    <a:pt x="1399" y="245"/>
                  </a:cubicBezTo>
                  <a:cubicBezTo>
                    <a:pt x="1400" y="247"/>
                    <a:pt x="1401" y="248"/>
                    <a:pt x="1402" y="250"/>
                  </a:cubicBezTo>
                  <a:cubicBezTo>
                    <a:pt x="1401" y="250"/>
                    <a:pt x="1400" y="251"/>
                    <a:pt x="1399" y="251"/>
                  </a:cubicBezTo>
                  <a:cubicBezTo>
                    <a:pt x="1399" y="264"/>
                    <a:pt x="1399" y="264"/>
                    <a:pt x="1399" y="264"/>
                  </a:cubicBezTo>
                  <a:cubicBezTo>
                    <a:pt x="1402" y="263"/>
                    <a:pt x="1405" y="262"/>
                    <a:pt x="1408" y="261"/>
                  </a:cubicBezTo>
                  <a:cubicBezTo>
                    <a:pt x="1425" y="291"/>
                    <a:pt x="1442" y="320"/>
                    <a:pt x="1459" y="345"/>
                  </a:cubicBezTo>
                  <a:cubicBezTo>
                    <a:pt x="1439" y="351"/>
                    <a:pt x="1419" y="357"/>
                    <a:pt x="1399" y="365"/>
                  </a:cubicBezTo>
                  <a:cubicBezTo>
                    <a:pt x="1399" y="386"/>
                    <a:pt x="1399" y="386"/>
                    <a:pt x="1399" y="386"/>
                  </a:cubicBezTo>
                  <a:cubicBezTo>
                    <a:pt x="1407" y="394"/>
                    <a:pt x="1414" y="402"/>
                    <a:pt x="1422" y="409"/>
                  </a:cubicBezTo>
                  <a:cubicBezTo>
                    <a:pt x="1414" y="412"/>
                    <a:pt x="1406" y="415"/>
                    <a:pt x="1399" y="419"/>
                  </a:cubicBezTo>
                  <a:cubicBezTo>
                    <a:pt x="1399" y="434"/>
                    <a:pt x="1399" y="434"/>
                    <a:pt x="1399" y="434"/>
                  </a:cubicBezTo>
                  <a:cubicBezTo>
                    <a:pt x="1402" y="433"/>
                    <a:pt x="1405" y="432"/>
                    <a:pt x="1407" y="430"/>
                  </a:cubicBezTo>
                  <a:cubicBezTo>
                    <a:pt x="1407" y="437"/>
                    <a:pt x="1406" y="445"/>
                    <a:pt x="1406" y="455"/>
                  </a:cubicBezTo>
                  <a:cubicBezTo>
                    <a:pt x="1404" y="456"/>
                    <a:pt x="1403" y="456"/>
                    <a:pt x="1401" y="457"/>
                  </a:cubicBezTo>
                  <a:cubicBezTo>
                    <a:pt x="1400" y="456"/>
                    <a:pt x="1400" y="456"/>
                    <a:pt x="1399" y="456"/>
                  </a:cubicBezTo>
                  <a:cubicBezTo>
                    <a:pt x="1399" y="470"/>
                    <a:pt x="1399" y="470"/>
                    <a:pt x="1399" y="470"/>
                  </a:cubicBezTo>
                  <a:cubicBezTo>
                    <a:pt x="1400" y="470"/>
                    <a:pt x="1400" y="470"/>
                    <a:pt x="1401" y="469"/>
                  </a:cubicBezTo>
                  <a:cubicBezTo>
                    <a:pt x="1402" y="470"/>
                    <a:pt x="1403" y="470"/>
                    <a:pt x="1404" y="471"/>
                  </a:cubicBezTo>
                  <a:cubicBezTo>
                    <a:pt x="1405" y="469"/>
                    <a:pt x="1405" y="469"/>
                    <a:pt x="1405" y="469"/>
                  </a:cubicBezTo>
                  <a:cubicBezTo>
                    <a:pt x="1405" y="477"/>
                    <a:pt x="1404" y="485"/>
                    <a:pt x="1404" y="494"/>
                  </a:cubicBezTo>
                  <a:cubicBezTo>
                    <a:pt x="1415" y="494"/>
                    <a:pt x="1415" y="494"/>
                    <a:pt x="1415" y="494"/>
                  </a:cubicBezTo>
                  <a:cubicBezTo>
                    <a:pt x="1415" y="483"/>
                    <a:pt x="1416" y="473"/>
                    <a:pt x="1416" y="464"/>
                  </a:cubicBezTo>
                  <a:cubicBezTo>
                    <a:pt x="1439" y="457"/>
                    <a:pt x="1461" y="451"/>
                    <a:pt x="1479" y="448"/>
                  </a:cubicBezTo>
                  <a:cubicBezTo>
                    <a:pt x="1480" y="449"/>
                    <a:pt x="1480" y="449"/>
                    <a:pt x="1480" y="449"/>
                  </a:cubicBezTo>
                  <a:cubicBezTo>
                    <a:pt x="1480" y="448"/>
                    <a:pt x="1480" y="448"/>
                    <a:pt x="1480" y="448"/>
                  </a:cubicBezTo>
                  <a:cubicBezTo>
                    <a:pt x="1491" y="447"/>
                    <a:pt x="1500" y="446"/>
                    <a:pt x="1509" y="446"/>
                  </a:cubicBezTo>
                  <a:cubicBezTo>
                    <a:pt x="1509" y="446"/>
                    <a:pt x="1510" y="446"/>
                    <a:pt x="1510" y="446"/>
                  </a:cubicBezTo>
                  <a:cubicBezTo>
                    <a:pt x="1518" y="446"/>
                    <a:pt x="1529" y="446"/>
                    <a:pt x="1542" y="447"/>
                  </a:cubicBezTo>
                  <a:cubicBezTo>
                    <a:pt x="1541" y="461"/>
                    <a:pt x="1540" y="476"/>
                    <a:pt x="1539" y="494"/>
                  </a:cubicBezTo>
                  <a:cubicBezTo>
                    <a:pt x="1550" y="494"/>
                    <a:pt x="1550" y="494"/>
                    <a:pt x="1550" y="494"/>
                  </a:cubicBezTo>
                  <a:cubicBezTo>
                    <a:pt x="1551" y="478"/>
                    <a:pt x="1552" y="462"/>
                    <a:pt x="1553" y="448"/>
                  </a:cubicBezTo>
                  <a:cubicBezTo>
                    <a:pt x="1565" y="448"/>
                    <a:pt x="1579" y="449"/>
                    <a:pt x="1594" y="450"/>
                  </a:cubicBezTo>
                  <a:cubicBezTo>
                    <a:pt x="1618" y="452"/>
                    <a:pt x="1646" y="454"/>
                    <a:pt x="1677" y="456"/>
                  </a:cubicBezTo>
                  <a:cubicBezTo>
                    <a:pt x="1676" y="467"/>
                    <a:pt x="1675" y="480"/>
                    <a:pt x="1673" y="494"/>
                  </a:cubicBezTo>
                  <a:cubicBezTo>
                    <a:pt x="1685" y="494"/>
                    <a:pt x="1685" y="494"/>
                    <a:pt x="1685" y="494"/>
                  </a:cubicBezTo>
                  <a:cubicBezTo>
                    <a:pt x="1686" y="481"/>
                    <a:pt x="1687" y="468"/>
                    <a:pt x="1689" y="457"/>
                  </a:cubicBezTo>
                  <a:cubicBezTo>
                    <a:pt x="1726" y="459"/>
                    <a:pt x="1767" y="461"/>
                    <a:pt x="1812" y="462"/>
                  </a:cubicBezTo>
                  <a:cubicBezTo>
                    <a:pt x="1812" y="462"/>
                    <a:pt x="1813" y="463"/>
                    <a:pt x="1813" y="463"/>
                  </a:cubicBezTo>
                  <a:cubicBezTo>
                    <a:pt x="1815" y="462"/>
                    <a:pt x="1815" y="462"/>
                    <a:pt x="1815" y="462"/>
                  </a:cubicBezTo>
                  <a:cubicBezTo>
                    <a:pt x="1816" y="462"/>
                    <a:pt x="1817" y="462"/>
                    <a:pt x="1818" y="462"/>
                  </a:cubicBezTo>
                  <a:cubicBezTo>
                    <a:pt x="1816" y="472"/>
                    <a:pt x="1814" y="483"/>
                    <a:pt x="1812" y="494"/>
                  </a:cubicBezTo>
                  <a:cubicBezTo>
                    <a:pt x="1823" y="494"/>
                    <a:pt x="1823" y="494"/>
                    <a:pt x="1823" y="494"/>
                  </a:cubicBezTo>
                  <a:cubicBezTo>
                    <a:pt x="1825" y="483"/>
                    <a:pt x="1827" y="472"/>
                    <a:pt x="1829" y="462"/>
                  </a:cubicBezTo>
                  <a:cubicBezTo>
                    <a:pt x="1856" y="463"/>
                    <a:pt x="1883" y="463"/>
                    <a:pt x="1911" y="463"/>
                  </a:cubicBezTo>
                  <a:cubicBezTo>
                    <a:pt x="1922" y="463"/>
                    <a:pt x="1934" y="463"/>
                    <a:pt x="1945" y="463"/>
                  </a:cubicBezTo>
                  <a:cubicBezTo>
                    <a:pt x="1943" y="473"/>
                    <a:pt x="1942" y="483"/>
                    <a:pt x="1939" y="494"/>
                  </a:cubicBezTo>
                  <a:cubicBezTo>
                    <a:pt x="1951" y="494"/>
                    <a:pt x="1951" y="494"/>
                    <a:pt x="1951" y="494"/>
                  </a:cubicBezTo>
                  <a:cubicBezTo>
                    <a:pt x="1953" y="484"/>
                    <a:pt x="1955" y="473"/>
                    <a:pt x="1957" y="463"/>
                  </a:cubicBezTo>
                  <a:cubicBezTo>
                    <a:pt x="1998" y="463"/>
                    <a:pt x="2040" y="461"/>
                    <a:pt x="2084" y="458"/>
                  </a:cubicBezTo>
                  <a:cubicBezTo>
                    <a:pt x="2081" y="467"/>
                    <a:pt x="2079" y="475"/>
                    <a:pt x="2077" y="485"/>
                  </a:cubicBezTo>
                  <a:cubicBezTo>
                    <a:pt x="2076" y="488"/>
                    <a:pt x="2075" y="491"/>
                    <a:pt x="2074" y="494"/>
                  </a:cubicBezTo>
                  <a:cubicBezTo>
                    <a:pt x="2086" y="494"/>
                    <a:pt x="2086" y="494"/>
                    <a:pt x="2086" y="494"/>
                  </a:cubicBezTo>
                  <a:cubicBezTo>
                    <a:pt x="2086" y="492"/>
                    <a:pt x="2087" y="490"/>
                    <a:pt x="2087" y="488"/>
                  </a:cubicBezTo>
                  <a:cubicBezTo>
                    <a:pt x="2090" y="477"/>
                    <a:pt x="2093" y="467"/>
                    <a:pt x="2096" y="458"/>
                  </a:cubicBezTo>
                  <a:cubicBezTo>
                    <a:pt x="2096" y="458"/>
                    <a:pt x="2097" y="458"/>
                    <a:pt x="2097" y="457"/>
                  </a:cubicBezTo>
                  <a:cubicBezTo>
                    <a:pt x="2097" y="413"/>
                    <a:pt x="2097" y="413"/>
                    <a:pt x="2097" y="413"/>
                  </a:cubicBezTo>
                  <a:cubicBezTo>
                    <a:pt x="2094" y="421"/>
                    <a:pt x="2091" y="432"/>
                    <a:pt x="2087" y="446"/>
                  </a:cubicBezTo>
                  <a:cubicBezTo>
                    <a:pt x="2074" y="447"/>
                    <a:pt x="2062" y="448"/>
                    <a:pt x="2049" y="448"/>
                  </a:cubicBezTo>
                  <a:cubicBezTo>
                    <a:pt x="2049" y="447"/>
                    <a:pt x="2049" y="446"/>
                    <a:pt x="2049" y="444"/>
                  </a:cubicBezTo>
                  <a:cubicBezTo>
                    <a:pt x="2049" y="438"/>
                    <a:pt x="2049" y="429"/>
                    <a:pt x="2049" y="416"/>
                  </a:cubicBezTo>
                  <a:cubicBezTo>
                    <a:pt x="2061" y="415"/>
                    <a:pt x="2072" y="414"/>
                    <a:pt x="2084" y="413"/>
                  </a:cubicBezTo>
                  <a:cubicBezTo>
                    <a:pt x="2085" y="413"/>
                    <a:pt x="2085" y="413"/>
                    <a:pt x="2086" y="413"/>
                  </a:cubicBezTo>
                  <a:cubicBezTo>
                    <a:pt x="2089" y="413"/>
                    <a:pt x="2093" y="413"/>
                    <a:pt x="2097" y="413"/>
                  </a:cubicBezTo>
                  <a:cubicBezTo>
                    <a:pt x="2097" y="400"/>
                    <a:pt x="2097" y="400"/>
                    <a:pt x="2097" y="400"/>
                  </a:cubicBezTo>
                  <a:cubicBezTo>
                    <a:pt x="2093" y="400"/>
                    <a:pt x="2088" y="401"/>
                    <a:pt x="2084" y="401"/>
                  </a:cubicBezTo>
                  <a:cubicBezTo>
                    <a:pt x="2072" y="401"/>
                    <a:pt x="2060" y="401"/>
                    <a:pt x="2049" y="401"/>
                  </a:cubicBezTo>
                  <a:cubicBezTo>
                    <a:pt x="2048" y="379"/>
                    <a:pt x="2048" y="351"/>
                    <a:pt x="2046" y="319"/>
                  </a:cubicBezTo>
                  <a:cubicBezTo>
                    <a:pt x="2063" y="318"/>
                    <a:pt x="2080" y="317"/>
                    <a:pt x="2097" y="316"/>
                  </a:cubicBezTo>
                  <a:cubicBezTo>
                    <a:pt x="2097" y="304"/>
                    <a:pt x="2097" y="304"/>
                    <a:pt x="2097" y="304"/>
                  </a:cubicBezTo>
                  <a:cubicBezTo>
                    <a:pt x="2080" y="305"/>
                    <a:pt x="2062" y="306"/>
                    <a:pt x="2045" y="307"/>
                  </a:cubicBezTo>
                  <a:cubicBezTo>
                    <a:pt x="2044" y="276"/>
                    <a:pt x="2041" y="242"/>
                    <a:pt x="2038" y="205"/>
                  </a:cubicBezTo>
                  <a:cubicBezTo>
                    <a:pt x="2058" y="204"/>
                    <a:pt x="2077" y="204"/>
                    <a:pt x="2097" y="203"/>
                  </a:cubicBezTo>
                  <a:cubicBezTo>
                    <a:pt x="2097" y="191"/>
                    <a:pt x="2097" y="191"/>
                    <a:pt x="2097" y="191"/>
                  </a:cubicBezTo>
                  <a:cubicBezTo>
                    <a:pt x="2077" y="192"/>
                    <a:pt x="2057" y="192"/>
                    <a:pt x="2037" y="193"/>
                  </a:cubicBezTo>
                  <a:cubicBezTo>
                    <a:pt x="2034" y="161"/>
                    <a:pt x="2030" y="127"/>
                    <a:pt x="2025" y="92"/>
                  </a:cubicBezTo>
                  <a:cubicBezTo>
                    <a:pt x="2027" y="92"/>
                    <a:pt x="2029" y="92"/>
                    <a:pt x="2032" y="92"/>
                  </a:cubicBezTo>
                  <a:cubicBezTo>
                    <a:pt x="2053" y="92"/>
                    <a:pt x="2075" y="92"/>
                    <a:pt x="2097" y="93"/>
                  </a:cubicBezTo>
                  <a:cubicBezTo>
                    <a:pt x="2097" y="81"/>
                    <a:pt x="2097" y="81"/>
                    <a:pt x="2097" y="81"/>
                  </a:cubicBezTo>
                  <a:cubicBezTo>
                    <a:pt x="2076" y="81"/>
                    <a:pt x="2054" y="80"/>
                    <a:pt x="2033" y="80"/>
                  </a:cubicBezTo>
                  <a:cubicBezTo>
                    <a:pt x="2030" y="80"/>
                    <a:pt x="2027" y="80"/>
                    <a:pt x="2024" y="80"/>
                  </a:cubicBezTo>
                  <a:cubicBezTo>
                    <a:pt x="2020" y="54"/>
                    <a:pt x="2015" y="27"/>
                    <a:pt x="2010"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82" name="Freeform 688"/>
            <p:cNvSpPr>
              <a:spLocks noEditPoints="1"/>
            </p:cNvSpPr>
            <p:nvPr/>
          </p:nvSpPr>
          <p:spPr bwMode="auto">
            <a:xfrm>
              <a:off x="3324" y="3313"/>
              <a:ext cx="912" cy="598"/>
            </a:xfrm>
            <a:custGeom>
              <a:avLst/>
              <a:gdLst>
                <a:gd name="T0" fmla="*/ 690 w 1480"/>
                <a:gd name="T1" fmla="*/ 826 h 970"/>
                <a:gd name="T2" fmla="*/ 643 w 1480"/>
                <a:gd name="T3" fmla="*/ 820 h 970"/>
                <a:gd name="T4" fmla="*/ 673 w 1480"/>
                <a:gd name="T5" fmla="*/ 889 h 970"/>
                <a:gd name="T6" fmla="*/ 682 w 1480"/>
                <a:gd name="T7" fmla="*/ 813 h 970"/>
                <a:gd name="T8" fmla="*/ 453 w 1480"/>
                <a:gd name="T9" fmla="*/ 805 h 970"/>
                <a:gd name="T10" fmla="*/ 560 w 1480"/>
                <a:gd name="T11" fmla="*/ 791 h 970"/>
                <a:gd name="T12" fmla="*/ 355 w 1480"/>
                <a:gd name="T13" fmla="*/ 732 h 970"/>
                <a:gd name="T14" fmla="*/ 499 w 1480"/>
                <a:gd name="T15" fmla="*/ 739 h 970"/>
                <a:gd name="T16" fmla="*/ 382 w 1480"/>
                <a:gd name="T17" fmla="*/ 703 h 970"/>
                <a:gd name="T18" fmla="*/ 634 w 1480"/>
                <a:gd name="T19" fmla="*/ 700 h 970"/>
                <a:gd name="T20" fmla="*/ 730 w 1480"/>
                <a:gd name="T21" fmla="*/ 752 h 970"/>
                <a:gd name="T22" fmla="*/ 563 w 1480"/>
                <a:gd name="T23" fmla="*/ 698 h 970"/>
                <a:gd name="T24" fmla="*/ 391 w 1480"/>
                <a:gd name="T25" fmla="*/ 734 h 970"/>
                <a:gd name="T26" fmla="*/ 556 w 1480"/>
                <a:gd name="T27" fmla="*/ 641 h 970"/>
                <a:gd name="T28" fmla="*/ 556 w 1480"/>
                <a:gd name="T29" fmla="*/ 641 h 970"/>
                <a:gd name="T30" fmla="*/ 643 w 1480"/>
                <a:gd name="T31" fmla="*/ 688 h 970"/>
                <a:gd name="T32" fmla="*/ 549 w 1480"/>
                <a:gd name="T33" fmla="*/ 685 h 970"/>
                <a:gd name="T34" fmla="*/ 360 w 1480"/>
                <a:gd name="T35" fmla="*/ 680 h 970"/>
                <a:gd name="T36" fmla="*/ 319 w 1480"/>
                <a:gd name="T37" fmla="*/ 657 h 970"/>
                <a:gd name="T38" fmla="*/ 542 w 1480"/>
                <a:gd name="T39" fmla="*/ 629 h 970"/>
                <a:gd name="T40" fmla="*/ 326 w 1480"/>
                <a:gd name="T41" fmla="*/ 615 h 970"/>
                <a:gd name="T42" fmla="*/ 405 w 1480"/>
                <a:gd name="T43" fmla="*/ 572 h 970"/>
                <a:gd name="T44" fmla="*/ 707 w 1480"/>
                <a:gd name="T45" fmla="*/ 564 h 970"/>
                <a:gd name="T46" fmla="*/ 229 w 1480"/>
                <a:gd name="T47" fmla="*/ 560 h 970"/>
                <a:gd name="T48" fmla="*/ 269 w 1480"/>
                <a:gd name="T49" fmla="*/ 527 h 970"/>
                <a:gd name="T50" fmla="*/ 238 w 1480"/>
                <a:gd name="T51" fmla="*/ 522 h 970"/>
                <a:gd name="T52" fmla="*/ 517 w 1480"/>
                <a:gd name="T53" fmla="*/ 574 h 970"/>
                <a:gd name="T54" fmla="*/ 517 w 1480"/>
                <a:gd name="T55" fmla="*/ 574 h 970"/>
                <a:gd name="T56" fmla="*/ 486 w 1480"/>
                <a:gd name="T57" fmla="*/ 529 h 970"/>
                <a:gd name="T58" fmla="*/ 217 w 1480"/>
                <a:gd name="T59" fmla="*/ 507 h 970"/>
                <a:gd name="T60" fmla="*/ 702 w 1480"/>
                <a:gd name="T61" fmla="*/ 502 h 970"/>
                <a:gd name="T62" fmla="*/ 600 w 1480"/>
                <a:gd name="T63" fmla="*/ 504 h 970"/>
                <a:gd name="T64" fmla="*/ 485 w 1480"/>
                <a:gd name="T65" fmla="*/ 496 h 970"/>
                <a:gd name="T66" fmla="*/ 368 w 1480"/>
                <a:gd name="T67" fmla="*/ 496 h 970"/>
                <a:gd name="T68" fmla="*/ 380 w 1480"/>
                <a:gd name="T69" fmla="*/ 549 h 970"/>
                <a:gd name="T70" fmla="*/ 245 w 1480"/>
                <a:gd name="T71" fmla="*/ 507 h 970"/>
                <a:gd name="T72" fmla="*/ 188 w 1480"/>
                <a:gd name="T73" fmla="*/ 498 h 970"/>
                <a:gd name="T74" fmla="*/ 249 w 1480"/>
                <a:gd name="T75" fmla="*/ 622 h 970"/>
                <a:gd name="T76" fmla="*/ 679 w 1480"/>
                <a:gd name="T77" fmla="*/ 912 h 970"/>
                <a:gd name="T78" fmla="*/ 782 w 1480"/>
                <a:gd name="T79" fmla="*/ 860 h 970"/>
                <a:gd name="T80" fmla="*/ 782 w 1480"/>
                <a:gd name="T81" fmla="*/ 766 h 970"/>
                <a:gd name="T82" fmla="*/ 782 w 1480"/>
                <a:gd name="T83" fmla="*/ 684 h 970"/>
                <a:gd name="T84" fmla="*/ 722 w 1480"/>
                <a:gd name="T85" fmla="*/ 618 h 970"/>
                <a:gd name="T86" fmla="*/ 713 w 1480"/>
                <a:gd name="T87" fmla="*/ 498 h 970"/>
                <a:gd name="T88" fmla="*/ 1480 w 1480"/>
                <a:gd name="T89" fmla="*/ 491 h 970"/>
                <a:gd name="T90" fmla="*/ 47 w 1480"/>
                <a:gd name="T91" fmla="*/ 95 h 970"/>
                <a:gd name="T92" fmla="*/ 50 w 1480"/>
                <a:gd name="T93" fmla="*/ 59 h 970"/>
                <a:gd name="T94" fmla="*/ 15 w 1480"/>
                <a:gd name="T95" fmla="*/ 17 h 970"/>
                <a:gd name="T96" fmla="*/ 3 w 1480"/>
                <a:gd name="T97" fmla="*/ 16 h 970"/>
                <a:gd name="T98" fmla="*/ 27 w 1480"/>
                <a:gd name="T99" fmla="*/ 115 h 970"/>
                <a:gd name="T100" fmla="*/ 81 w 1480"/>
                <a:gd name="T101" fmla="*/ 290 h 970"/>
                <a:gd name="T102" fmla="*/ 81 w 1480"/>
                <a:gd name="T103" fmla="*/ 181 h 970"/>
                <a:gd name="T104" fmla="*/ 79 w 1480"/>
                <a:gd name="T105" fmla="*/ 98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0" h="970">
                  <a:moveTo>
                    <a:pt x="758" y="954"/>
                  </a:moveTo>
                  <a:cubicBezTo>
                    <a:pt x="700" y="942"/>
                    <a:pt x="641" y="924"/>
                    <a:pt x="583" y="896"/>
                  </a:cubicBezTo>
                  <a:cubicBezTo>
                    <a:pt x="642" y="923"/>
                    <a:pt x="701" y="942"/>
                    <a:pt x="758" y="954"/>
                  </a:cubicBezTo>
                  <a:moveTo>
                    <a:pt x="764" y="902"/>
                  </a:moveTo>
                  <a:cubicBezTo>
                    <a:pt x="723" y="882"/>
                    <a:pt x="689" y="855"/>
                    <a:pt x="659" y="822"/>
                  </a:cubicBezTo>
                  <a:cubicBezTo>
                    <a:pt x="669" y="823"/>
                    <a:pt x="679" y="825"/>
                    <a:pt x="690" y="826"/>
                  </a:cubicBezTo>
                  <a:cubicBezTo>
                    <a:pt x="710" y="857"/>
                    <a:pt x="734" y="882"/>
                    <a:pt x="764" y="902"/>
                  </a:cubicBezTo>
                  <a:moveTo>
                    <a:pt x="747" y="906"/>
                  </a:moveTo>
                  <a:cubicBezTo>
                    <a:pt x="739" y="905"/>
                    <a:pt x="731" y="903"/>
                    <a:pt x="723" y="901"/>
                  </a:cubicBezTo>
                  <a:cubicBezTo>
                    <a:pt x="667" y="878"/>
                    <a:pt x="620" y="846"/>
                    <a:pt x="577" y="808"/>
                  </a:cubicBezTo>
                  <a:cubicBezTo>
                    <a:pt x="579" y="808"/>
                    <a:pt x="580" y="808"/>
                    <a:pt x="581" y="808"/>
                  </a:cubicBezTo>
                  <a:cubicBezTo>
                    <a:pt x="600" y="812"/>
                    <a:pt x="621" y="816"/>
                    <a:pt x="643" y="820"/>
                  </a:cubicBezTo>
                  <a:cubicBezTo>
                    <a:pt x="672" y="854"/>
                    <a:pt x="706" y="883"/>
                    <a:pt x="747" y="906"/>
                  </a:cubicBezTo>
                  <a:moveTo>
                    <a:pt x="673" y="889"/>
                  </a:moveTo>
                  <a:cubicBezTo>
                    <a:pt x="660" y="885"/>
                    <a:pt x="648" y="882"/>
                    <a:pt x="636" y="878"/>
                  </a:cubicBezTo>
                  <a:cubicBezTo>
                    <a:pt x="577" y="851"/>
                    <a:pt x="525" y="817"/>
                    <a:pt x="479" y="780"/>
                  </a:cubicBezTo>
                  <a:cubicBezTo>
                    <a:pt x="504" y="788"/>
                    <a:pt x="530" y="796"/>
                    <a:pt x="556" y="803"/>
                  </a:cubicBezTo>
                  <a:cubicBezTo>
                    <a:pt x="590" y="835"/>
                    <a:pt x="629" y="865"/>
                    <a:pt x="673" y="889"/>
                  </a:cubicBezTo>
                  <a:moveTo>
                    <a:pt x="750" y="820"/>
                  </a:moveTo>
                  <a:cubicBezTo>
                    <a:pt x="731" y="819"/>
                    <a:pt x="714" y="817"/>
                    <a:pt x="697" y="815"/>
                  </a:cubicBezTo>
                  <a:cubicBezTo>
                    <a:pt x="687" y="799"/>
                    <a:pt x="678" y="781"/>
                    <a:pt x="669" y="762"/>
                  </a:cubicBezTo>
                  <a:cubicBezTo>
                    <a:pt x="690" y="763"/>
                    <a:pt x="711" y="764"/>
                    <a:pt x="733" y="764"/>
                  </a:cubicBezTo>
                  <a:cubicBezTo>
                    <a:pt x="737" y="785"/>
                    <a:pt x="743" y="803"/>
                    <a:pt x="750" y="820"/>
                  </a:cubicBezTo>
                  <a:moveTo>
                    <a:pt x="682" y="813"/>
                  </a:moveTo>
                  <a:cubicBezTo>
                    <a:pt x="670" y="811"/>
                    <a:pt x="658" y="810"/>
                    <a:pt x="647" y="808"/>
                  </a:cubicBezTo>
                  <a:cubicBezTo>
                    <a:pt x="634" y="792"/>
                    <a:pt x="622" y="776"/>
                    <a:pt x="611" y="758"/>
                  </a:cubicBezTo>
                  <a:cubicBezTo>
                    <a:pt x="625" y="759"/>
                    <a:pt x="641" y="760"/>
                    <a:pt x="656" y="761"/>
                  </a:cubicBezTo>
                  <a:cubicBezTo>
                    <a:pt x="664" y="780"/>
                    <a:pt x="672" y="797"/>
                    <a:pt x="682" y="813"/>
                  </a:cubicBezTo>
                  <a:moveTo>
                    <a:pt x="536" y="843"/>
                  </a:moveTo>
                  <a:cubicBezTo>
                    <a:pt x="501" y="829"/>
                    <a:pt x="473" y="816"/>
                    <a:pt x="453" y="805"/>
                  </a:cubicBezTo>
                  <a:cubicBezTo>
                    <a:pt x="429" y="787"/>
                    <a:pt x="406" y="766"/>
                    <a:pt x="383" y="744"/>
                  </a:cubicBezTo>
                  <a:cubicBezTo>
                    <a:pt x="393" y="748"/>
                    <a:pt x="404" y="752"/>
                    <a:pt x="417" y="757"/>
                  </a:cubicBezTo>
                  <a:cubicBezTo>
                    <a:pt x="452" y="788"/>
                    <a:pt x="492" y="817"/>
                    <a:pt x="536" y="843"/>
                  </a:cubicBezTo>
                  <a:moveTo>
                    <a:pt x="631" y="806"/>
                  </a:moveTo>
                  <a:cubicBezTo>
                    <a:pt x="614" y="803"/>
                    <a:pt x="598" y="800"/>
                    <a:pt x="583" y="797"/>
                  </a:cubicBezTo>
                  <a:cubicBezTo>
                    <a:pt x="576" y="795"/>
                    <a:pt x="568" y="793"/>
                    <a:pt x="560" y="791"/>
                  </a:cubicBezTo>
                  <a:cubicBezTo>
                    <a:pt x="545" y="776"/>
                    <a:pt x="531" y="760"/>
                    <a:pt x="517" y="744"/>
                  </a:cubicBezTo>
                  <a:cubicBezTo>
                    <a:pt x="532" y="747"/>
                    <a:pt x="548" y="750"/>
                    <a:pt x="565" y="752"/>
                  </a:cubicBezTo>
                  <a:cubicBezTo>
                    <a:pt x="575" y="754"/>
                    <a:pt x="586" y="755"/>
                    <a:pt x="597" y="757"/>
                  </a:cubicBezTo>
                  <a:cubicBezTo>
                    <a:pt x="608" y="774"/>
                    <a:pt x="619" y="790"/>
                    <a:pt x="631" y="806"/>
                  </a:cubicBezTo>
                  <a:moveTo>
                    <a:pt x="372" y="749"/>
                  </a:moveTo>
                  <a:cubicBezTo>
                    <a:pt x="366" y="744"/>
                    <a:pt x="361" y="738"/>
                    <a:pt x="355" y="732"/>
                  </a:cubicBezTo>
                  <a:cubicBezTo>
                    <a:pt x="355" y="732"/>
                    <a:pt x="356" y="732"/>
                    <a:pt x="356" y="732"/>
                  </a:cubicBezTo>
                  <a:cubicBezTo>
                    <a:pt x="361" y="738"/>
                    <a:pt x="367" y="744"/>
                    <a:pt x="372" y="749"/>
                  </a:cubicBezTo>
                  <a:moveTo>
                    <a:pt x="540" y="786"/>
                  </a:moveTo>
                  <a:cubicBezTo>
                    <a:pt x="510" y="778"/>
                    <a:pt x="481" y="768"/>
                    <a:pt x="454" y="758"/>
                  </a:cubicBezTo>
                  <a:cubicBezTo>
                    <a:pt x="436" y="742"/>
                    <a:pt x="419" y="726"/>
                    <a:pt x="403" y="709"/>
                  </a:cubicBezTo>
                  <a:cubicBezTo>
                    <a:pt x="427" y="719"/>
                    <a:pt x="460" y="730"/>
                    <a:pt x="499" y="739"/>
                  </a:cubicBezTo>
                  <a:cubicBezTo>
                    <a:pt x="512" y="756"/>
                    <a:pt x="525" y="771"/>
                    <a:pt x="540" y="786"/>
                  </a:cubicBezTo>
                  <a:moveTo>
                    <a:pt x="425" y="748"/>
                  </a:moveTo>
                  <a:cubicBezTo>
                    <a:pt x="424" y="747"/>
                    <a:pt x="423" y="747"/>
                    <a:pt x="422" y="747"/>
                  </a:cubicBezTo>
                  <a:cubicBezTo>
                    <a:pt x="405" y="732"/>
                    <a:pt x="389" y="716"/>
                    <a:pt x="373" y="700"/>
                  </a:cubicBezTo>
                  <a:cubicBezTo>
                    <a:pt x="376" y="701"/>
                    <a:pt x="378" y="703"/>
                    <a:pt x="381" y="704"/>
                  </a:cubicBezTo>
                  <a:cubicBezTo>
                    <a:pt x="382" y="703"/>
                    <a:pt x="382" y="703"/>
                    <a:pt x="382" y="703"/>
                  </a:cubicBezTo>
                  <a:cubicBezTo>
                    <a:pt x="395" y="718"/>
                    <a:pt x="410" y="733"/>
                    <a:pt x="425" y="748"/>
                  </a:cubicBezTo>
                  <a:moveTo>
                    <a:pt x="651" y="749"/>
                  </a:moveTo>
                  <a:cubicBezTo>
                    <a:pt x="634" y="748"/>
                    <a:pt x="618" y="747"/>
                    <a:pt x="603" y="745"/>
                  </a:cubicBezTo>
                  <a:cubicBezTo>
                    <a:pt x="593" y="730"/>
                    <a:pt x="585" y="715"/>
                    <a:pt x="576" y="699"/>
                  </a:cubicBezTo>
                  <a:cubicBezTo>
                    <a:pt x="593" y="700"/>
                    <a:pt x="611" y="700"/>
                    <a:pt x="629" y="700"/>
                  </a:cubicBezTo>
                  <a:cubicBezTo>
                    <a:pt x="631" y="700"/>
                    <a:pt x="633" y="700"/>
                    <a:pt x="634" y="700"/>
                  </a:cubicBezTo>
                  <a:cubicBezTo>
                    <a:pt x="640" y="717"/>
                    <a:pt x="645" y="734"/>
                    <a:pt x="651" y="749"/>
                  </a:cubicBezTo>
                  <a:moveTo>
                    <a:pt x="730" y="752"/>
                  </a:moveTo>
                  <a:cubicBezTo>
                    <a:pt x="707" y="752"/>
                    <a:pt x="685" y="751"/>
                    <a:pt x="664" y="750"/>
                  </a:cubicBezTo>
                  <a:cubicBezTo>
                    <a:pt x="658" y="734"/>
                    <a:pt x="652" y="718"/>
                    <a:pt x="646" y="700"/>
                  </a:cubicBezTo>
                  <a:cubicBezTo>
                    <a:pt x="670" y="700"/>
                    <a:pt x="695" y="699"/>
                    <a:pt x="720" y="698"/>
                  </a:cubicBezTo>
                  <a:cubicBezTo>
                    <a:pt x="723" y="717"/>
                    <a:pt x="726" y="735"/>
                    <a:pt x="730" y="752"/>
                  </a:cubicBezTo>
                  <a:moveTo>
                    <a:pt x="589" y="744"/>
                  </a:moveTo>
                  <a:cubicBezTo>
                    <a:pt x="581" y="743"/>
                    <a:pt x="573" y="742"/>
                    <a:pt x="566" y="741"/>
                  </a:cubicBezTo>
                  <a:cubicBezTo>
                    <a:pt x="544" y="737"/>
                    <a:pt x="524" y="733"/>
                    <a:pt x="505" y="729"/>
                  </a:cubicBezTo>
                  <a:cubicBezTo>
                    <a:pt x="493" y="714"/>
                    <a:pt x="482" y="699"/>
                    <a:pt x="471" y="683"/>
                  </a:cubicBezTo>
                  <a:cubicBezTo>
                    <a:pt x="496" y="689"/>
                    <a:pt x="522" y="694"/>
                    <a:pt x="548" y="697"/>
                  </a:cubicBezTo>
                  <a:cubicBezTo>
                    <a:pt x="553" y="697"/>
                    <a:pt x="558" y="697"/>
                    <a:pt x="563" y="698"/>
                  </a:cubicBezTo>
                  <a:cubicBezTo>
                    <a:pt x="571" y="714"/>
                    <a:pt x="580" y="729"/>
                    <a:pt x="589" y="744"/>
                  </a:cubicBezTo>
                  <a:moveTo>
                    <a:pt x="391" y="734"/>
                  </a:moveTo>
                  <a:cubicBezTo>
                    <a:pt x="380" y="730"/>
                    <a:pt x="371" y="726"/>
                    <a:pt x="362" y="722"/>
                  </a:cubicBezTo>
                  <a:cubicBezTo>
                    <a:pt x="347" y="706"/>
                    <a:pt x="333" y="689"/>
                    <a:pt x="318" y="671"/>
                  </a:cubicBezTo>
                  <a:cubicBezTo>
                    <a:pt x="326" y="675"/>
                    <a:pt x="334" y="680"/>
                    <a:pt x="343" y="685"/>
                  </a:cubicBezTo>
                  <a:cubicBezTo>
                    <a:pt x="358" y="702"/>
                    <a:pt x="374" y="718"/>
                    <a:pt x="391" y="734"/>
                  </a:cubicBezTo>
                  <a:moveTo>
                    <a:pt x="337" y="711"/>
                  </a:moveTo>
                  <a:cubicBezTo>
                    <a:pt x="335" y="710"/>
                    <a:pt x="334" y="710"/>
                    <a:pt x="334" y="709"/>
                  </a:cubicBezTo>
                  <a:cubicBezTo>
                    <a:pt x="316" y="690"/>
                    <a:pt x="298" y="669"/>
                    <a:pt x="281" y="647"/>
                  </a:cubicBezTo>
                  <a:cubicBezTo>
                    <a:pt x="284" y="649"/>
                    <a:pt x="287" y="651"/>
                    <a:pt x="290" y="653"/>
                  </a:cubicBezTo>
                  <a:cubicBezTo>
                    <a:pt x="305" y="673"/>
                    <a:pt x="321" y="692"/>
                    <a:pt x="337" y="711"/>
                  </a:cubicBezTo>
                  <a:moveTo>
                    <a:pt x="556" y="641"/>
                  </a:moveTo>
                  <a:cubicBezTo>
                    <a:pt x="576" y="641"/>
                    <a:pt x="596" y="640"/>
                    <a:pt x="618" y="639"/>
                  </a:cubicBezTo>
                  <a:cubicBezTo>
                    <a:pt x="622" y="656"/>
                    <a:pt x="626" y="672"/>
                    <a:pt x="631" y="688"/>
                  </a:cubicBezTo>
                  <a:cubicBezTo>
                    <a:pt x="630" y="688"/>
                    <a:pt x="630" y="688"/>
                    <a:pt x="629" y="688"/>
                  </a:cubicBezTo>
                  <a:cubicBezTo>
                    <a:pt x="609" y="688"/>
                    <a:pt x="589" y="688"/>
                    <a:pt x="570" y="686"/>
                  </a:cubicBezTo>
                  <a:cubicBezTo>
                    <a:pt x="562" y="672"/>
                    <a:pt x="555" y="657"/>
                    <a:pt x="548" y="641"/>
                  </a:cubicBezTo>
                  <a:cubicBezTo>
                    <a:pt x="550" y="641"/>
                    <a:pt x="553" y="641"/>
                    <a:pt x="556" y="641"/>
                  </a:cubicBezTo>
                  <a:moveTo>
                    <a:pt x="487" y="724"/>
                  </a:moveTo>
                  <a:cubicBezTo>
                    <a:pt x="441" y="712"/>
                    <a:pt x="405" y="698"/>
                    <a:pt x="384" y="688"/>
                  </a:cubicBezTo>
                  <a:cubicBezTo>
                    <a:pt x="369" y="671"/>
                    <a:pt x="355" y="654"/>
                    <a:pt x="342" y="636"/>
                  </a:cubicBezTo>
                  <a:cubicBezTo>
                    <a:pt x="367" y="649"/>
                    <a:pt x="408" y="665"/>
                    <a:pt x="455" y="678"/>
                  </a:cubicBezTo>
                  <a:cubicBezTo>
                    <a:pt x="465" y="694"/>
                    <a:pt x="476" y="709"/>
                    <a:pt x="487" y="724"/>
                  </a:cubicBezTo>
                  <a:moveTo>
                    <a:pt x="643" y="688"/>
                  </a:moveTo>
                  <a:cubicBezTo>
                    <a:pt x="638" y="672"/>
                    <a:pt x="634" y="656"/>
                    <a:pt x="630" y="638"/>
                  </a:cubicBezTo>
                  <a:cubicBezTo>
                    <a:pt x="656" y="636"/>
                    <a:pt x="684" y="634"/>
                    <a:pt x="712" y="631"/>
                  </a:cubicBezTo>
                  <a:cubicBezTo>
                    <a:pt x="714" y="650"/>
                    <a:pt x="716" y="669"/>
                    <a:pt x="719" y="686"/>
                  </a:cubicBezTo>
                  <a:cubicBezTo>
                    <a:pt x="693" y="687"/>
                    <a:pt x="667" y="688"/>
                    <a:pt x="643" y="688"/>
                  </a:cubicBezTo>
                  <a:moveTo>
                    <a:pt x="557" y="685"/>
                  </a:moveTo>
                  <a:cubicBezTo>
                    <a:pt x="554" y="685"/>
                    <a:pt x="552" y="685"/>
                    <a:pt x="549" y="685"/>
                  </a:cubicBezTo>
                  <a:cubicBezTo>
                    <a:pt x="518" y="682"/>
                    <a:pt x="489" y="675"/>
                    <a:pt x="461" y="668"/>
                  </a:cubicBezTo>
                  <a:cubicBezTo>
                    <a:pt x="452" y="654"/>
                    <a:pt x="444" y="640"/>
                    <a:pt x="435" y="626"/>
                  </a:cubicBezTo>
                  <a:cubicBezTo>
                    <a:pt x="466" y="634"/>
                    <a:pt x="499" y="639"/>
                    <a:pt x="532" y="641"/>
                  </a:cubicBezTo>
                  <a:cubicBezTo>
                    <a:pt x="533" y="641"/>
                    <a:pt x="534" y="641"/>
                    <a:pt x="535" y="641"/>
                  </a:cubicBezTo>
                  <a:cubicBezTo>
                    <a:pt x="542" y="656"/>
                    <a:pt x="549" y="671"/>
                    <a:pt x="557" y="685"/>
                  </a:cubicBezTo>
                  <a:moveTo>
                    <a:pt x="360" y="680"/>
                  </a:moveTo>
                  <a:cubicBezTo>
                    <a:pt x="357" y="679"/>
                    <a:pt x="353" y="677"/>
                    <a:pt x="350" y="675"/>
                  </a:cubicBezTo>
                  <a:cubicBezTo>
                    <a:pt x="334" y="658"/>
                    <a:pt x="320" y="641"/>
                    <a:pt x="307" y="623"/>
                  </a:cubicBezTo>
                  <a:cubicBezTo>
                    <a:pt x="313" y="627"/>
                    <a:pt x="320" y="631"/>
                    <a:pt x="326" y="635"/>
                  </a:cubicBezTo>
                  <a:cubicBezTo>
                    <a:pt x="337" y="650"/>
                    <a:pt x="349" y="665"/>
                    <a:pt x="361" y="679"/>
                  </a:cubicBezTo>
                  <a:cubicBezTo>
                    <a:pt x="360" y="680"/>
                    <a:pt x="360" y="680"/>
                    <a:pt x="360" y="680"/>
                  </a:cubicBezTo>
                  <a:moveTo>
                    <a:pt x="319" y="657"/>
                  </a:moveTo>
                  <a:cubicBezTo>
                    <a:pt x="311" y="652"/>
                    <a:pt x="304" y="648"/>
                    <a:pt x="298" y="643"/>
                  </a:cubicBezTo>
                  <a:cubicBezTo>
                    <a:pt x="285" y="626"/>
                    <a:pt x="272" y="607"/>
                    <a:pt x="260" y="588"/>
                  </a:cubicBezTo>
                  <a:cubicBezTo>
                    <a:pt x="265" y="593"/>
                    <a:pt x="271" y="597"/>
                    <a:pt x="276" y="602"/>
                  </a:cubicBezTo>
                  <a:cubicBezTo>
                    <a:pt x="290" y="620"/>
                    <a:pt x="304" y="639"/>
                    <a:pt x="319" y="657"/>
                  </a:cubicBezTo>
                  <a:moveTo>
                    <a:pt x="556" y="629"/>
                  </a:moveTo>
                  <a:cubicBezTo>
                    <a:pt x="551" y="629"/>
                    <a:pt x="547" y="629"/>
                    <a:pt x="542" y="629"/>
                  </a:cubicBezTo>
                  <a:cubicBezTo>
                    <a:pt x="535" y="615"/>
                    <a:pt x="529" y="600"/>
                    <a:pt x="522" y="585"/>
                  </a:cubicBezTo>
                  <a:cubicBezTo>
                    <a:pt x="548" y="584"/>
                    <a:pt x="576" y="582"/>
                    <a:pt x="605" y="578"/>
                  </a:cubicBezTo>
                  <a:cubicBezTo>
                    <a:pt x="609" y="595"/>
                    <a:pt x="612" y="611"/>
                    <a:pt x="615" y="627"/>
                  </a:cubicBezTo>
                  <a:cubicBezTo>
                    <a:pt x="595" y="628"/>
                    <a:pt x="575" y="629"/>
                    <a:pt x="556" y="629"/>
                  </a:cubicBezTo>
                  <a:moveTo>
                    <a:pt x="445" y="663"/>
                  </a:moveTo>
                  <a:cubicBezTo>
                    <a:pt x="382" y="644"/>
                    <a:pt x="336" y="620"/>
                    <a:pt x="326" y="615"/>
                  </a:cubicBezTo>
                  <a:cubicBezTo>
                    <a:pt x="316" y="602"/>
                    <a:pt x="307" y="589"/>
                    <a:pt x="299" y="576"/>
                  </a:cubicBezTo>
                  <a:cubicBezTo>
                    <a:pt x="326" y="588"/>
                    <a:pt x="369" y="607"/>
                    <a:pt x="420" y="622"/>
                  </a:cubicBezTo>
                  <a:cubicBezTo>
                    <a:pt x="428" y="636"/>
                    <a:pt x="436" y="649"/>
                    <a:pt x="445" y="663"/>
                  </a:cubicBezTo>
                  <a:moveTo>
                    <a:pt x="530" y="629"/>
                  </a:moveTo>
                  <a:cubicBezTo>
                    <a:pt x="494" y="627"/>
                    <a:pt x="459" y="620"/>
                    <a:pt x="427" y="611"/>
                  </a:cubicBezTo>
                  <a:cubicBezTo>
                    <a:pt x="419" y="598"/>
                    <a:pt x="412" y="585"/>
                    <a:pt x="405" y="572"/>
                  </a:cubicBezTo>
                  <a:cubicBezTo>
                    <a:pt x="438" y="579"/>
                    <a:pt x="474" y="585"/>
                    <a:pt x="510" y="585"/>
                  </a:cubicBezTo>
                  <a:cubicBezTo>
                    <a:pt x="516" y="600"/>
                    <a:pt x="523" y="614"/>
                    <a:pt x="530" y="629"/>
                  </a:cubicBezTo>
                  <a:moveTo>
                    <a:pt x="627" y="626"/>
                  </a:moveTo>
                  <a:cubicBezTo>
                    <a:pt x="623" y="610"/>
                    <a:pt x="620" y="594"/>
                    <a:pt x="617" y="577"/>
                  </a:cubicBezTo>
                  <a:cubicBezTo>
                    <a:pt x="642" y="574"/>
                    <a:pt x="668" y="570"/>
                    <a:pt x="695" y="566"/>
                  </a:cubicBezTo>
                  <a:cubicBezTo>
                    <a:pt x="699" y="565"/>
                    <a:pt x="703" y="565"/>
                    <a:pt x="707" y="564"/>
                  </a:cubicBezTo>
                  <a:cubicBezTo>
                    <a:pt x="708" y="583"/>
                    <a:pt x="710" y="602"/>
                    <a:pt x="711" y="619"/>
                  </a:cubicBezTo>
                  <a:cubicBezTo>
                    <a:pt x="682" y="622"/>
                    <a:pt x="654" y="624"/>
                    <a:pt x="627" y="626"/>
                  </a:cubicBezTo>
                  <a:moveTo>
                    <a:pt x="269" y="623"/>
                  </a:moveTo>
                  <a:cubicBezTo>
                    <a:pt x="264" y="619"/>
                    <a:pt x="260" y="616"/>
                    <a:pt x="257" y="613"/>
                  </a:cubicBezTo>
                  <a:cubicBezTo>
                    <a:pt x="241" y="590"/>
                    <a:pt x="225" y="566"/>
                    <a:pt x="210" y="541"/>
                  </a:cubicBezTo>
                  <a:cubicBezTo>
                    <a:pt x="216" y="547"/>
                    <a:pt x="223" y="554"/>
                    <a:pt x="229" y="560"/>
                  </a:cubicBezTo>
                  <a:cubicBezTo>
                    <a:pt x="242" y="582"/>
                    <a:pt x="255" y="603"/>
                    <a:pt x="269" y="623"/>
                  </a:cubicBezTo>
                  <a:moveTo>
                    <a:pt x="411" y="607"/>
                  </a:moveTo>
                  <a:cubicBezTo>
                    <a:pt x="354" y="589"/>
                    <a:pt x="307" y="567"/>
                    <a:pt x="287" y="556"/>
                  </a:cubicBezTo>
                  <a:cubicBezTo>
                    <a:pt x="282" y="548"/>
                    <a:pt x="277" y="540"/>
                    <a:pt x="272" y="531"/>
                  </a:cubicBezTo>
                  <a:cubicBezTo>
                    <a:pt x="273" y="529"/>
                    <a:pt x="273" y="529"/>
                    <a:pt x="273" y="529"/>
                  </a:cubicBezTo>
                  <a:cubicBezTo>
                    <a:pt x="272" y="528"/>
                    <a:pt x="271" y="527"/>
                    <a:pt x="269" y="527"/>
                  </a:cubicBezTo>
                  <a:cubicBezTo>
                    <a:pt x="269" y="526"/>
                    <a:pt x="269" y="526"/>
                    <a:pt x="269" y="526"/>
                  </a:cubicBezTo>
                  <a:cubicBezTo>
                    <a:pt x="295" y="538"/>
                    <a:pt x="339" y="555"/>
                    <a:pt x="390" y="568"/>
                  </a:cubicBezTo>
                  <a:cubicBezTo>
                    <a:pt x="397" y="581"/>
                    <a:pt x="404" y="594"/>
                    <a:pt x="411" y="607"/>
                  </a:cubicBezTo>
                  <a:moveTo>
                    <a:pt x="309" y="610"/>
                  </a:moveTo>
                  <a:cubicBezTo>
                    <a:pt x="300" y="605"/>
                    <a:pt x="292" y="599"/>
                    <a:pt x="284" y="593"/>
                  </a:cubicBezTo>
                  <a:cubicBezTo>
                    <a:pt x="268" y="569"/>
                    <a:pt x="252" y="545"/>
                    <a:pt x="238" y="522"/>
                  </a:cubicBezTo>
                  <a:cubicBezTo>
                    <a:pt x="246" y="526"/>
                    <a:pt x="253" y="531"/>
                    <a:pt x="261" y="536"/>
                  </a:cubicBezTo>
                  <a:cubicBezTo>
                    <a:pt x="265" y="542"/>
                    <a:pt x="269" y="549"/>
                    <a:pt x="274" y="556"/>
                  </a:cubicBezTo>
                  <a:cubicBezTo>
                    <a:pt x="271" y="561"/>
                    <a:pt x="271" y="561"/>
                    <a:pt x="271" y="561"/>
                  </a:cubicBezTo>
                  <a:cubicBezTo>
                    <a:pt x="271" y="561"/>
                    <a:pt x="274" y="563"/>
                    <a:pt x="279" y="566"/>
                  </a:cubicBezTo>
                  <a:cubicBezTo>
                    <a:pt x="288" y="581"/>
                    <a:pt x="298" y="595"/>
                    <a:pt x="309" y="610"/>
                  </a:cubicBezTo>
                  <a:moveTo>
                    <a:pt x="517" y="574"/>
                  </a:moveTo>
                  <a:cubicBezTo>
                    <a:pt x="511" y="559"/>
                    <a:pt x="504" y="541"/>
                    <a:pt x="498" y="530"/>
                  </a:cubicBezTo>
                  <a:cubicBezTo>
                    <a:pt x="499" y="530"/>
                    <a:pt x="499" y="530"/>
                    <a:pt x="499" y="530"/>
                  </a:cubicBezTo>
                  <a:cubicBezTo>
                    <a:pt x="528" y="529"/>
                    <a:pt x="561" y="524"/>
                    <a:pt x="595" y="518"/>
                  </a:cubicBezTo>
                  <a:cubicBezTo>
                    <a:pt x="595" y="518"/>
                    <a:pt x="595" y="518"/>
                    <a:pt x="595" y="518"/>
                  </a:cubicBezTo>
                  <a:cubicBezTo>
                    <a:pt x="598" y="535"/>
                    <a:pt x="600" y="551"/>
                    <a:pt x="603" y="566"/>
                  </a:cubicBezTo>
                  <a:cubicBezTo>
                    <a:pt x="573" y="570"/>
                    <a:pt x="544" y="573"/>
                    <a:pt x="517" y="574"/>
                  </a:cubicBezTo>
                  <a:moveTo>
                    <a:pt x="505" y="573"/>
                  </a:moveTo>
                  <a:cubicBezTo>
                    <a:pt x="468" y="572"/>
                    <a:pt x="431" y="566"/>
                    <a:pt x="397" y="558"/>
                  </a:cubicBezTo>
                  <a:cubicBezTo>
                    <a:pt x="395" y="553"/>
                    <a:pt x="392" y="548"/>
                    <a:pt x="390" y="543"/>
                  </a:cubicBezTo>
                  <a:cubicBezTo>
                    <a:pt x="385" y="534"/>
                    <a:pt x="381" y="525"/>
                    <a:pt x="377" y="516"/>
                  </a:cubicBezTo>
                  <a:cubicBezTo>
                    <a:pt x="410" y="524"/>
                    <a:pt x="445" y="529"/>
                    <a:pt x="481" y="529"/>
                  </a:cubicBezTo>
                  <a:cubicBezTo>
                    <a:pt x="482" y="529"/>
                    <a:pt x="484" y="529"/>
                    <a:pt x="486" y="529"/>
                  </a:cubicBezTo>
                  <a:cubicBezTo>
                    <a:pt x="486" y="531"/>
                    <a:pt x="487" y="532"/>
                    <a:pt x="487" y="533"/>
                  </a:cubicBezTo>
                  <a:cubicBezTo>
                    <a:pt x="493" y="546"/>
                    <a:pt x="499" y="560"/>
                    <a:pt x="505" y="573"/>
                  </a:cubicBezTo>
                  <a:moveTo>
                    <a:pt x="253" y="566"/>
                  </a:moveTo>
                  <a:cubicBezTo>
                    <a:pt x="247" y="562"/>
                    <a:pt x="243" y="557"/>
                    <a:pt x="238" y="552"/>
                  </a:cubicBezTo>
                  <a:cubicBezTo>
                    <a:pt x="228" y="536"/>
                    <a:pt x="218" y="518"/>
                    <a:pt x="209" y="501"/>
                  </a:cubicBezTo>
                  <a:cubicBezTo>
                    <a:pt x="211" y="503"/>
                    <a:pt x="214" y="505"/>
                    <a:pt x="217" y="507"/>
                  </a:cubicBezTo>
                  <a:cubicBezTo>
                    <a:pt x="228" y="527"/>
                    <a:pt x="240" y="546"/>
                    <a:pt x="253" y="566"/>
                  </a:cubicBezTo>
                  <a:moveTo>
                    <a:pt x="614" y="565"/>
                  </a:moveTo>
                  <a:cubicBezTo>
                    <a:pt x="611" y="549"/>
                    <a:pt x="609" y="532"/>
                    <a:pt x="606" y="515"/>
                  </a:cubicBezTo>
                  <a:cubicBezTo>
                    <a:pt x="630" y="511"/>
                    <a:pt x="654" y="506"/>
                    <a:pt x="680" y="501"/>
                  </a:cubicBezTo>
                  <a:cubicBezTo>
                    <a:pt x="686" y="500"/>
                    <a:pt x="693" y="499"/>
                    <a:pt x="700" y="497"/>
                  </a:cubicBezTo>
                  <a:cubicBezTo>
                    <a:pt x="701" y="499"/>
                    <a:pt x="701" y="501"/>
                    <a:pt x="702" y="502"/>
                  </a:cubicBezTo>
                  <a:cubicBezTo>
                    <a:pt x="703" y="519"/>
                    <a:pt x="705" y="536"/>
                    <a:pt x="706" y="552"/>
                  </a:cubicBezTo>
                  <a:cubicBezTo>
                    <a:pt x="702" y="553"/>
                    <a:pt x="697" y="553"/>
                    <a:pt x="693" y="554"/>
                  </a:cubicBezTo>
                  <a:cubicBezTo>
                    <a:pt x="666" y="558"/>
                    <a:pt x="640" y="562"/>
                    <a:pt x="614" y="565"/>
                  </a:cubicBezTo>
                  <a:moveTo>
                    <a:pt x="712" y="496"/>
                  </a:moveTo>
                  <a:cubicBezTo>
                    <a:pt x="642" y="496"/>
                    <a:pt x="642" y="496"/>
                    <a:pt x="642" y="496"/>
                  </a:cubicBezTo>
                  <a:cubicBezTo>
                    <a:pt x="628" y="499"/>
                    <a:pt x="614" y="502"/>
                    <a:pt x="600" y="504"/>
                  </a:cubicBezTo>
                  <a:cubicBezTo>
                    <a:pt x="599" y="501"/>
                    <a:pt x="598" y="499"/>
                    <a:pt x="596" y="496"/>
                  </a:cubicBezTo>
                  <a:cubicBezTo>
                    <a:pt x="584" y="496"/>
                    <a:pt x="584" y="496"/>
                    <a:pt x="584" y="496"/>
                  </a:cubicBezTo>
                  <a:cubicBezTo>
                    <a:pt x="586" y="500"/>
                    <a:pt x="587" y="503"/>
                    <a:pt x="589" y="506"/>
                  </a:cubicBezTo>
                  <a:cubicBezTo>
                    <a:pt x="557" y="511"/>
                    <a:pt x="526" y="515"/>
                    <a:pt x="498" y="517"/>
                  </a:cubicBezTo>
                  <a:cubicBezTo>
                    <a:pt x="496" y="517"/>
                    <a:pt x="495" y="517"/>
                    <a:pt x="493" y="517"/>
                  </a:cubicBezTo>
                  <a:cubicBezTo>
                    <a:pt x="490" y="510"/>
                    <a:pt x="487" y="503"/>
                    <a:pt x="485" y="496"/>
                  </a:cubicBezTo>
                  <a:cubicBezTo>
                    <a:pt x="473" y="496"/>
                    <a:pt x="473" y="496"/>
                    <a:pt x="473" y="496"/>
                  </a:cubicBezTo>
                  <a:cubicBezTo>
                    <a:pt x="475" y="503"/>
                    <a:pt x="478" y="510"/>
                    <a:pt x="481" y="517"/>
                  </a:cubicBezTo>
                  <a:cubicBezTo>
                    <a:pt x="481" y="517"/>
                    <a:pt x="481" y="517"/>
                    <a:pt x="480" y="517"/>
                  </a:cubicBezTo>
                  <a:cubicBezTo>
                    <a:pt x="480" y="517"/>
                    <a:pt x="480" y="517"/>
                    <a:pt x="480" y="517"/>
                  </a:cubicBezTo>
                  <a:cubicBezTo>
                    <a:pt x="443" y="517"/>
                    <a:pt x="405" y="511"/>
                    <a:pt x="370" y="502"/>
                  </a:cubicBezTo>
                  <a:cubicBezTo>
                    <a:pt x="369" y="500"/>
                    <a:pt x="369" y="498"/>
                    <a:pt x="368" y="496"/>
                  </a:cubicBezTo>
                  <a:cubicBezTo>
                    <a:pt x="355" y="496"/>
                    <a:pt x="355" y="496"/>
                    <a:pt x="355" y="496"/>
                  </a:cubicBezTo>
                  <a:cubicBezTo>
                    <a:pt x="356" y="497"/>
                    <a:pt x="356" y="498"/>
                    <a:pt x="356" y="498"/>
                  </a:cubicBezTo>
                  <a:cubicBezTo>
                    <a:pt x="354" y="498"/>
                    <a:pt x="352" y="497"/>
                    <a:pt x="350" y="496"/>
                  </a:cubicBezTo>
                  <a:cubicBezTo>
                    <a:pt x="311" y="496"/>
                    <a:pt x="311" y="496"/>
                    <a:pt x="311" y="496"/>
                  </a:cubicBezTo>
                  <a:cubicBezTo>
                    <a:pt x="327" y="502"/>
                    <a:pt x="344" y="507"/>
                    <a:pt x="363" y="512"/>
                  </a:cubicBezTo>
                  <a:cubicBezTo>
                    <a:pt x="368" y="525"/>
                    <a:pt x="374" y="537"/>
                    <a:pt x="380" y="549"/>
                  </a:cubicBezTo>
                  <a:cubicBezTo>
                    <a:pt x="381" y="550"/>
                    <a:pt x="382" y="552"/>
                    <a:pt x="383" y="554"/>
                  </a:cubicBezTo>
                  <a:cubicBezTo>
                    <a:pt x="327" y="539"/>
                    <a:pt x="280" y="518"/>
                    <a:pt x="259" y="508"/>
                  </a:cubicBezTo>
                  <a:cubicBezTo>
                    <a:pt x="257" y="504"/>
                    <a:pt x="255" y="500"/>
                    <a:pt x="253" y="496"/>
                  </a:cubicBezTo>
                  <a:cubicBezTo>
                    <a:pt x="240" y="496"/>
                    <a:pt x="240" y="496"/>
                    <a:pt x="240" y="496"/>
                  </a:cubicBezTo>
                  <a:cubicBezTo>
                    <a:pt x="241" y="498"/>
                    <a:pt x="241" y="499"/>
                    <a:pt x="242" y="500"/>
                  </a:cubicBezTo>
                  <a:cubicBezTo>
                    <a:pt x="243" y="502"/>
                    <a:pt x="244" y="505"/>
                    <a:pt x="245" y="507"/>
                  </a:cubicBezTo>
                  <a:cubicBezTo>
                    <a:pt x="243" y="511"/>
                    <a:pt x="243" y="511"/>
                    <a:pt x="243" y="511"/>
                  </a:cubicBezTo>
                  <a:cubicBezTo>
                    <a:pt x="237" y="507"/>
                    <a:pt x="231" y="502"/>
                    <a:pt x="225" y="498"/>
                  </a:cubicBezTo>
                  <a:cubicBezTo>
                    <a:pt x="225" y="498"/>
                    <a:pt x="224" y="497"/>
                    <a:pt x="224" y="496"/>
                  </a:cubicBezTo>
                  <a:cubicBezTo>
                    <a:pt x="194" y="496"/>
                    <a:pt x="194" y="496"/>
                    <a:pt x="194" y="496"/>
                  </a:cubicBezTo>
                  <a:cubicBezTo>
                    <a:pt x="197" y="504"/>
                    <a:pt x="201" y="511"/>
                    <a:pt x="205" y="518"/>
                  </a:cubicBezTo>
                  <a:cubicBezTo>
                    <a:pt x="199" y="511"/>
                    <a:pt x="193" y="504"/>
                    <a:pt x="188" y="498"/>
                  </a:cubicBezTo>
                  <a:cubicBezTo>
                    <a:pt x="187" y="498"/>
                    <a:pt x="187" y="497"/>
                    <a:pt x="186" y="496"/>
                  </a:cubicBezTo>
                  <a:cubicBezTo>
                    <a:pt x="171" y="496"/>
                    <a:pt x="171" y="496"/>
                    <a:pt x="171" y="496"/>
                  </a:cubicBezTo>
                  <a:cubicBezTo>
                    <a:pt x="172" y="497"/>
                    <a:pt x="173" y="498"/>
                    <a:pt x="174" y="499"/>
                  </a:cubicBezTo>
                  <a:cubicBezTo>
                    <a:pt x="195" y="539"/>
                    <a:pt x="218" y="576"/>
                    <a:pt x="242" y="611"/>
                  </a:cubicBezTo>
                  <a:cubicBezTo>
                    <a:pt x="240" y="614"/>
                    <a:pt x="240" y="614"/>
                    <a:pt x="240" y="614"/>
                  </a:cubicBezTo>
                  <a:cubicBezTo>
                    <a:pt x="240" y="614"/>
                    <a:pt x="243" y="617"/>
                    <a:pt x="249" y="622"/>
                  </a:cubicBezTo>
                  <a:cubicBezTo>
                    <a:pt x="333" y="740"/>
                    <a:pt x="432" y="830"/>
                    <a:pt x="546" y="891"/>
                  </a:cubicBezTo>
                  <a:cubicBezTo>
                    <a:pt x="624" y="933"/>
                    <a:pt x="704" y="957"/>
                    <a:pt x="782" y="970"/>
                  </a:cubicBezTo>
                  <a:cubicBezTo>
                    <a:pt x="782" y="948"/>
                    <a:pt x="782" y="948"/>
                    <a:pt x="782" y="948"/>
                  </a:cubicBezTo>
                  <a:cubicBezTo>
                    <a:pt x="696" y="932"/>
                    <a:pt x="602" y="901"/>
                    <a:pt x="514" y="848"/>
                  </a:cubicBezTo>
                  <a:cubicBezTo>
                    <a:pt x="543" y="860"/>
                    <a:pt x="579" y="872"/>
                    <a:pt x="619" y="885"/>
                  </a:cubicBezTo>
                  <a:cubicBezTo>
                    <a:pt x="638" y="894"/>
                    <a:pt x="658" y="905"/>
                    <a:pt x="679" y="912"/>
                  </a:cubicBezTo>
                  <a:cubicBezTo>
                    <a:pt x="712" y="924"/>
                    <a:pt x="746" y="937"/>
                    <a:pt x="782" y="948"/>
                  </a:cubicBezTo>
                  <a:cubicBezTo>
                    <a:pt x="782" y="899"/>
                    <a:pt x="782" y="899"/>
                    <a:pt x="782" y="899"/>
                  </a:cubicBezTo>
                  <a:cubicBezTo>
                    <a:pt x="752" y="881"/>
                    <a:pt x="727" y="857"/>
                    <a:pt x="706" y="828"/>
                  </a:cubicBezTo>
                  <a:cubicBezTo>
                    <a:pt x="722" y="830"/>
                    <a:pt x="738" y="831"/>
                    <a:pt x="755" y="833"/>
                  </a:cubicBezTo>
                  <a:cubicBezTo>
                    <a:pt x="763" y="850"/>
                    <a:pt x="771" y="865"/>
                    <a:pt x="782" y="879"/>
                  </a:cubicBezTo>
                  <a:cubicBezTo>
                    <a:pt x="782" y="860"/>
                    <a:pt x="782" y="860"/>
                    <a:pt x="782" y="860"/>
                  </a:cubicBezTo>
                  <a:cubicBezTo>
                    <a:pt x="777" y="852"/>
                    <a:pt x="772" y="843"/>
                    <a:pt x="768" y="834"/>
                  </a:cubicBezTo>
                  <a:cubicBezTo>
                    <a:pt x="772" y="834"/>
                    <a:pt x="777" y="835"/>
                    <a:pt x="782" y="835"/>
                  </a:cubicBezTo>
                  <a:cubicBezTo>
                    <a:pt x="782" y="823"/>
                    <a:pt x="782" y="823"/>
                    <a:pt x="782" y="823"/>
                  </a:cubicBezTo>
                  <a:cubicBezTo>
                    <a:pt x="775" y="823"/>
                    <a:pt x="768" y="822"/>
                    <a:pt x="762" y="821"/>
                  </a:cubicBezTo>
                  <a:cubicBezTo>
                    <a:pt x="755" y="804"/>
                    <a:pt x="749" y="786"/>
                    <a:pt x="744" y="765"/>
                  </a:cubicBezTo>
                  <a:cubicBezTo>
                    <a:pt x="756" y="765"/>
                    <a:pt x="769" y="765"/>
                    <a:pt x="782" y="766"/>
                  </a:cubicBezTo>
                  <a:cubicBezTo>
                    <a:pt x="782" y="754"/>
                    <a:pt x="782" y="754"/>
                    <a:pt x="782" y="754"/>
                  </a:cubicBezTo>
                  <a:cubicBezTo>
                    <a:pt x="768" y="753"/>
                    <a:pt x="755" y="753"/>
                    <a:pt x="741" y="753"/>
                  </a:cubicBezTo>
                  <a:cubicBezTo>
                    <a:pt x="737" y="736"/>
                    <a:pt x="734" y="717"/>
                    <a:pt x="731" y="698"/>
                  </a:cubicBezTo>
                  <a:cubicBezTo>
                    <a:pt x="736" y="697"/>
                    <a:pt x="740" y="697"/>
                    <a:pt x="744" y="697"/>
                  </a:cubicBezTo>
                  <a:cubicBezTo>
                    <a:pt x="757" y="697"/>
                    <a:pt x="769" y="696"/>
                    <a:pt x="782" y="696"/>
                  </a:cubicBezTo>
                  <a:cubicBezTo>
                    <a:pt x="782" y="684"/>
                    <a:pt x="782" y="684"/>
                    <a:pt x="782" y="684"/>
                  </a:cubicBezTo>
                  <a:cubicBezTo>
                    <a:pt x="769" y="684"/>
                    <a:pt x="756" y="685"/>
                    <a:pt x="744" y="685"/>
                  </a:cubicBezTo>
                  <a:cubicBezTo>
                    <a:pt x="739" y="685"/>
                    <a:pt x="734" y="685"/>
                    <a:pt x="730" y="686"/>
                  </a:cubicBezTo>
                  <a:cubicBezTo>
                    <a:pt x="727" y="668"/>
                    <a:pt x="725" y="650"/>
                    <a:pt x="723" y="630"/>
                  </a:cubicBezTo>
                  <a:cubicBezTo>
                    <a:pt x="743" y="628"/>
                    <a:pt x="762" y="626"/>
                    <a:pt x="782" y="625"/>
                  </a:cubicBezTo>
                  <a:cubicBezTo>
                    <a:pt x="782" y="613"/>
                    <a:pt x="782" y="613"/>
                    <a:pt x="782" y="613"/>
                  </a:cubicBezTo>
                  <a:cubicBezTo>
                    <a:pt x="762" y="614"/>
                    <a:pt x="742" y="616"/>
                    <a:pt x="722" y="618"/>
                  </a:cubicBezTo>
                  <a:cubicBezTo>
                    <a:pt x="721" y="600"/>
                    <a:pt x="719" y="582"/>
                    <a:pt x="718" y="563"/>
                  </a:cubicBezTo>
                  <a:cubicBezTo>
                    <a:pt x="739" y="560"/>
                    <a:pt x="761" y="557"/>
                    <a:pt x="782" y="554"/>
                  </a:cubicBezTo>
                  <a:cubicBezTo>
                    <a:pt x="782" y="542"/>
                    <a:pt x="782" y="542"/>
                    <a:pt x="782" y="542"/>
                  </a:cubicBezTo>
                  <a:cubicBezTo>
                    <a:pt x="760" y="544"/>
                    <a:pt x="739" y="548"/>
                    <a:pt x="717" y="551"/>
                  </a:cubicBezTo>
                  <a:cubicBezTo>
                    <a:pt x="716" y="534"/>
                    <a:pt x="715" y="517"/>
                    <a:pt x="713" y="500"/>
                  </a:cubicBezTo>
                  <a:cubicBezTo>
                    <a:pt x="713" y="498"/>
                    <a:pt x="713" y="498"/>
                    <a:pt x="713" y="498"/>
                  </a:cubicBezTo>
                  <a:cubicBezTo>
                    <a:pt x="712" y="497"/>
                    <a:pt x="712" y="497"/>
                    <a:pt x="712" y="497"/>
                  </a:cubicBezTo>
                  <a:cubicBezTo>
                    <a:pt x="712" y="497"/>
                    <a:pt x="712" y="496"/>
                    <a:pt x="712" y="496"/>
                  </a:cubicBezTo>
                  <a:moveTo>
                    <a:pt x="1480" y="491"/>
                  </a:moveTo>
                  <a:cubicBezTo>
                    <a:pt x="1473" y="493"/>
                    <a:pt x="1465" y="494"/>
                    <a:pt x="1457" y="496"/>
                  </a:cubicBezTo>
                  <a:cubicBezTo>
                    <a:pt x="1480" y="496"/>
                    <a:pt x="1480" y="496"/>
                    <a:pt x="1480" y="496"/>
                  </a:cubicBezTo>
                  <a:cubicBezTo>
                    <a:pt x="1480" y="491"/>
                    <a:pt x="1480" y="491"/>
                    <a:pt x="1480" y="491"/>
                  </a:cubicBezTo>
                  <a:moveTo>
                    <a:pt x="62" y="156"/>
                  </a:moveTo>
                  <a:cubicBezTo>
                    <a:pt x="50" y="137"/>
                    <a:pt x="42" y="123"/>
                    <a:pt x="39" y="116"/>
                  </a:cubicBezTo>
                  <a:cubicBezTo>
                    <a:pt x="37" y="110"/>
                    <a:pt x="36" y="104"/>
                    <a:pt x="34" y="98"/>
                  </a:cubicBezTo>
                  <a:cubicBezTo>
                    <a:pt x="40" y="106"/>
                    <a:pt x="46" y="114"/>
                    <a:pt x="54" y="123"/>
                  </a:cubicBezTo>
                  <a:cubicBezTo>
                    <a:pt x="57" y="134"/>
                    <a:pt x="59" y="145"/>
                    <a:pt x="62" y="156"/>
                  </a:cubicBezTo>
                  <a:moveTo>
                    <a:pt x="47" y="95"/>
                  </a:moveTo>
                  <a:cubicBezTo>
                    <a:pt x="37" y="82"/>
                    <a:pt x="29" y="70"/>
                    <a:pt x="26" y="65"/>
                  </a:cubicBezTo>
                  <a:cubicBezTo>
                    <a:pt x="25" y="59"/>
                    <a:pt x="23" y="52"/>
                    <a:pt x="22" y="46"/>
                  </a:cubicBezTo>
                  <a:cubicBezTo>
                    <a:pt x="26" y="52"/>
                    <a:pt x="32" y="58"/>
                    <a:pt x="40" y="65"/>
                  </a:cubicBezTo>
                  <a:cubicBezTo>
                    <a:pt x="42" y="75"/>
                    <a:pt x="44" y="85"/>
                    <a:pt x="47" y="95"/>
                  </a:cubicBezTo>
                  <a:moveTo>
                    <a:pt x="77" y="82"/>
                  </a:moveTo>
                  <a:cubicBezTo>
                    <a:pt x="66" y="74"/>
                    <a:pt x="57" y="66"/>
                    <a:pt x="50" y="59"/>
                  </a:cubicBezTo>
                  <a:cubicBezTo>
                    <a:pt x="47" y="46"/>
                    <a:pt x="44" y="34"/>
                    <a:pt x="42" y="21"/>
                  </a:cubicBezTo>
                  <a:cubicBezTo>
                    <a:pt x="51" y="27"/>
                    <a:pt x="62" y="32"/>
                    <a:pt x="72" y="37"/>
                  </a:cubicBezTo>
                  <a:cubicBezTo>
                    <a:pt x="72" y="42"/>
                    <a:pt x="72" y="42"/>
                    <a:pt x="72" y="42"/>
                  </a:cubicBezTo>
                  <a:cubicBezTo>
                    <a:pt x="72" y="43"/>
                    <a:pt x="73" y="57"/>
                    <a:pt x="77" y="82"/>
                  </a:cubicBezTo>
                  <a:moveTo>
                    <a:pt x="35" y="43"/>
                  </a:moveTo>
                  <a:cubicBezTo>
                    <a:pt x="25" y="32"/>
                    <a:pt x="18" y="23"/>
                    <a:pt x="15" y="17"/>
                  </a:cubicBezTo>
                  <a:cubicBezTo>
                    <a:pt x="14" y="13"/>
                    <a:pt x="13" y="9"/>
                    <a:pt x="12" y="5"/>
                  </a:cubicBezTo>
                  <a:cubicBezTo>
                    <a:pt x="18" y="8"/>
                    <a:pt x="23" y="11"/>
                    <a:pt x="29" y="14"/>
                  </a:cubicBezTo>
                  <a:cubicBezTo>
                    <a:pt x="31" y="24"/>
                    <a:pt x="33" y="34"/>
                    <a:pt x="35" y="43"/>
                  </a:cubicBezTo>
                  <a:moveTo>
                    <a:pt x="44" y="0"/>
                  </a:moveTo>
                  <a:cubicBezTo>
                    <a:pt x="0" y="0"/>
                    <a:pt x="0" y="0"/>
                    <a:pt x="0" y="0"/>
                  </a:cubicBezTo>
                  <a:cubicBezTo>
                    <a:pt x="1" y="6"/>
                    <a:pt x="2" y="11"/>
                    <a:pt x="3" y="16"/>
                  </a:cubicBezTo>
                  <a:cubicBezTo>
                    <a:pt x="2" y="17"/>
                    <a:pt x="2" y="17"/>
                    <a:pt x="2" y="17"/>
                  </a:cubicBezTo>
                  <a:cubicBezTo>
                    <a:pt x="2" y="17"/>
                    <a:pt x="3" y="19"/>
                    <a:pt x="5" y="22"/>
                  </a:cubicBezTo>
                  <a:cubicBezTo>
                    <a:pt x="8" y="37"/>
                    <a:pt x="12" y="52"/>
                    <a:pt x="15" y="67"/>
                  </a:cubicBezTo>
                  <a:cubicBezTo>
                    <a:pt x="15" y="68"/>
                    <a:pt x="15" y="68"/>
                    <a:pt x="15" y="68"/>
                  </a:cubicBezTo>
                  <a:cubicBezTo>
                    <a:pt x="15" y="68"/>
                    <a:pt x="15" y="69"/>
                    <a:pt x="16" y="70"/>
                  </a:cubicBezTo>
                  <a:cubicBezTo>
                    <a:pt x="19" y="85"/>
                    <a:pt x="23" y="100"/>
                    <a:pt x="27" y="115"/>
                  </a:cubicBezTo>
                  <a:cubicBezTo>
                    <a:pt x="26" y="116"/>
                    <a:pt x="26" y="116"/>
                    <a:pt x="26" y="116"/>
                  </a:cubicBezTo>
                  <a:cubicBezTo>
                    <a:pt x="27" y="116"/>
                    <a:pt x="27" y="118"/>
                    <a:pt x="29" y="120"/>
                  </a:cubicBezTo>
                  <a:cubicBezTo>
                    <a:pt x="38" y="155"/>
                    <a:pt x="48" y="189"/>
                    <a:pt x="58" y="222"/>
                  </a:cubicBezTo>
                  <a:cubicBezTo>
                    <a:pt x="58" y="222"/>
                    <a:pt x="58" y="222"/>
                    <a:pt x="58" y="222"/>
                  </a:cubicBezTo>
                  <a:cubicBezTo>
                    <a:pt x="58" y="222"/>
                    <a:pt x="58" y="223"/>
                    <a:pt x="59" y="225"/>
                  </a:cubicBezTo>
                  <a:cubicBezTo>
                    <a:pt x="66" y="247"/>
                    <a:pt x="74" y="269"/>
                    <a:pt x="81" y="290"/>
                  </a:cubicBezTo>
                  <a:cubicBezTo>
                    <a:pt x="81" y="241"/>
                    <a:pt x="81" y="241"/>
                    <a:pt x="81" y="241"/>
                  </a:cubicBezTo>
                  <a:cubicBezTo>
                    <a:pt x="75" y="231"/>
                    <a:pt x="72" y="224"/>
                    <a:pt x="69" y="220"/>
                  </a:cubicBezTo>
                  <a:cubicBezTo>
                    <a:pt x="63" y="200"/>
                    <a:pt x="57" y="180"/>
                    <a:pt x="51" y="160"/>
                  </a:cubicBezTo>
                  <a:cubicBezTo>
                    <a:pt x="57" y="169"/>
                    <a:pt x="64" y="179"/>
                    <a:pt x="72" y="190"/>
                  </a:cubicBezTo>
                  <a:cubicBezTo>
                    <a:pt x="75" y="200"/>
                    <a:pt x="78" y="210"/>
                    <a:pt x="81" y="220"/>
                  </a:cubicBezTo>
                  <a:cubicBezTo>
                    <a:pt x="81" y="181"/>
                    <a:pt x="81" y="181"/>
                    <a:pt x="81" y="181"/>
                  </a:cubicBezTo>
                  <a:cubicBezTo>
                    <a:pt x="77" y="168"/>
                    <a:pt x="74" y="155"/>
                    <a:pt x="70" y="141"/>
                  </a:cubicBezTo>
                  <a:cubicBezTo>
                    <a:pt x="74" y="145"/>
                    <a:pt x="77" y="149"/>
                    <a:pt x="81" y="153"/>
                  </a:cubicBezTo>
                  <a:cubicBezTo>
                    <a:pt x="81" y="136"/>
                    <a:pt x="81" y="136"/>
                    <a:pt x="81" y="136"/>
                  </a:cubicBezTo>
                  <a:cubicBezTo>
                    <a:pt x="75" y="130"/>
                    <a:pt x="69" y="123"/>
                    <a:pt x="64" y="117"/>
                  </a:cubicBezTo>
                  <a:cubicBezTo>
                    <a:pt x="60" y="104"/>
                    <a:pt x="57" y="91"/>
                    <a:pt x="54" y="79"/>
                  </a:cubicBezTo>
                  <a:cubicBezTo>
                    <a:pt x="62" y="85"/>
                    <a:pt x="70" y="92"/>
                    <a:pt x="79" y="98"/>
                  </a:cubicBezTo>
                  <a:cubicBezTo>
                    <a:pt x="80" y="102"/>
                    <a:pt x="81" y="106"/>
                    <a:pt x="81" y="110"/>
                  </a:cubicBezTo>
                  <a:cubicBezTo>
                    <a:pt x="81" y="15"/>
                    <a:pt x="81" y="15"/>
                    <a:pt x="81" y="15"/>
                  </a:cubicBezTo>
                  <a:cubicBezTo>
                    <a:pt x="69" y="11"/>
                    <a:pt x="57" y="6"/>
                    <a:pt x="44"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83" name="Freeform 689"/>
            <p:cNvSpPr>
              <a:spLocks noEditPoints="1"/>
            </p:cNvSpPr>
            <p:nvPr/>
          </p:nvSpPr>
          <p:spPr bwMode="auto">
            <a:xfrm>
              <a:off x="2455" y="1831"/>
              <a:ext cx="2548" cy="1690"/>
            </a:xfrm>
            <a:custGeom>
              <a:avLst/>
              <a:gdLst>
                <a:gd name="T0" fmla="*/ 2312 w 4133"/>
                <a:gd name="T1" fmla="*/ 2739 h 2739"/>
                <a:gd name="T2" fmla="*/ 2312 w 4133"/>
                <a:gd name="T3" fmla="*/ 2739 h 2739"/>
                <a:gd name="T4" fmla="*/ 2312 w 4133"/>
                <a:gd name="T5" fmla="*/ 2739 h 2739"/>
                <a:gd name="T6" fmla="*/ 2312 w 4133"/>
                <a:gd name="T7" fmla="*/ 2739 h 2739"/>
                <a:gd name="T8" fmla="*/ 2312 w 4133"/>
                <a:gd name="T9" fmla="*/ 2739 h 2739"/>
                <a:gd name="T10" fmla="*/ 2306 w 4133"/>
                <a:gd name="T11" fmla="*/ 2725 h 2739"/>
                <a:gd name="T12" fmla="*/ 2206 w 4133"/>
                <a:gd name="T13" fmla="*/ 2738 h 2739"/>
                <a:gd name="T14" fmla="*/ 2206 w 4133"/>
                <a:gd name="T15" fmla="*/ 2738 h 2739"/>
                <a:gd name="T16" fmla="*/ 2242 w 4133"/>
                <a:gd name="T17" fmla="*/ 2735 h 2739"/>
                <a:gd name="T18" fmla="*/ 2312 w 4133"/>
                <a:gd name="T19" fmla="*/ 2739 h 2739"/>
                <a:gd name="T20" fmla="*/ 2312 w 4133"/>
                <a:gd name="T21" fmla="*/ 2725 h 2739"/>
                <a:gd name="T22" fmla="*/ 2306 w 4133"/>
                <a:gd name="T23" fmla="*/ 2725 h 2739"/>
                <a:gd name="T24" fmla="*/ 0 w 4133"/>
                <a:gd name="T25" fmla="*/ 1277 h 2739"/>
                <a:gd name="T26" fmla="*/ 0 w 4133"/>
                <a:gd name="T27" fmla="*/ 1277 h 2739"/>
                <a:gd name="T28" fmla="*/ 0 w 4133"/>
                <a:gd name="T29" fmla="*/ 1277 h 2739"/>
                <a:gd name="T30" fmla="*/ 0 w 4133"/>
                <a:gd name="T31" fmla="*/ 1277 h 2739"/>
                <a:gd name="T32" fmla="*/ 0 w 4133"/>
                <a:gd name="T33" fmla="*/ 1277 h 2739"/>
                <a:gd name="T34" fmla="*/ 1 w 4133"/>
                <a:gd name="T35" fmla="*/ 1276 h 2739"/>
                <a:gd name="T36" fmla="*/ 0 w 4133"/>
                <a:gd name="T37" fmla="*/ 1277 h 2739"/>
                <a:gd name="T38" fmla="*/ 0 w 4133"/>
                <a:gd name="T39" fmla="*/ 1278 h 2739"/>
                <a:gd name="T40" fmla="*/ 0 w 4133"/>
                <a:gd name="T41" fmla="*/ 1278 h 2739"/>
                <a:gd name="T42" fmla="*/ 0 w 4133"/>
                <a:gd name="T43" fmla="*/ 1278 h 2739"/>
                <a:gd name="T44" fmla="*/ 0 w 4133"/>
                <a:gd name="T45" fmla="*/ 1278 h 2739"/>
                <a:gd name="T46" fmla="*/ 0 w 4133"/>
                <a:gd name="T47" fmla="*/ 1278 h 2739"/>
                <a:gd name="T48" fmla="*/ 0 w 4133"/>
                <a:gd name="T49" fmla="*/ 1278 h 2739"/>
                <a:gd name="T50" fmla="*/ 0 w 4133"/>
                <a:gd name="T51" fmla="*/ 1278 h 2739"/>
                <a:gd name="T52" fmla="*/ 0 w 4133"/>
                <a:gd name="T53" fmla="*/ 1278 h 2739"/>
                <a:gd name="T54" fmla="*/ 0 w 4133"/>
                <a:gd name="T55" fmla="*/ 1278 h 2739"/>
                <a:gd name="T56" fmla="*/ 0 w 4133"/>
                <a:gd name="T57" fmla="*/ 1278 h 2739"/>
                <a:gd name="T58" fmla="*/ 0 w 4133"/>
                <a:gd name="T59" fmla="*/ 1278 h 2739"/>
                <a:gd name="T60" fmla="*/ 1 w 4133"/>
                <a:gd name="T61" fmla="*/ 1278 h 2739"/>
                <a:gd name="T62" fmla="*/ 1 w 4133"/>
                <a:gd name="T63" fmla="*/ 1276 h 2739"/>
                <a:gd name="T64" fmla="*/ 0 w 4133"/>
                <a:gd name="T65" fmla="*/ 1272 h 2739"/>
                <a:gd name="T66" fmla="*/ 0 w 4133"/>
                <a:gd name="T67" fmla="*/ 1272 h 2739"/>
                <a:gd name="T68" fmla="*/ 0 w 4133"/>
                <a:gd name="T69" fmla="*/ 1272 h 2739"/>
                <a:gd name="T70" fmla="*/ 0 w 4133"/>
                <a:gd name="T71" fmla="*/ 1272 h 2739"/>
                <a:gd name="T72" fmla="*/ 15 w 4133"/>
                <a:gd name="T73" fmla="*/ 1271 h 2739"/>
                <a:gd name="T74" fmla="*/ 12 w 4133"/>
                <a:gd name="T75" fmla="*/ 1272 h 2739"/>
                <a:gd name="T76" fmla="*/ 12 w 4133"/>
                <a:gd name="T77" fmla="*/ 1273 h 2739"/>
                <a:gd name="T78" fmla="*/ 15 w 4133"/>
                <a:gd name="T79" fmla="*/ 1271 h 2739"/>
                <a:gd name="T80" fmla="*/ 4133 w 4133"/>
                <a:gd name="T81" fmla="*/ 1080 h 2739"/>
                <a:gd name="T82" fmla="*/ 4133 w 4133"/>
                <a:gd name="T83" fmla="*/ 1081 h 2739"/>
                <a:gd name="T84" fmla="*/ 4133 w 4133"/>
                <a:gd name="T85" fmla="*/ 1081 h 2739"/>
                <a:gd name="T86" fmla="*/ 4133 w 4133"/>
                <a:gd name="T87" fmla="*/ 1080 h 2739"/>
                <a:gd name="T88" fmla="*/ 4133 w 4133"/>
                <a:gd name="T89" fmla="*/ 1080 h 2739"/>
                <a:gd name="T90" fmla="*/ 4133 w 4133"/>
                <a:gd name="T91" fmla="*/ 1080 h 2739"/>
                <a:gd name="T92" fmla="*/ 4133 w 4133"/>
                <a:gd name="T93" fmla="*/ 1080 h 2739"/>
                <a:gd name="T94" fmla="*/ 3604 w 4133"/>
                <a:gd name="T95" fmla="*/ 490 h 2739"/>
                <a:gd name="T96" fmla="*/ 3605 w 4133"/>
                <a:gd name="T97" fmla="*/ 490 h 2739"/>
                <a:gd name="T98" fmla="*/ 3605 w 4133"/>
                <a:gd name="T99" fmla="*/ 490 h 2739"/>
                <a:gd name="T100" fmla="*/ 3604 w 4133"/>
                <a:gd name="T101" fmla="*/ 490 h 2739"/>
                <a:gd name="T102" fmla="*/ 2340 w 4133"/>
                <a:gd name="T103" fmla="*/ 4 h 2739"/>
                <a:gd name="T104" fmla="*/ 2340 w 4133"/>
                <a:gd name="T105" fmla="*/ 4 h 2739"/>
                <a:gd name="T106" fmla="*/ 2340 w 4133"/>
                <a:gd name="T107" fmla="*/ 4 h 2739"/>
                <a:gd name="T108" fmla="*/ 2340 w 4133"/>
                <a:gd name="T109" fmla="*/ 4 h 2739"/>
                <a:gd name="T110" fmla="*/ 2340 w 4133"/>
                <a:gd name="T111" fmla="*/ 4 h 2739"/>
                <a:gd name="T112" fmla="*/ 2338 w 4133"/>
                <a:gd name="T113" fmla="*/ 0 h 2739"/>
                <a:gd name="T114" fmla="*/ 2340 w 4133"/>
                <a:gd name="T115" fmla="*/ 4 h 2739"/>
                <a:gd name="T116" fmla="*/ 2347 w 4133"/>
                <a:gd name="T117" fmla="*/ 5 h 2739"/>
                <a:gd name="T118" fmla="*/ 2356 w 4133"/>
                <a:gd name="T119" fmla="*/ 4 h 2739"/>
                <a:gd name="T120" fmla="*/ 2338 w 4133"/>
                <a:gd name="T121" fmla="*/ 0 h 2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33" h="2739">
                  <a:moveTo>
                    <a:pt x="2312" y="2739"/>
                  </a:moveTo>
                  <a:cubicBezTo>
                    <a:pt x="2312" y="2739"/>
                    <a:pt x="2312" y="2739"/>
                    <a:pt x="2312" y="2739"/>
                  </a:cubicBezTo>
                  <a:cubicBezTo>
                    <a:pt x="2312" y="2739"/>
                    <a:pt x="2312" y="2739"/>
                    <a:pt x="2312" y="2739"/>
                  </a:cubicBezTo>
                  <a:cubicBezTo>
                    <a:pt x="2312" y="2739"/>
                    <a:pt x="2312" y="2739"/>
                    <a:pt x="2312" y="2739"/>
                  </a:cubicBezTo>
                  <a:cubicBezTo>
                    <a:pt x="2312" y="2739"/>
                    <a:pt x="2312" y="2739"/>
                    <a:pt x="2312" y="2739"/>
                  </a:cubicBezTo>
                  <a:moveTo>
                    <a:pt x="2306" y="2725"/>
                  </a:moveTo>
                  <a:cubicBezTo>
                    <a:pt x="2276" y="2725"/>
                    <a:pt x="2242" y="2730"/>
                    <a:pt x="2206" y="2738"/>
                  </a:cubicBezTo>
                  <a:cubicBezTo>
                    <a:pt x="2206" y="2738"/>
                    <a:pt x="2206" y="2738"/>
                    <a:pt x="2206" y="2738"/>
                  </a:cubicBezTo>
                  <a:cubicBezTo>
                    <a:pt x="2218" y="2736"/>
                    <a:pt x="2230" y="2735"/>
                    <a:pt x="2242" y="2735"/>
                  </a:cubicBezTo>
                  <a:cubicBezTo>
                    <a:pt x="2267" y="2735"/>
                    <a:pt x="2291" y="2739"/>
                    <a:pt x="2312" y="2739"/>
                  </a:cubicBezTo>
                  <a:cubicBezTo>
                    <a:pt x="2312" y="2735"/>
                    <a:pt x="2312" y="2730"/>
                    <a:pt x="2312" y="2725"/>
                  </a:cubicBezTo>
                  <a:cubicBezTo>
                    <a:pt x="2310" y="2725"/>
                    <a:pt x="2308" y="2725"/>
                    <a:pt x="2306" y="2725"/>
                  </a:cubicBezTo>
                  <a:moveTo>
                    <a:pt x="0" y="1277"/>
                  </a:moveTo>
                  <a:cubicBezTo>
                    <a:pt x="0" y="1277"/>
                    <a:pt x="0" y="1277"/>
                    <a:pt x="0" y="1277"/>
                  </a:cubicBezTo>
                  <a:cubicBezTo>
                    <a:pt x="0" y="1277"/>
                    <a:pt x="0" y="1277"/>
                    <a:pt x="0" y="1277"/>
                  </a:cubicBezTo>
                  <a:cubicBezTo>
                    <a:pt x="0" y="1277"/>
                    <a:pt x="0" y="1277"/>
                    <a:pt x="0" y="1277"/>
                  </a:cubicBezTo>
                  <a:cubicBezTo>
                    <a:pt x="0" y="1277"/>
                    <a:pt x="0" y="1277"/>
                    <a:pt x="0" y="1277"/>
                  </a:cubicBezTo>
                  <a:moveTo>
                    <a:pt x="1" y="1276"/>
                  </a:moveTo>
                  <a:cubicBezTo>
                    <a:pt x="0" y="1276"/>
                    <a:pt x="0" y="1277"/>
                    <a:pt x="0" y="1277"/>
                  </a:cubicBezTo>
                  <a:cubicBezTo>
                    <a:pt x="0" y="1278"/>
                    <a:pt x="0" y="1278"/>
                    <a:pt x="0" y="1278"/>
                  </a:cubicBezTo>
                  <a:cubicBezTo>
                    <a:pt x="0" y="1278"/>
                    <a:pt x="0" y="1278"/>
                    <a:pt x="0" y="1278"/>
                  </a:cubicBezTo>
                  <a:cubicBezTo>
                    <a:pt x="0" y="1278"/>
                    <a:pt x="0" y="1278"/>
                    <a:pt x="0" y="1278"/>
                  </a:cubicBezTo>
                  <a:cubicBezTo>
                    <a:pt x="0" y="1278"/>
                    <a:pt x="0" y="1278"/>
                    <a:pt x="0" y="1278"/>
                  </a:cubicBezTo>
                  <a:cubicBezTo>
                    <a:pt x="0" y="1278"/>
                    <a:pt x="0" y="1278"/>
                    <a:pt x="0" y="1278"/>
                  </a:cubicBezTo>
                  <a:cubicBezTo>
                    <a:pt x="0" y="1278"/>
                    <a:pt x="0" y="1278"/>
                    <a:pt x="0" y="1278"/>
                  </a:cubicBezTo>
                  <a:cubicBezTo>
                    <a:pt x="0" y="1278"/>
                    <a:pt x="0" y="1278"/>
                    <a:pt x="0" y="1278"/>
                  </a:cubicBezTo>
                  <a:cubicBezTo>
                    <a:pt x="0" y="1278"/>
                    <a:pt x="0" y="1278"/>
                    <a:pt x="0" y="1278"/>
                  </a:cubicBezTo>
                  <a:cubicBezTo>
                    <a:pt x="0" y="1278"/>
                    <a:pt x="0" y="1278"/>
                    <a:pt x="0" y="1278"/>
                  </a:cubicBezTo>
                  <a:cubicBezTo>
                    <a:pt x="0" y="1278"/>
                    <a:pt x="0" y="1278"/>
                    <a:pt x="0" y="1278"/>
                  </a:cubicBezTo>
                  <a:cubicBezTo>
                    <a:pt x="0" y="1278"/>
                    <a:pt x="0" y="1278"/>
                    <a:pt x="0" y="1278"/>
                  </a:cubicBezTo>
                  <a:cubicBezTo>
                    <a:pt x="1" y="1278"/>
                    <a:pt x="1" y="1278"/>
                    <a:pt x="1" y="1278"/>
                  </a:cubicBezTo>
                  <a:cubicBezTo>
                    <a:pt x="1" y="1278"/>
                    <a:pt x="1" y="1277"/>
                    <a:pt x="1" y="1276"/>
                  </a:cubicBezTo>
                  <a:moveTo>
                    <a:pt x="0" y="1272"/>
                  </a:moveTo>
                  <a:cubicBezTo>
                    <a:pt x="0" y="1272"/>
                    <a:pt x="0" y="1272"/>
                    <a:pt x="0" y="1272"/>
                  </a:cubicBezTo>
                  <a:cubicBezTo>
                    <a:pt x="0" y="1272"/>
                    <a:pt x="0" y="1272"/>
                    <a:pt x="0" y="1272"/>
                  </a:cubicBezTo>
                  <a:cubicBezTo>
                    <a:pt x="0" y="1272"/>
                    <a:pt x="0" y="1272"/>
                    <a:pt x="0" y="1272"/>
                  </a:cubicBezTo>
                  <a:moveTo>
                    <a:pt x="15" y="1271"/>
                  </a:moveTo>
                  <a:cubicBezTo>
                    <a:pt x="14" y="1271"/>
                    <a:pt x="13" y="1272"/>
                    <a:pt x="12" y="1272"/>
                  </a:cubicBezTo>
                  <a:cubicBezTo>
                    <a:pt x="12" y="1272"/>
                    <a:pt x="12" y="1273"/>
                    <a:pt x="12" y="1273"/>
                  </a:cubicBezTo>
                  <a:cubicBezTo>
                    <a:pt x="13" y="1272"/>
                    <a:pt x="14" y="1272"/>
                    <a:pt x="15" y="1271"/>
                  </a:cubicBezTo>
                  <a:moveTo>
                    <a:pt x="4133" y="1080"/>
                  </a:moveTo>
                  <a:cubicBezTo>
                    <a:pt x="4133" y="1081"/>
                    <a:pt x="4133" y="1081"/>
                    <a:pt x="4133" y="1081"/>
                  </a:cubicBezTo>
                  <a:cubicBezTo>
                    <a:pt x="4133" y="1081"/>
                    <a:pt x="4133" y="1081"/>
                    <a:pt x="4133" y="1081"/>
                  </a:cubicBezTo>
                  <a:cubicBezTo>
                    <a:pt x="4133" y="1080"/>
                    <a:pt x="4133" y="1080"/>
                    <a:pt x="4133" y="1080"/>
                  </a:cubicBezTo>
                  <a:moveTo>
                    <a:pt x="4133" y="1080"/>
                  </a:moveTo>
                  <a:cubicBezTo>
                    <a:pt x="4133" y="1080"/>
                    <a:pt x="4133" y="1080"/>
                    <a:pt x="4133" y="1080"/>
                  </a:cubicBezTo>
                  <a:cubicBezTo>
                    <a:pt x="4133" y="1080"/>
                    <a:pt x="4133" y="1080"/>
                    <a:pt x="4133" y="1080"/>
                  </a:cubicBezTo>
                  <a:moveTo>
                    <a:pt x="3604" y="490"/>
                  </a:moveTo>
                  <a:cubicBezTo>
                    <a:pt x="3605" y="490"/>
                    <a:pt x="3605" y="490"/>
                    <a:pt x="3605" y="490"/>
                  </a:cubicBezTo>
                  <a:cubicBezTo>
                    <a:pt x="3605" y="490"/>
                    <a:pt x="3605" y="490"/>
                    <a:pt x="3605" y="490"/>
                  </a:cubicBezTo>
                  <a:cubicBezTo>
                    <a:pt x="3605" y="490"/>
                    <a:pt x="3605" y="490"/>
                    <a:pt x="3604" y="490"/>
                  </a:cubicBezTo>
                  <a:moveTo>
                    <a:pt x="2340" y="4"/>
                  </a:moveTo>
                  <a:cubicBezTo>
                    <a:pt x="2340" y="4"/>
                    <a:pt x="2340" y="4"/>
                    <a:pt x="2340" y="4"/>
                  </a:cubicBezTo>
                  <a:cubicBezTo>
                    <a:pt x="2340" y="4"/>
                    <a:pt x="2340" y="4"/>
                    <a:pt x="2340" y="4"/>
                  </a:cubicBezTo>
                  <a:cubicBezTo>
                    <a:pt x="2340" y="4"/>
                    <a:pt x="2340" y="4"/>
                    <a:pt x="2340" y="4"/>
                  </a:cubicBezTo>
                  <a:cubicBezTo>
                    <a:pt x="2340" y="4"/>
                    <a:pt x="2340" y="4"/>
                    <a:pt x="2340" y="4"/>
                  </a:cubicBezTo>
                  <a:moveTo>
                    <a:pt x="2338" y="0"/>
                  </a:moveTo>
                  <a:cubicBezTo>
                    <a:pt x="2339" y="2"/>
                    <a:pt x="2339" y="3"/>
                    <a:pt x="2340" y="4"/>
                  </a:cubicBezTo>
                  <a:cubicBezTo>
                    <a:pt x="2342" y="5"/>
                    <a:pt x="2345" y="5"/>
                    <a:pt x="2347" y="5"/>
                  </a:cubicBezTo>
                  <a:cubicBezTo>
                    <a:pt x="2350" y="5"/>
                    <a:pt x="2353" y="5"/>
                    <a:pt x="2356" y="4"/>
                  </a:cubicBezTo>
                  <a:cubicBezTo>
                    <a:pt x="2350" y="3"/>
                    <a:pt x="2344" y="2"/>
                    <a:pt x="2338" y="0"/>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sp>
        <p:nvSpPr>
          <p:cNvPr id="84" name="产品名称2018"/>
          <p:cNvSpPr txBox="1"/>
          <p:nvPr/>
        </p:nvSpPr>
        <p:spPr>
          <a:xfrm>
            <a:off x="4872029" y="3358735"/>
            <a:ext cx="2664800" cy="1446550"/>
          </a:xfrm>
          <a:prstGeom prst="rect">
            <a:avLst/>
          </a:prstGeom>
          <a:noFill/>
        </p:spPr>
        <p:txBody>
          <a:bodyPr wrap="square" rtlCol="0">
            <a:spAutoFit/>
          </a:bodyPr>
          <a:lstStyle/>
          <a:p>
            <a:pPr algn="ctr"/>
            <a:r>
              <a:rPr lang="zh-CN" altLang="en-US" sz="4400" b="1" dirty="0">
                <a:solidFill>
                  <a:srgbClr val="84FFFF"/>
                </a:solidFill>
                <a:effectLst>
                  <a:glow rad="228600">
                    <a:schemeClr val="bg1">
                      <a:alpha val="40000"/>
                    </a:schemeClr>
                  </a:glow>
                </a:effectLst>
                <a:cs typeface="+mn-ea"/>
                <a:sym typeface="+mn-lt"/>
              </a:rPr>
              <a:t>智能</a:t>
            </a:r>
            <a:endParaRPr lang="en-US" altLang="zh-CN" sz="4400" b="1" dirty="0">
              <a:solidFill>
                <a:srgbClr val="84FFFF"/>
              </a:solidFill>
              <a:effectLst>
                <a:glow rad="228600">
                  <a:schemeClr val="bg1">
                    <a:alpha val="40000"/>
                  </a:schemeClr>
                </a:glow>
              </a:effectLst>
              <a:cs typeface="+mn-ea"/>
              <a:sym typeface="+mn-lt"/>
            </a:endParaRPr>
          </a:p>
          <a:p>
            <a:pPr algn="ctr"/>
            <a:r>
              <a:rPr lang="zh-CN" altLang="en-US" sz="4400" b="1" dirty="0">
                <a:solidFill>
                  <a:srgbClr val="84FFFF"/>
                </a:solidFill>
                <a:effectLst>
                  <a:glow rad="228600">
                    <a:schemeClr val="bg1">
                      <a:alpha val="40000"/>
                    </a:schemeClr>
                  </a:glow>
                </a:effectLst>
                <a:cs typeface="+mn-ea"/>
                <a:sym typeface="+mn-lt"/>
              </a:rPr>
              <a:t>制造</a:t>
            </a:r>
          </a:p>
        </p:txBody>
      </p:sp>
      <p:sp>
        <p:nvSpPr>
          <p:cNvPr id="85" name="Freeform 5"/>
          <p:cNvSpPr>
            <a:spLocks noEditPoints="1"/>
          </p:cNvSpPr>
          <p:nvPr/>
        </p:nvSpPr>
        <p:spPr bwMode="auto">
          <a:xfrm>
            <a:off x="792046" y="1935078"/>
            <a:ext cx="437878" cy="405974"/>
          </a:xfrm>
          <a:custGeom>
            <a:avLst/>
            <a:gdLst>
              <a:gd name="T0" fmla="*/ 2903 w 2930"/>
              <a:gd name="T1" fmla="*/ 1416 h 2715"/>
              <a:gd name="T2" fmla="*/ 1514 w 2930"/>
              <a:gd name="T3" fmla="*/ 27 h 2715"/>
              <a:gd name="T4" fmla="*/ 1416 w 2930"/>
              <a:gd name="T5" fmla="*/ 27 h 2715"/>
              <a:gd name="T6" fmla="*/ 375 w 2930"/>
              <a:gd name="T7" fmla="*/ 1068 h 2715"/>
              <a:gd name="T8" fmla="*/ 374 w 2930"/>
              <a:gd name="T9" fmla="*/ 1070 h 2715"/>
              <a:gd name="T10" fmla="*/ 27 w 2930"/>
              <a:gd name="T11" fmla="*/ 1416 h 2715"/>
              <a:gd name="T12" fmla="*/ 27 w 2930"/>
              <a:gd name="T13" fmla="*/ 1514 h 2715"/>
              <a:gd name="T14" fmla="*/ 126 w 2930"/>
              <a:gd name="T15" fmla="*/ 1514 h 2715"/>
              <a:gd name="T16" fmla="*/ 354 w 2930"/>
              <a:gd name="T17" fmla="*/ 1286 h 2715"/>
              <a:gd name="T18" fmla="*/ 354 w 2930"/>
              <a:gd name="T19" fmla="*/ 2438 h 2715"/>
              <a:gd name="T20" fmla="*/ 632 w 2930"/>
              <a:gd name="T21" fmla="*/ 2715 h 2715"/>
              <a:gd name="T22" fmla="*/ 1118 w 2930"/>
              <a:gd name="T23" fmla="*/ 2715 h 2715"/>
              <a:gd name="T24" fmla="*/ 1187 w 2930"/>
              <a:gd name="T25" fmla="*/ 2646 h 2715"/>
              <a:gd name="T26" fmla="*/ 1187 w 2930"/>
              <a:gd name="T27" fmla="*/ 2021 h 2715"/>
              <a:gd name="T28" fmla="*/ 1812 w 2930"/>
              <a:gd name="T29" fmla="*/ 2021 h 2715"/>
              <a:gd name="T30" fmla="*/ 1882 w 2930"/>
              <a:gd name="T31" fmla="*/ 1951 h 2715"/>
              <a:gd name="T32" fmla="*/ 1812 w 2930"/>
              <a:gd name="T33" fmla="*/ 1882 h 2715"/>
              <a:gd name="T34" fmla="*/ 1118 w 2930"/>
              <a:gd name="T35" fmla="*/ 1882 h 2715"/>
              <a:gd name="T36" fmla="*/ 1049 w 2930"/>
              <a:gd name="T37" fmla="*/ 1951 h 2715"/>
              <a:gd name="T38" fmla="*/ 1049 w 2930"/>
              <a:gd name="T39" fmla="*/ 2576 h 2715"/>
              <a:gd name="T40" fmla="*/ 632 w 2930"/>
              <a:gd name="T41" fmla="*/ 2576 h 2715"/>
              <a:gd name="T42" fmla="*/ 493 w 2930"/>
              <a:gd name="T43" fmla="*/ 2438 h 2715"/>
              <a:gd name="T44" fmla="*/ 493 w 2930"/>
              <a:gd name="T45" fmla="*/ 1147 h 2715"/>
              <a:gd name="T46" fmla="*/ 1465 w 2930"/>
              <a:gd name="T47" fmla="*/ 175 h 2715"/>
              <a:gd name="T48" fmla="*/ 2805 w 2930"/>
              <a:gd name="T49" fmla="*/ 1514 h 2715"/>
              <a:gd name="T50" fmla="*/ 2854 w 2930"/>
              <a:gd name="T51" fmla="*/ 1535 h 2715"/>
              <a:gd name="T52" fmla="*/ 2903 w 2930"/>
              <a:gd name="T53" fmla="*/ 1514 h 2715"/>
              <a:gd name="T54" fmla="*/ 2903 w 2930"/>
              <a:gd name="T55" fmla="*/ 1416 h 2715"/>
              <a:gd name="T56" fmla="*/ 2903 w 2930"/>
              <a:gd name="T57" fmla="*/ 1416 h 2715"/>
              <a:gd name="T58" fmla="*/ 2507 w 2930"/>
              <a:gd name="T59" fmla="*/ 1604 h 2715"/>
              <a:gd name="T60" fmla="*/ 2437 w 2930"/>
              <a:gd name="T61" fmla="*/ 1674 h 2715"/>
              <a:gd name="T62" fmla="*/ 2437 w 2930"/>
              <a:gd name="T63" fmla="*/ 2437 h 2715"/>
              <a:gd name="T64" fmla="*/ 2299 w 2930"/>
              <a:gd name="T65" fmla="*/ 2576 h 2715"/>
              <a:gd name="T66" fmla="*/ 1812 w 2930"/>
              <a:gd name="T67" fmla="*/ 2576 h 2715"/>
              <a:gd name="T68" fmla="*/ 1743 w 2930"/>
              <a:gd name="T69" fmla="*/ 2646 h 2715"/>
              <a:gd name="T70" fmla="*/ 1812 w 2930"/>
              <a:gd name="T71" fmla="*/ 2715 h 2715"/>
              <a:gd name="T72" fmla="*/ 2299 w 2930"/>
              <a:gd name="T73" fmla="*/ 2715 h 2715"/>
              <a:gd name="T74" fmla="*/ 2576 w 2930"/>
              <a:gd name="T75" fmla="*/ 2437 h 2715"/>
              <a:gd name="T76" fmla="*/ 2576 w 2930"/>
              <a:gd name="T77" fmla="*/ 1674 h 2715"/>
              <a:gd name="T78" fmla="*/ 2507 w 2930"/>
              <a:gd name="T79" fmla="*/ 1604 h 2715"/>
              <a:gd name="T80" fmla="*/ 2507 w 2930"/>
              <a:gd name="T81" fmla="*/ 1604 h 2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30" h="2715">
                <a:moveTo>
                  <a:pt x="2903" y="1416"/>
                </a:moveTo>
                <a:cubicBezTo>
                  <a:pt x="1514" y="27"/>
                  <a:pt x="1514" y="27"/>
                  <a:pt x="1514" y="27"/>
                </a:cubicBezTo>
                <a:cubicBezTo>
                  <a:pt x="1487" y="0"/>
                  <a:pt x="1443" y="0"/>
                  <a:pt x="1416" y="27"/>
                </a:cubicBezTo>
                <a:cubicBezTo>
                  <a:pt x="375" y="1068"/>
                  <a:pt x="375" y="1068"/>
                  <a:pt x="375" y="1068"/>
                </a:cubicBezTo>
                <a:cubicBezTo>
                  <a:pt x="375" y="1069"/>
                  <a:pt x="374" y="1069"/>
                  <a:pt x="374" y="1070"/>
                </a:cubicBezTo>
                <a:cubicBezTo>
                  <a:pt x="27" y="1416"/>
                  <a:pt x="27" y="1416"/>
                  <a:pt x="27" y="1416"/>
                </a:cubicBezTo>
                <a:cubicBezTo>
                  <a:pt x="0" y="1443"/>
                  <a:pt x="0" y="1487"/>
                  <a:pt x="27" y="1514"/>
                </a:cubicBezTo>
                <a:cubicBezTo>
                  <a:pt x="54" y="1542"/>
                  <a:pt x="98" y="1542"/>
                  <a:pt x="126" y="1514"/>
                </a:cubicBezTo>
                <a:cubicBezTo>
                  <a:pt x="354" y="1286"/>
                  <a:pt x="354" y="1286"/>
                  <a:pt x="354" y="1286"/>
                </a:cubicBezTo>
                <a:cubicBezTo>
                  <a:pt x="354" y="2438"/>
                  <a:pt x="354" y="2438"/>
                  <a:pt x="354" y="2438"/>
                </a:cubicBezTo>
                <a:cubicBezTo>
                  <a:pt x="354" y="2591"/>
                  <a:pt x="479" y="2715"/>
                  <a:pt x="632" y="2715"/>
                </a:cubicBezTo>
                <a:cubicBezTo>
                  <a:pt x="1118" y="2715"/>
                  <a:pt x="1118" y="2715"/>
                  <a:pt x="1118" y="2715"/>
                </a:cubicBezTo>
                <a:cubicBezTo>
                  <a:pt x="1156" y="2715"/>
                  <a:pt x="1187" y="2684"/>
                  <a:pt x="1187" y="2646"/>
                </a:cubicBezTo>
                <a:cubicBezTo>
                  <a:pt x="1187" y="2021"/>
                  <a:pt x="1187" y="2021"/>
                  <a:pt x="1187" y="2021"/>
                </a:cubicBezTo>
                <a:cubicBezTo>
                  <a:pt x="1812" y="2021"/>
                  <a:pt x="1812" y="2021"/>
                  <a:pt x="1812" y="2021"/>
                </a:cubicBezTo>
                <a:cubicBezTo>
                  <a:pt x="1851" y="2021"/>
                  <a:pt x="1882" y="1990"/>
                  <a:pt x="1882" y="1951"/>
                </a:cubicBezTo>
                <a:cubicBezTo>
                  <a:pt x="1882" y="1913"/>
                  <a:pt x="1851" y="1882"/>
                  <a:pt x="1812" y="1882"/>
                </a:cubicBezTo>
                <a:cubicBezTo>
                  <a:pt x="1118" y="1882"/>
                  <a:pt x="1118" y="1882"/>
                  <a:pt x="1118" y="1882"/>
                </a:cubicBezTo>
                <a:cubicBezTo>
                  <a:pt x="1080" y="1882"/>
                  <a:pt x="1049" y="1913"/>
                  <a:pt x="1049" y="1951"/>
                </a:cubicBezTo>
                <a:cubicBezTo>
                  <a:pt x="1049" y="2576"/>
                  <a:pt x="1049" y="2576"/>
                  <a:pt x="1049" y="2576"/>
                </a:cubicBezTo>
                <a:cubicBezTo>
                  <a:pt x="632" y="2576"/>
                  <a:pt x="632" y="2576"/>
                  <a:pt x="632" y="2576"/>
                </a:cubicBezTo>
                <a:cubicBezTo>
                  <a:pt x="555" y="2576"/>
                  <a:pt x="493" y="2514"/>
                  <a:pt x="493" y="2438"/>
                </a:cubicBezTo>
                <a:cubicBezTo>
                  <a:pt x="493" y="1147"/>
                  <a:pt x="493" y="1147"/>
                  <a:pt x="493" y="1147"/>
                </a:cubicBezTo>
                <a:cubicBezTo>
                  <a:pt x="1465" y="175"/>
                  <a:pt x="1465" y="175"/>
                  <a:pt x="1465" y="175"/>
                </a:cubicBezTo>
                <a:cubicBezTo>
                  <a:pt x="2805" y="1514"/>
                  <a:pt x="2805" y="1514"/>
                  <a:pt x="2805" y="1514"/>
                </a:cubicBezTo>
                <a:cubicBezTo>
                  <a:pt x="2819" y="1528"/>
                  <a:pt x="2836" y="1535"/>
                  <a:pt x="2854" y="1535"/>
                </a:cubicBezTo>
                <a:cubicBezTo>
                  <a:pt x="2872" y="1535"/>
                  <a:pt x="2890" y="1528"/>
                  <a:pt x="2903" y="1514"/>
                </a:cubicBezTo>
                <a:cubicBezTo>
                  <a:pt x="2930" y="1487"/>
                  <a:pt x="2930" y="1443"/>
                  <a:pt x="2903" y="1416"/>
                </a:cubicBezTo>
                <a:cubicBezTo>
                  <a:pt x="2903" y="1416"/>
                  <a:pt x="2903" y="1416"/>
                  <a:pt x="2903" y="1416"/>
                </a:cubicBezTo>
                <a:close/>
                <a:moveTo>
                  <a:pt x="2507" y="1604"/>
                </a:moveTo>
                <a:cubicBezTo>
                  <a:pt x="2468" y="1604"/>
                  <a:pt x="2437" y="1635"/>
                  <a:pt x="2437" y="1674"/>
                </a:cubicBezTo>
                <a:cubicBezTo>
                  <a:pt x="2437" y="2437"/>
                  <a:pt x="2437" y="2437"/>
                  <a:pt x="2437" y="2437"/>
                </a:cubicBezTo>
                <a:cubicBezTo>
                  <a:pt x="2437" y="2514"/>
                  <a:pt x="2375" y="2576"/>
                  <a:pt x="2299" y="2576"/>
                </a:cubicBezTo>
                <a:cubicBezTo>
                  <a:pt x="1812" y="2576"/>
                  <a:pt x="1812" y="2576"/>
                  <a:pt x="1812" y="2576"/>
                </a:cubicBezTo>
                <a:cubicBezTo>
                  <a:pt x="1774" y="2576"/>
                  <a:pt x="1743" y="2607"/>
                  <a:pt x="1743" y="2646"/>
                </a:cubicBezTo>
                <a:cubicBezTo>
                  <a:pt x="1743" y="2684"/>
                  <a:pt x="1774" y="2715"/>
                  <a:pt x="1812" y="2715"/>
                </a:cubicBezTo>
                <a:cubicBezTo>
                  <a:pt x="2299" y="2715"/>
                  <a:pt x="2299" y="2715"/>
                  <a:pt x="2299" y="2715"/>
                </a:cubicBezTo>
                <a:cubicBezTo>
                  <a:pt x="2452" y="2715"/>
                  <a:pt x="2576" y="2591"/>
                  <a:pt x="2576" y="2437"/>
                </a:cubicBezTo>
                <a:cubicBezTo>
                  <a:pt x="2576" y="1674"/>
                  <a:pt x="2576" y="1674"/>
                  <a:pt x="2576" y="1674"/>
                </a:cubicBezTo>
                <a:cubicBezTo>
                  <a:pt x="2576" y="1635"/>
                  <a:pt x="2545" y="1604"/>
                  <a:pt x="2507" y="1604"/>
                </a:cubicBezTo>
                <a:cubicBezTo>
                  <a:pt x="2507" y="1604"/>
                  <a:pt x="2507" y="1604"/>
                  <a:pt x="2507" y="1604"/>
                </a:cubicBezTo>
                <a:close/>
              </a:path>
            </a:pathLst>
          </a:custGeom>
          <a:solidFill>
            <a:srgbClr val="84FFFF"/>
          </a:solidFill>
          <a:ln>
            <a:noFill/>
          </a:ln>
          <a:effectLst/>
        </p:spPr>
        <p:txBody>
          <a:bodyPr vert="horz" wrap="square" lIns="91440" tIns="45720" rIns="91440" bIns="45720" numCol="1" anchor="t" anchorCtr="0" compatLnSpc="1"/>
          <a:lstStyle/>
          <a:p>
            <a:endParaRPr lang="zh-CN" altLang="en-US">
              <a:solidFill>
                <a:schemeClr val="bg1"/>
              </a:solidFill>
              <a:cs typeface="+mn-ea"/>
              <a:sym typeface="+mn-lt"/>
            </a:endParaRPr>
          </a:p>
        </p:txBody>
      </p:sp>
      <p:sp>
        <p:nvSpPr>
          <p:cNvPr id="86" name="Freeform 9"/>
          <p:cNvSpPr>
            <a:spLocks noEditPoints="1"/>
          </p:cNvSpPr>
          <p:nvPr/>
        </p:nvSpPr>
        <p:spPr bwMode="auto">
          <a:xfrm>
            <a:off x="792046" y="4847291"/>
            <a:ext cx="405771" cy="405974"/>
          </a:xfrm>
          <a:custGeom>
            <a:avLst/>
            <a:gdLst>
              <a:gd name="T0" fmla="*/ 0 w 3004"/>
              <a:gd name="T1" fmla="*/ 1502 h 3004"/>
              <a:gd name="T2" fmla="*/ 3004 w 3004"/>
              <a:gd name="T3" fmla="*/ 1502 h 3004"/>
              <a:gd name="T4" fmla="*/ 2253 w 3004"/>
              <a:gd name="T5" fmla="*/ 362 h 3004"/>
              <a:gd name="T6" fmla="*/ 2212 w 3004"/>
              <a:gd name="T7" fmla="*/ 826 h 3004"/>
              <a:gd name="T8" fmla="*/ 2109 w 3004"/>
              <a:gd name="T9" fmla="*/ 1167 h 3004"/>
              <a:gd name="T10" fmla="*/ 1454 w 3004"/>
              <a:gd name="T11" fmla="*/ 437 h 3004"/>
              <a:gd name="T12" fmla="*/ 2253 w 3004"/>
              <a:gd name="T13" fmla="*/ 362 h 3004"/>
              <a:gd name="T14" fmla="*/ 2362 w 3004"/>
              <a:gd name="T15" fmla="*/ 2007 h 3004"/>
              <a:gd name="T16" fmla="*/ 1707 w 3004"/>
              <a:gd name="T17" fmla="*/ 2041 h 3004"/>
              <a:gd name="T18" fmla="*/ 1966 w 3004"/>
              <a:gd name="T19" fmla="*/ 1707 h 3004"/>
              <a:gd name="T20" fmla="*/ 1727 w 3004"/>
              <a:gd name="T21" fmla="*/ 157 h 3004"/>
              <a:gd name="T22" fmla="*/ 1434 w 3004"/>
              <a:gd name="T23" fmla="*/ 143 h 3004"/>
              <a:gd name="T24" fmla="*/ 1871 w 3004"/>
              <a:gd name="T25" fmla="*/ 1604 h 3004"/>
              <a:gd name="T26" fmla="*/ 1502 w 3004"/>
              <a:gd name="T27" fmla="*/ 1843 h 3004"/>
              <a:gd name="T28" fmla="*/ 546 w 3004"/>
              <a:gd name="T29" fmla="*/ 1666 h 3004"/>
              <a:gd name="T30" fmla="*/ 887 w 3004"/>
              <a:gd name="T31" fmla="*/ 1031 h 3004"/>
              <a:gd name="T32" fmla="*/ 1079 w 3004"/>
              <a:gd name="T33" fmla="*/ 744 h 3004"/>
              <a:gd name="T34" fmla="*/ 1871 w 3004"/>
              <a:gd name="T35" fmla="*/ 1604 h 3004"/>
              <a:gd name="T36" fmla="*/ 137 w 3004"/>
              <a:gd name="T37" fmla="*/ 1529 h 3004"/>
              <a:gd name="T38" fmla="*/ 341 w 3004"/>
              <a:gd name="T39" fmla="*/ 2185 h 3004"/>
              <a:gd name="T40" fmla="*/ 430 w 3004"/>
              <a:gd name="T41" fmla="*/ 1584 h 3004"/>
              <a:gd name="T42" fmla="*/ 1304 w 3004"/>
              <a:gd name="T43" fmla="*/ 157 h 3004"/>
              <a:gd name="T44" fmla="*/ 990 w 3004"/>
              <a:gd name="T45" fmla="*/ 642 h 3004"/>
              <a:gd name="T46" fmla="*/ 683 w 3004"/>
              <a:gd name="T47" fmla="*/ 819 h 3004"/>
              <a:gd name="T48" fmla="*/ 430 w 3004"/>
              <a:gd name="T49" fmla="*/ 1584 h 3004"/>
              <a:gd name="T50" fmla="*/ 478 w 3004"/>
              <a:gd name="T51" fmla="*/ 2185 h 3004"/>
              <a:gd name="T52" fmla="*/ 1311 w 3004"/>
              <a:gd name="T53" fmla="*/ 2116 h 3004"/>
              <a:gd name="T54" fmla="*/ 512 w 3004"/>
              <a:gd name="T55" fmla="*/ 2437 h 3004"/>
              <a:gd name="T56" fmla="*/ 1502 w 3004"/>
              <a:gd name="T57" fmla="*/ 2867 h 3004"/>
              <a:gd name="T58" fmla="*/ 1406 w 3004"/>
              <a:gd name="T59" fmla="*/ 2225 h 3004"/>
              <a:gd name="T60" fmla="*/ 1666 w 3004"/>
              <a:gd name="T61" fmla="*/ 2171 h 3004"/>
              <a:gd name="T62" fmla="*/ 2546 w 3004"/>
              <a:gd name="T63" fmla="*/ 2109 h 3004"/>
              <a:gd name="T64" fmla="*/ 1502 w 3004"/>
              <a:gd name="T65" fmla="*/ 2867 h 3004"/>
              <a:gd name="T66" fmla="*/ 2041 w 3004"/>
              <a:gd name="T67" fmla="*/ 1591 h 3004"/>
              <a:gd name="T68" fmla="*/ 2253 w 3004"/>
              <a:gd name="T69" fmla="*/ 1229 h 3004"/>
              <a:gd name="T70" fmla="*/ 2342 w 3004"/>
              <a:gd name="T71" fmla="*/ 840 h 3004"/>
              <a:gd name="T72" fmla="*/ 2860 w 3004"/>
              <a:gd name="T73" fmla="*/ 1502 h 3004"/>
              <a:gd name="T74" fmla="*/ 2560 w 3004"/>
              <a:gd name="T75" fmla="*/ 1966 h 3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4" h="3004">
                <a:moveTo>
                  <a:pt x="1502" y="0"/>
                </a:moveTo>
                <a:cubicBezTo>
                  <a:pt x="669" y="0"/>
                  <a:pt x="0" y="669"/>
                  <a:pt x="0" y="1502"/>
                </a:cubicBezTo>
                <a:cubicBezTo>
                  <a:pt x="0" y="2335"/>
                  <a:pt x="669" y="3004"/>
                  <a:pt x="1502" y="3004"/>
                </a:cubicBezTo>
                <a:cubicBezTo>
                  <a:pt x="2335" y="3004"/>
                  <a:pt x="3004" y="2335"/>
                  <a:pt x="3004" y="1502"/>
                </a:cubicBezTo>
                <a:cubicBezTo>
                  <a:pt x="3004" y="669"/>
                  <a:pt x="2335" y="0"/>
                  <a:pt x="1502" y="0"/>
                </a:cubicBezTo>
                <a:close/>
                <a:moveTo>
                  <a:pt x="2253" y="362"/>
                </a:moveTo>
                <a:cubicBezTo>
                  <a:pt x="2253" y="375"/>
                  <a:pt x="2253" y="396"/>
                  <a:pt x="2253" y="410"/>
                </a:cubicBezTo>
                <a:cubicBezTo>
                  <a:pt x="2253" y="553"/>
                  <a:pt x="2239" y="689"/>
                  <a:pt x="2212" y="826"/>
                </a:cubicBezTo>
                <a:cubicBezTo>
                  <a:pt x="2116" y="847"/>
                  <a:pt x="2048" y="928"/>
                  <a:pt x="2048" y="1024"/>
                </a:cubicBezTo>
                <a:cubicBezTo>
                  <a:pt x="2048" y="1079"/>
                  <a:pt x="2068" y="1133"/>
                  <a:pt x="2109" y="1167"/>
                </a:cubicBezTo>
                <a:cubicBezTo>
                  <a:pt x="2062" y="1277"/>
                  <a:pt x="2014" y="1386"/>
                  <a:pt x="1946" y="1488"/>
                </a:cubicBezTo>
                <a:cubicBezTo>
                  <a:pt x="1693" y="1201"/>
                  <a:pt x="1516" y="840"/>
                  <a:pt x="1454" y="437"/>
                </a:cubicBezTo>
                <a:cubicBezTo>
                  <a:pt x="1611" y="341"/>
                  <a:pt x="1782" y="266"/>
                  <a:pt x="1959" y="218"/>
                </a:cubicBezTo>
                <a:cubicBezTo>
                  <a:pt x="2062" y="253"/>
                  <a:pt x="2164" y="300"/>
                  <a:pt x="2253" y="362"/>
                </a:cubicBezTo>
                <a:close/>
                <a:moveTo>
                  <a:pt x="1966" y="1707"/>
                </a:moveTo>
                <a:cubicBezTo>
                  <a:pt x="2089" y="1823"/>
                  <a:pt x="2219" y="1925"/>
                  <a:pt x="2362" y="2007"/>
                </a:cubicBezTo>
                <a:cubicBezTo>
                  <a:pt x="2219" y="2034"/>
                  <a:pt x="2068" y="2048"/>
                  <a:pt x="1911" y="2048"/>
                </a:cubicBezTo>
                <a:cubicBezTo>
                  <a:pt x="1843" y="2048"/>
                  <a:pt x="1775" y="2041"/>
                  <a:pt x="1707" y="2041"/>
                </a:cubicBezTo>
                <a:cubicBezTo>
                  <a:pt x="1707" y="2028"/>
                  <a:pt x="1707" y="2014"/>
                  <a:pt x="1700" y="2000"/>
                </a:cubicBezTo>
                <a:cubicBezTo>
                  <a:pt x="1795" y="1911"/>
                  <a:pt x="1884" y="1809"/>
                  <a:pt x="1966" y="1707"/>
                </a:cubicBezTo>
                <a:close/>
                <a:moveTo>
                  <a:pt x="1502" y="137"/>
                </a:moveTo>
                <a:cubicBezTo>
                  <a:pt x="1577" y="137"/>
                  <a:pt x="1652" y="143"/>
                  <a:pt x="1727" y="157"/>
                </a:cubicBezTo>
                <a:cubicBezTo>
                  <a:pt x="1632" y="198"/>
                  <a:pt x="1536" y="239"/>
                  <a:pt x="1440" y="287"/>
                </a:cubicBezTo>
                <a:cubicBezTo>
                  <a:pt x="1434" y="239"/>
                  <a:pt x="1434" y="191"/>
                  <a:pt x="1434" y="143"/>
                </a:cubicBezTo>
                <a:cubicBezTo>
                  <a:pt x="1454" y="137"/>
                  <a:pt x="1481" y="137"/>
                  <a:pt x="1502" y="137"/>
                </a:cubicBezTo>
                <a:close/>
                <a:moveTo>
                  <a:pt x="1871" y="1604"/>
                </a:moveTo>
                <a:cubicBezTo>
                  <a:pt x="1795" y="1707"/>
                  <a:pt x="1713" y="1795"/>
                  <a:pt x="1625" y="1884"/>
                </a:cubicBezTo>
                <a:cubicBezTo>
                  <a:pt x="1591" y="1857"/>
                  <a:pt x="1550" y="1843"/>
                  <a:pt x="1502" y="1843"/>
                </a:cubicBezTo>
                <a:cubicBezTo>
                  <a:pt x="1413" y="1843"/>
                  <a:pt x="1338" y="1898"/>
                  <a:pt x="1311" y="1980"/>
                </a:cubicBezTo>
                <a:cubicBezTo>
                  <a:pt x="1038" y="1911"/>
                  <a:pt x="778" y="1809"/>
                  <a:pt x="546" y="1666"/>
                </a:cubicBezTo>
                <a:cubicBezTo>
                  <a:pt x="608" y="1434"/>
                  <a:pt x="710" y="1215"/>
                  <a:pt x="840" y="1024"/>
                </a:cubicBezTo>
                <a:cubicBezTo>
                  <a:pt x="853" y="1024"/>
                  <a:pt x="867" y="1031"/>
                  <a:pt x="887" y="1031"/>
                </a:cubicBezTo>
                <a:cubicBezTo>
                  <a:pt x="1004" y="1031"/>
                  <a:pt x="1092" y="942"/>
                  <a:pt x="1092" y="826"/>
                </a:cubicBezTo>
                <a:cubicBezTo>
                  <a:pt x="1092" y="799"/>
                  <a:pt x="1085" y="771"/>
                  <a:pt x="1079" y="744"/>
                </a:cubicBezTo>
                <a:cubicBezTo>
                  <a:pt x="1161" y="662"/>
                  <a:pt x="1242" y="594"/>
                  <a:pt x="1331" y="526"/>
                </a:cubicBezTo>
                <a:cubicBezTo>
                  <a:pt x="1406" y="935"/>
                  <a:pt x="1597" y="1304"/>
                  <a:pt x="1871" y="1604"/>
                </a:cubicBezTo>
                <a:close/>
                <a:moveTo>
                  <a:pt x="341" y="2219"/>
                </a:moveTo>
                <a:cubicBezTo>
                  <a:pt x="218" y="2014"/>
                  <a:pt x="143" y="1782"/>
                  <a:pt x="137" y="1529"/>
                </a:cubicBezTo>
                <a:cubicBezTo>
                  <a:pt x="218" y="1597"/>
                  <a:pt x="300" y="1666"/>
                  <a:pt x="389" y="1720"/>
                </a:cubicBezTo>
                <a:cubicBezTo>
                  <a:pt x="362" y="1871"/>
                  <a:pt x="341" y="2028"/>
                  <a:pt x="341" y="2185"/>
                </a:cubicBezTo>
                <a:cubicBezTo>
                  <a:pt x="341" y="2198"/>
                  <a:pt x="341" y="2212"/>
                  <a:pt x="341" y="2219"/>
                </a:cubicBezTo>
                <a:close/>
                <a:moveTo>
                  <a:pt x="430" y="1584"/>
                </a:moveTo>
                <a:cubicBezTo>
                  <a:pt x="328" y="1516"/>
                  <a:pt x="239" y="1440"/>
                  <a:pt x="150" y="1359"/>
                </a:cubicBezTo>
                <a:cubicBezTo>
                  <a:pt x="218" y="744"/>
                  <a:pt x="696" y="253"/>
                  <a:pt x="1304" y="157"/>
                </a:cubicBezTo>
                <a:cubicBezTo>
                  <a:pt x="1304" y="232"/>
                  <a:pt x="1311" y="300"/>
                  <a:pt x="1318" y="375"/>
                </a:cubicBezTo>
                <a:cubicBezTo>
                  <a:pt x="1201" y="457"/>
                  <a:pt x="1092" y="546"/>
                  <a:pt x="990" y="642"/>
                </a:cubicBezTo>
                <a:cubicBezTo>
                  <a:pt x="956" y="621"/>
                  <a:pt x="922" y="614"/>
                  <a:pt x="887" y="614"/>
                </a:cubicBezTo>
                <a:cubicBezTo>
                  <a:pt x="771" y="614"/>
                  <a:pt x="683" y="703"/>
                  <a:pt x="683" y="819"/>
                </a:cubicBezTo>
                <a:cubicBezTo>
                  <a:pt x="683" y="867"/>
                  <a:pt x="703" y="908"/>
                  <a:pt x="730" y="949"/>
                </a:cubicBezTo>
                <a:cubicBezTo>
                  <a:pt x="594" y="1140"/>
                  <a:pt x="492" y="1352"/>
                  <a:pt x="430" y="1584"/>
                </a:cubicBezTo>
                <a:close/>
                <a:moveTo>
                  <a:pt x="492" y="2417"/>
                </a:moveTo>
                <a:cubicBezTo>
                  <a:pt x="485" y="2342"/>
                  <a:pt x="478" y="2266"/>
                  <a:pt x="478" y="2185"/>
                </a:cubicBezTo>
                <a:cubicBezTo>
                  <a:pt x="478" y="2055"/>
                  <a:pt x="492" y="1925"/>
                  <a:pt x="519" y="1802"/>
                </a:cubicBezTo>
                <a:cubicBezTo>
                  <a:pt x="765" y="1946"/>
                  <a:pt x="1031" y="2055"/>
                  <a:pt x="1311" y="2116"/>
                </a:cubicBezTo>
                <a:cubicBezTo>
                  <a:pt x="1311" y="2123"/>
                  <a:pt x="1311" y="2123"/>
                  <a:pt x="1318" y="2130"/>
                </a:cubicBezTo>
                <a:cubicBezTo>
                  <a:pt x="1079" y="2287"/>
                  <a:pt x="806" y="2389"/>
                  <a:pt x="512" y="2437"/>
                </a:cubicBezTo>
                <a:cubicBezTo>
                  <a:pt x="498" y="2430"/>
                  <a:pt x="498" y="2423"/>
                  <a:pt x="492" y="2417"/>
                </a:cubicBezTo>
                <a:close/>
                <a:moveTo>
                  <a:pt x="1502" y="2867"/>
                </a:moveTo>
                <a:cubicBezTo>
                  <a:pt x="1167" y="2867"/>
                  <a:pt x="867" y="2744"/>
                  <a:pt x="628" y="2546"/>
                </a:cubicBezTo>
                <a:cubicBezTo>
                  <a:pt x="915" y="2492"/>
                  <a:pt x="1174" y="2383"/>
                  <a:pt x="1406" y="2225"/>
                </a:cubicBezTo>
                <a:cubicBezTo>
                  <a:pt x="1434" y="2246"/>
                  <a:pt x="1468" y="2253"/>
                  <a:pt x="1502" y="2253"/>
                </a:cubicBezTo>
                <a:cubicBezTo>
                  <a:pt x="1570" y="2253"/>
                  <a:pt x="1625" y="2219"/>
                  <a:pt x="1666" y="2171"/>
                </a:cubicBezTo>
                <a:cubicBezTo>
                  <a:pt x="1748" y="2178"/>
                  <a:pt x="1830" y="2185"/>
                  <a:pt x="1911" y="2185"/>
                </a:cubicBezTo>
                <a:cubicBezTo>
                  <a:pt x="2130" y="2185"/>
                  <a:pt x="2342" y="2157"/>
                  <a:pt x="2546" y="2109"/>
                </a:cubicBezTo>
                <a:cubicBezTo>
                  <a:pt x="2594" y="2130"/>
                  <a:pt x="2642" y="2157"/>
                  <a:pt x="2690" y="2171"/>
                </a:cubicBezTo>
                <a:cubicBezTo>
                  <a:pt x="2458" y="2587"/>
                  <a:pt x="2014" y="2867"/>
                  <a:pt x="1502" y="2867"/>
                </a:cubicBezTo>
                <a:close/>
                <a:moveTo>
                  <a:pt x="2560" y="1966"/>
                </a:moveTo>
                <a:cubicBezTo>
                  <a:pt x="2369" y="1871"/>
                  <a:pt x="2191" y="1741"/>
                  <a:pt x="2041" y="1591"/>
                </a:cubicBezTo>
                <a:cubicBezTo>
                  <a:pt x="2116" y="1475"/>
                  <a:pt x="2178" y="1352"/>
                  <a:pt x="2232" y="1229"/>
                </a:cubicBezTo>
                <a:cubicBezTo>
                  <a:pt x="2239" y="1229"/>
                  <a:pt x="2246" y="1229"/>
                  <a:pt x="2253" y="1229"/>
                </a:cubicBezTo>
                <a:cubicBezTo>
                  <a:pt x="2369" y="1229"/>
                  <a:pt x="2458" y="1140"/>
                  <a:pt x="2458" y="1024"/>
                </a:cubicBezTo>
                <a:cubicBezTo>
                  <a:pt x="2458" y="942"/>
                  <a:pt x="2410" y="874"/>
                  <a:pt x="2342" y="840"/>
                </a:cubicBezTo>
                <a:cubicBezTo>
                  <a:pt x="2369" y="717"/>
                  <a:pt x="2383" y="594"/>
                  <a:pt x="2383" y="464"/>
                </a:cubicBezTo>
                <a:cubicBezTo>
                  <a:pt x="2676" y="717"/>
                  <a:pt x="2860" y="1085"/>
                  <a:pt x="2860" y="1502"/>
                </a:cubicBezTo>
                <a:cubicBezTo>
                  <a:pt x="2860" y="1638"/>
                  <a:pt x="2840" y="1761"/>
                  <a:pt x="2806" y="1884"/>
                </a:cubicBezTo>
                <a:cubicBezTo>
                  <a:pt x="2731" y="1918"/>
                  <a:pt x="2649" y="1946"/>
                  <a:pt x="2560" y="1966"/>
                </a:cubicBezTo>
                <a:close/>
              </a:path>
            </a:pathLst>
          </a:custGeom>
          <a:solidFill>
            <a:srgbClr val="84FFFF"/>
          </a:solidFill>
          <a:ln>
            <a:noFill/>
          </a:ln>
          <a:effectLst/>
        </p:spPr>
        <p:txBody>
          <a:bodyPr vert="horz" wrap="square" lIns="91440" tIns="45720" rIns="91440" bIns="45720" numCol="1" anchor="t" anchorCtr="0" compatLnSpc="1"/>
          <a:lstStyle/>
          <a:p>
            <a:endParaRPr lang="zh-CN" altLang="en-US">
              <a:solidFill>
                <a:schemeClr val="bg1"/>
              </a:solidFill>
              <a:cs typeface="+mn-ea"/>
              <a:sym typeface="+mn-lt"/>
            </a:endParaRPr>
          </a:p>
        </p:txBody>
      </p:sp>
      <p:sp>
        <p:nvSpPr>
          <p:cNvPr id="87" name="Freeform 13"/>
          <p:cNvSpPr>
            <a:spLocks noEditPoints="1"/>
          </p:cNvSpPr>
          <p:nvPr/>
        </p:nvSpPr>
        <p:spPr bwMode="auto">
          <a:xfrm>
            <a:off x="8548698" y="1935267"/>
            <a:ext cx="422275" cy="406400"/>
          </a:xfrm>
          <a:custGeom>
            <a:avLst/>
            <a:gdLst>
              <a:gd name="T0" fmla="*/ 548 w 2812"/>
              <a:gd name="T1" fmla="*/ 1500 h 2710"/>
              <a:gd name="T2" fmla="*/ 631 w 2812"/>
              <a:gd name="T3" fmla="*/ 1383 h 2710"/>
              <a:gd name="T4" fmla="*/ 697 w 2812"/>
              <a:gd name="T5" fmla="*/ 1595 h 2710"/>
              <a:gd name="T6" fmla="*/ 805 w 2812"/>
              <a:gd name="T7" fmla="*/ 1575 h 2710"/>
              <a:gd name="T8" fmla="*/ 1088 w 2812"/>
              <a:gd name="T9" fmla="*/ 1155 h 2710"/>
              <a:gd name="T10" fmla="*/ 1432 w 2812"/>
              <a:gd name="T11" fmla="*/ 1456 h 2710"/>
              <a:gd name="T12" fmla="*/ 1531 w 2812"/>
              <a:gd name="T13" fmla="*/ 1456 h 2710"/>
              <a:gd name="T14" fmla="*/ 2076 w 2812"/>
              <a:gd name="T15" fmla="*/ 831 h 2710"/>
              <a:gd name="T16" fmla="*/ 2183 w 2812"/>
              <a:gd name="T17" fmla="*/ 941 h 2710"/>
              <a:gd name="T18" fmla="*/ 2230 w 2812"/>
              <a:gd name="T19" fmla="*/ 593 h 2710"/>
              <a:gd name="T20" fmla="*/ 1876 w 2812"/>
              <a:gd name="T21" fmla="*/ 625 h 2710"/>
              <a:gd name="T22" fmla="*/ 1973 w 2812"/>
              <a:gd name="T23" fmla="*/ 725 h 2710"/>
              <a:gd name="T24" fmla="*/ 1485 w 2812"/>
              <a:gd name="T25" fmla="*/ 1304 h 2710"/>
              <a:gd name="T26" fmla="*/ 1124 w 2812"/>
              <a:gd name="T27" fmla="*/ 989 h 2710"/>
              <a:gd name="T28" fmla="*/ 1010 w 2812"/>
              <a:gd name="T29" fmla="*/ 1003 h 2710"/>
              <a:gd name="T30" fmla="*/ 722 w 2812"/>
              <a:gd name="T31" fmla="*/ 1424 h 2710"/>
              <a:gd name="T32" fmla="*/ 658 w 2812"/>
              <a:gd name="T33" fmla="*/ 1214 h 2710"/>
              <a:gd name="T34" fmla="*/ 551 w 2812"/>
              <a:gd name="T35" fmla="*/ 1232 h 2710"/>
              <a:gd name="T36" fmla="*/ 423 w 2812"/>
              <a:gd name="T37" fmla="*/ 1411 h 2710"/>
              <a:gd name="T38" fmla="*/ 548 w 2812"/>
              <a:gd name="T39" fmla="*/ 1500 h 2710"/>
              <a:gd name="T40" fmla="*/ 0 w 2812"/>
              <a:gd name="T41" fmla="*/ 440 h 2710"/>
              <a:gd name="T42" fmla="*/ 0 w 2812"/>
              <a:gd name="T43" fmla="*/ 1809 h 2710"/>
              <a:gd name="T44" fmla="*/ 441 w 2812"/>
              <a:gd name="T45" fmla="*/ 2250 h 2710"/>
              <a:gd name="T46" fmla="*/ 1074 w 2812"/>
              <a:gd name="T47" fmla="*/ 2250 h 2710"/>
              <a:gd name="T48" fmla="*/ 1074 w 2812"/>
              <a:gd name="T49" fmla="*/ 2556 h 2710"/>
              <a:gd name="T50" fmla="*/ 689 w 2812"/>
              <a:gd name="T51" fmla="*/ 2556 h 2710"/>
              <a:gd name="T52" fmla="*/ 616 w 2812"/>
              <a:gd name="T53" fmla="*/ 2630 h 2710"/>
              <a:gd name="T54" fmla="*/ 689 w 2812"/>
              <a:gd name="T55" fmla="*/ 2710 h 2710"/>
              <a:gd name="T56" fmla="*/ 2123 w 2812"/>
              <a:gd name="T57" fmla="*/ 2710 h 2710"/>
              <a:gd name="T58" fmla="*/ 2196 w 2812"/>
              <a:gd name="T59" fmla="*/ 2630 h 2710"/>
              <a:gd name="T60" fmla="*/ 2123 w 2812"/>
              <a:gd name="T61" fmla="*/ 2556 h 2710"/>
              <a:gd name="T62" fmla="*/ 1764 w 2812"/>
              <a:gd name="T63" fmla="*/ 2556 h 2710"/>
              <a:gd name="T64" fmla="*/ 1764 w 2812"/>
              <a:gd name="T65" fmla="*/ 2250 h 2710"/>
              <a:gd name="T66" fmla="*/ 2371 w 2812"/>
              <a:gd name="T67" fmla="*/ 2250 h 2710"/>
              <a:gd name="T68" fmla="*/ 2812 w 2812"/>
              <a:gd name="T69" fmla="*/ 1809 h 2710"/>
              <a:gd name="T70" fmla="*/ 2812 w 2812"/>
              <a:gd name="T71" fmla="*/ 440 h 2710"/>
              <a:gd name="T72" fmla="*/ 2371 w 2812"/>
              <a:gd name="T73" fmla="*/ 0 h 2710"/>
              <a:gd name="T74" fmla="*/ 441 w 2812"/>
              <a:gd name="T75" fmla="*/ 0 h 2710"/>
              <a:gd name="T76" fmla="*/ 0 w 2812"/>
              <a:gd name="T77" fmla="*/ 440 h 2710"/>
              <a:gd name="T78" fmla="*/ 205 w 2812"/>
              <a:gd name="T79" fmla="*/ 544 h 2710"/>
              <a:gd name="T80" fmla="*/ 572 w 2812"/>
              <a:gd name="T81" fmla="*/ 177 h 2710"/>
              <a:gd name="T82" fmla="*/ 2240 w 2812"/>
              <a:gd name="T83" fmla="*/ 177 h 2710"/>
              <a:gd name="T84" fmla="*/ 2607 w 2812"/>
              <a:gd name="T85" fmla="*/ 544 h 2710"/>
              <a:gd name="T86" fmla="*/ 2607 w 2812"/>
              <a:gd name="T87" fmla="*/ 1779 h 2710"/>
              <a:gd name="T88" fmla="*/ 2240 w 2812"/>
              <a:gd name="T89" fmla="*/ 2043 h 2710"/>
              <a:gd name="T90" fmla="*/ 572 w 2812"/>
              <a:gd name="T91" fmla="*/ 2043 h 2710"/>
              <a:gd name="T92" fmla="*/ 205 w 2812"/>
              <a:gd name="T93" fmla="*/ 1779 h 2710"/>
              <a:gd name="T94" fmla="*/ 205 w 2812"/>
              <a:gd name="T95" fmla="*/ 544 h 2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12" h="2710">
                <a:moveTo>
                  <a:pt x="548" y="1500"/>
                </a:moveTo>
                <a:cubicBezTo>
                  <a:pt x="631" y="1383"/>
                  <a:pt x="631" y="1383"/>
                  <a:pt x="631" y="1383"/>
                </a:cubicBezTo>
                <a:cubicBezTo>
                  <a:pt x="697" y="1595"/>
                  <a:pt x="697" y="1595"/>
                  <a:pt x="697" y="1595"/>
                </a:cubicBezTo>
                <a:cubicBezTo>
                  <a:pt x="805" y="1575"/>
                  <a:pt x="805" y="1575"/>
                  <a:pt x="805" y="1575"/>
                </a:cubicBezTo>
                <a:cubicBezTo>
                  <a:pt x="1088" y="1155"/>
                  <a:pt x="1088" y="1155"/>
                  <a:pt x="1088" y="1155"/>
                </a:cubicBezTo>
                <a:cubicBezTo>
                  <a:pt x="1432" y="1456"/>
                  <a:pt x="1432" y="1456"/>
                  <a:pt x="1432" y="1456"/>
                </a:cubicBezTo>
                <a:cubicBezTo>
                  <a:pt x="1531" y="1456"/>
                  <a:pt x="1531" y="1456"/>
                  <a:pt x="1531" y="1456"/>
                </a:cubicBezTo>
                <a:cubicBezTo>
                  <a:pt x="2076" y="831"/>
                  <a:pt x="2076" y="831"/>
                  <a:pt x="2076" y="831"/>
                </a:cubicBezTo>
                <a:cubicBezTo>
                  <a:pt x="2183" y="941"/>
                  <a:pt x="2183" y="941"/>
                  <a:pt x="2183" y="941"/>
                </a:cubicBezTo>
                <a:cubicBezTo>
                  <a:pt x="2230" y="593"/>
                  <a:pt x="2230" y="593"/>
                  <a:pt x="2230" y="593"/>
                </a:cubicBezTo>
                <a:cubicBezTo>
                  <a:pt x="1876" y="625"/>
                  <a:pt x="1876" y="625"/>
                  <a:pt x="1876" y="625"/>
                </a:cubicBezTo>
                <a:cubicBezTo>
                  <a:pt x="1973" y="725"/>
                  <a:pt x="1973" y="725"/>
                  <a:pt x="1973" y="725"/>
                </a:cubicBezTo>
                <a:cubicBezTo>
                  <a:pt x="1485" y="1304"/>
                  <a:pt x="1485" y="1304"/>
                  <a:pt x="1485" y="1304"/>
                </a:cubicBezTo>
                <a:cubicBezTo>
                  <a:pt x="1124" y="989"/>
                  <a:pt x="1124" y="989"/>
                  <a:pt x="1124" y="989"/>
                </a:cubicBezTo>
                <a:cubicBezTo>
                  <a:pt x="1010" y="1003"/>
                  <a:pt x="1010" y="1003"/>
                  <a:pt x="1010" y="1003"/>
                </a:cubicBezTo>
                <a:cubicBezTo>
                  <a:pt x="722" y="1424"/>
                  <a:pt x="722" y="1424"/>
                  <a:pt x="722" y="1424"/>
                </a:cubicBezTo>
                <a:cubicBezTo>
                  <a:pt x="658" y="1214"/>
                  <a:pt x="658" y="1214"/>
                  <a:pt x="658" y="1214"/>
                </a:cubicBezTo>
                <a:cubicBezTo>
                  <a:pt x="551" y="1232"/>
                  <a:pt x="551" y="1232"/>
                  <a:pt x="551" y="1232"/>
                </a:cubicBezTo>
                <a:cubicBezTo>
                  <a:pt x="423" y="1411"/>
                  <a:pt x="423" y="1411"/>
                  <a:pt x="423" y="1411"/>
                </a:cubicBezTo>
                <a:cubicBezTo>
                  <a:pt x="548" y="1500"/>
                  <a:pt x="548" y="1500"/>
                  <a:pt x="548" y="1500"/>
                </a:cubicBezTo>
                <a:close/>
                <a:moveTo>
                  <a:pt x="0" y="440"/>
                </a:moveTo>
                <a:cubicBezTo>
                  <a:pt x="0" y="1809"/>
                  <a:pt x="0" y="1809"/>
                  <a:pt x="0" y="1809"/>
                </a:cubicBezTo>
                <a:cubicBezTo>
                  <a:pt x="0" y="2052"/>
                  <a:pt x="198" y="2250"/>
                  <a:pt x="441" y="2250"/>
                </a:cubicBezTo>
                <a:cubicBezTo>
                  <a:pt x="1074" y="2250"/>
                  <a:pt x="1074" y="2250"/>
                  <a:pt x="1074" y="2250"/>
                </a:cubicBezTo>
                <a:cubicBezTo>
                  <a:pt x="1074" y="2556"/>
                  <a:pt x="1074" y="2556"/>
                  <a:pt x="1074" y="2556"/>
                </a:cubicBezTo>
                <a:cubicBezTo>
                  <a:pt x="689" y="2556"/>
                  <a:pt x="689" y="2556"/>
                  <a:pt x="689" y="2556"/>
                </a:cubicBezTo>
                <a:cubicBezTo>
                  <a:pt x="649" y="2556"/>
                  <a:pt x="616" y="2589"/>
                  <a:pt x="616" y="2630"/>
                </a:cubicBezTo>
                <a:cubicBezTo>
                  <a:pt x="616" y="2670"/>
                  <a:pt x="649" y="2710"/>
                  <a:pt x="689" y="2710"/>
                </a:cubicBezTo>
                <a:cubicBezTo>
                  <a:pt x="2123" y="2710"/>
                  <a:pt x="2123" y="2710"/>
                  <a:pt x="2123" y="2710"/>
                </a:cubicBezTo>
                <a:cubicBezTo>
                  <a:pt x="2163" y="2710"/>
                  <a:pt x="2196" y="2670"/>
                  <a:pt x="2196" y="2630"/>
                </a:cubicBezTo>
                <a:cubicBezTo>
                  <a:pt x="2196" y="2589"/>
                  <a:pt x="2163" y="2556"/>
                  <a:pt x="2123" y="2556"/>
                </a:cubicBezTo>
                <a:cubicBezTo>
                  <a:pt x="1764" y="2556"/>
                  <a:pt x="1764" y="2556"/>
                  <a:pt x="1764" y="2556"/>
                </a:cubicBezTo>
                <a:cubicBezTo>
                  <a:pt x="1764" y="2250"/>
                  <a:pt x="1764" y="2250"/>
                  <a:pt x="1764" y="2250"/>
                </a:cubicBezTo>
                <a:cubicBezTo>
                  <a:pt x="2371" y="2250"/>
                  <a:pt x="2371" y="2250"/>
                  <a:pt x="2371" y="2250"/>
                </a:cubicBezTo>
                <a:cubicBezTo>
                  <a:pt x="2614" y="2250"/>
                  <a:pt x="2812" y="2052"/>
                  <a:pt x="2812" y="1809"/>
                </a:cubicBezTo>
                <a:cubicBezTo>
                  <a:pt x="2812" y="440"/>
                  <a:pt x="2812" y="440"/>
                  <a:pt x="2812" y="440"/>
                </a:cubicBezTo>
                <a:cubicBezTo>
                  <a:pt x="2812" y="197"/>
                  <a:pt x="2614" y="0"/>
                  <a:pt x="2371" y="0"/>
                </a:cubicBezTo>
                <a:cubicBezTo>
                  <a:pt x="441" y="0"/>
                  <a:pt x="441" y="0"/>
                  <a:pt x="441" y="0"/>
                </a:cubicBezTo>
                <a:cubicBezTo>
                  <a:pt x="198" y="0"/>
                  <a:pt x="0" y="197"/>
                  <a:pt x="0" y="440"/>
                </a:cubicBezTo>
                <a:close/>
                <a:moveTo>
                  <a:pt x="205" y="544"/>
                </a:moveTo>
                <a:cubicBezTo>
                  <a:pt x="205" y="342"/>
                  <a:pt x="369" y="177"/>
                  <a:pt x="572" y="177"/>
                </a:cubicBezTo>
                <a:cubicBezTo>
                  <a:pt x="2240" y="177"/>
                  <a:pt x="2240" y="177"/>
                  <a:pt x="2240" y="177"/>
                </a:cubicBezTo>
                <a:cubicBezTo>
                  <a:pt x="2443" y="177"/>
                  <a:pt x="2607" y="342"/>
                  <a:pt x="2607" y="544"/>
                </a:cubicBezTo>
                <a:cubicBezTo>
                  <a:pt x="2607" y="1779"/>
                  <a:pt x="2607" y="1779"/>
                  <a:pt x="2607" y="1779"/>
                </a:cubicBezTo>
                <a:cubicBezTo>
                  <a:pt x="2607" y="1981"/>
                  <a:pt x="2443" y="2043"/>
                  <a:pt x="2240" y="2043"/>
                </a:cubicBezTo>
                <a:cubicBezTo>
                  <a:pt x="572" y="2043"/>
                  <a:pt x="572" y="2043"/>
                  <a:pt x="572" y="2043"/>
                </a:cubicBezTo>
                <a:cubicBezTo>
                  <a:pt x="369" y="2043"/>
                  <a:pt x="205" y="1981"/>
                  <a:pt x="205" y="1779"/>
                </a:cubicBezTo>
                <a:cubicBezTo>
                  <a:pt x="205" y="544"/>
                  <a:pt x="205" y="544"/>
                  <a:pt x="205" y="544"/>
                </a:cubicBezTo>
                <a:close/>
              </a:path>
            </a:pathLst>
          </a:custGeom>
          <a:solidFill>
            <a:srgbClr val="84FFFF"/>
          </a:solidFill>
          <a:ln>
            <a:noFill/>
          </a:ln>
          <a:effectLst/>
        </p:spPr>
        <p:txBody>
          <a:bodyPr vert="horz" wrap="square" lIns="91440" tIns="45720" rIns="91440" bIns="45720" numCol="1" anchor="t" anchorCtr="0" compatLnSpc="1"/>
          <a:lstStyle/>
          <a:p>
            <a:endParaRPr lang="zh-CN" altLang="en-US">
              <a:solidFill>
                <a:schemeClr val="bg1"/>
              </a:solidFill>
              <a:cs typeface="+mn-ea"/>
              <a:sym typeface="+mn-lt"/>
            </a:endParaRPr>
          </a:p>
        </p:txBody>
      </p:sp>
      <p:grpSp>
        <p:nvGrpSpPr>
          <p:cNvPr id="88" name="Group 16"/>
          <p:cNvGrpSpPr>
            <a:grpSpLocks noChangeAspect="1"/>
          </p:cNvGrpSpPr>
          <p:nvPr/>
        </p:nvGrpSpPr>
        <p:grpSpPr bwMode="auto">
          <a:xfrm>
            <a:off x="8534410" y="4847291"/>
            <a:ext cx="436563" cy="438150"/>
            <a:chOff x="4686" y="2921"/>
            <a:chExt cx="275" cy="276"/>
          </a:xfrm>
          <a:solidFill>
            <a:srgbClr val="84FFFF"/>
          </a:solidFill>
          <a:effectLst/>
        </p:grpSpPr>
        <p:sp>
          <p:nvSpPr>
            <p:cNvPr id="89" name="Freeform 17"/>
            <p:cNvSpPr/>
            <p:nvPr/>
          </p:nvSpPr>
          <p:spPr bwMode="auto">
            <a:xfrm>
              <a:off x="4686" y="2921"/>
              <a:ext cx="275" cy="276"/>
            </a:xfrm>
            <a:custGeom>
              <a:avLst/>
              <a:gdLst>
                <a:gd name="T0" fmla="*/ 2818 w 3125"/>
                <a:gd name="T1" fmla="*/ 920 h 3121"/>
                <a:gd name="T2" fmla="*/ 2393 w 3125"/>
                <a:gd name="T3" fmla="*/ 2707 h 3121"/>
                <a:gd name="T4" fmla="*/ 550 w 3125"/>
                <a:gd name="T5" fmla="*/ 2562 h 3121"/>
                <a:gd name="T6" fmla="*/ 415 w 3125"/>
                <a:gd name="T7" fmla="*/ 720 h 3121"/>
                <a:gd name="T8" fmla="*/ 2199 w 3125"/>
                <a:gd name="T9" fmla="*/ 300 h 3121"/>
                <a:gd name="T10" fmla="*/ 2056 w 3125"/>
                <a:gd name="T11" fmla="*/ 445 h 3121"/>
                <a:gd name="T12" fmla="*/ 1943 w 3125"/>
                <a:gd name="T13" fmla="*/ 472 h 3121"/>
                <a:gd name="T14" fmla="*/ 445 w 3125"/>
                <a:gd name="T15" fmla="*/ 1226 h 3121"/>
                <a:gd name="T16" fmla="*/ 1321 w 3125"/>
                <a:gd name="T17" fmla="*/ 2699 h 3121"/>
                <a:gd name="T18" fmla="*/ 2696 w 3125"/>
                <a:gd name="T19" fmla="*/ 1771 h 3121"/>
                <a:gd name="T20" fmla="*/ 2634 w 3125"/>
                <a:gd name="T21" fmla="*/ 1137 h 3121"/>
                <a:gd name="T22" fmla="*/ 2643 w 3125"/>
                <a:gd name="T23" fmla="*/ 1094 h 3121"/>
                <a:gd name="T24" fmla="*/ 2818 w 3125"/>
                <a:gd name="T25" fmla="*/ 920 h 3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25" h="3121">
                  <a:moveTo>
                    <a:pt x="2818" y="920"/>
                  </a:moveTo>
                  <a:cubicBezTo>
                    <a:pt x="3125" y="1524"/>
                    <a:pt x="2969" y="2284"/>
                    <a:pt x="2393" y="2707"/>
                  </a:cubicBezTo>
                  <a:cubicBezTo>
                    <a:pt x="1829" y="3121"/>
                    <a:pt x="1038" y="3058"/>
                    <a:pt x="550" y="2562"/>
                  </a:cubicBezTo>
                  <a:cubicBezTo>
                    <a:pt x="57" y="2062"/>
                    <a:pt x="0" y="1275"/>
                    <a:pt x="415" y="720"/>
                  </a:cubicBezTo>
                  <a:cubicBezTo>
                    <a:pt x="849" y="138"/>
                    <a:pt x="1611" y="0"/>
                    <a:pt x="2199" y="300"/>
                  </a:cubicBezTo>
                  <a:cubicBezTo>
                    <a:pt x="2150" y="348"/>
                    <a:pt x="2100" y="394"/>
                    <a:pt x="2056" y="445"/>
                  </a:cubicBezTo>
                  <a:cubicBezTo>
                    <a:pt x="2022" y="484"/>
                    <a:pt x="1993" y="490"/>
                    <a:pt x="1943" y="472"/>
                  </a:cubicBezTo>
                  <a:cubicBezTo>
                    <a:pt x="1317" y="249"/>
                    <a:pt x="640" y="591"/>
                    <a:pt x="445" y="1226"/>
                  </a:cubicBezTo>
                  <a:cubicBezTo>
                    <a:pt x="246" y="1876"/>
                    <a:pt x="655" y="2564"/>
                    <a:pt x="1321" y="2699"/>
                  </a:cubicBezTo>
                  <a:cubicBezTo>
                    <a:pt x="1962" y="2828"/>
                    <a:pt x="2577" y="2414"/>
                    <a:pt x="2696" y="1771"/>
                  </a:cubicBezTo>
                  <a:cubicBezTo>
                    <a:pt x="2737" y="1554"/>
                    <a:pt x="2714" y="1343"/>
                    <a:pt x="2634" y="1137"/>
                  </a:cubicBezTo>
                  <a:cubicBezTo>
                    <a:pt x="2627" y="1119"/>
                    <a:pt x="2628" y="1108"/>
                    <a:pt x="2643" y="1094"/>
                  </a:cubicBezTo>
                  <a:cubicBezTo>
                    <a:pt x="2701" y="1038"/>
                    <a:pt x="2758" y="979"/>
                    <a:pt x="2818" y="920"/>
                  </a:cubicBezTo>
                  <a:close/>
                </a:path>
              </a:pathLst>
            </a:custGeom>
            <a:grpFill/>
            <a:ln>
              <a:noFill/>
            </a:ln>
          </p:spPr>
          <p:txBody>
            <a:bodyPr vert="horz" wrap="square" lIns="91440" tIns="45720" rIns="91440" bIns="45720" numCol="1" anchor="t" anchorCtr="0" compatLnSpc="1"/>
            <a:lstStyle/>
            <a:p>
              <a:endParaRPr lang="zh-CN" altLang="en-US">
                <a:solidFill>
                  <a:schemeClr val="bg1"/>
                </a:solidFill>
                <a:cs typeface="+mn-ea"/>
                <a:sym typeface="+mn-lt"/>
              </a:endParaRPr>
            </a:p>
          </p:txBody>
        </p:sp>
        <p:sp>
          <p:nvSpPr>
            <p:cNvPr id="90" name="Freeform 18"/>
            <p:cNvSpPr/>
            <p:nvPr/>
          </p:nvSpPr>
          <p:spPr bwMode="auto">
            <a:xfrm>
              <a:off x="4735" y="2973"/>
              <a:ext cx="174" cy="174"/>
            </a:xfrm>
            <a:custGeom>
              <a:avLst/>
              <a:gdLst>
                <a:gd name="T0" fmla="*/ 1444 w 1969"/>
                <a:gd name="T1" fmla="*/ 200 h 1968"/>
                <a:gd name="T2" fmla="*/ 1267 w 1969"/>
                <a:gd name="T3" fmla="*/ 377 h 1968"/>
                <a:gd name="T4" fmla="*/ 1233 w 1969"/>
                <a:gd name="T5" fmla="*/ 382 h 1968"/>
                <a:gd name="T6" fmla="*/ 660 w 1969"/>
                <a:gd name="T7" fmla="*/ 429 h 1968"/>
                <a:gd name="T8" fmla="*/ 353 w 1969"/>
                <a:gd name="T9" fmla="*/ 1043 h 1968"/>
                <a:gd name="T10" fmla="*/ 900 w 1969"/>
                <a:gd name="T11" fmla="*/ 1617 h 1968"/>
                <a:gd name="T12" fmla="*/ 1623 w 1969"/>
                <a:gd name="T13" fmla="*/ 1112 h 1968"/>
                <a:gd name="T14" fmla="*/ 1589 w 1969"/>
                <a:gd name="T15" fmla="*/ 736 h 1968"/>
                <a:gd name="T16" fmla="*/ 1590 w 1969"/>
                <a:gd name="T17" fmla="*/ 709 h 1968"/>
                <a:gd name="T18" fmla="*/ 1771 w 1969"/>
                <a:gd name="T19" fmla="*/ 528 h 1968"/>
                <a:gd name="T20" fmla="*/ 1573 w 1969"/>
                <a:gd name="T21" fmla="*/ 1670 h 1968"/>
                <a:gd name="T22" fmla="*/ 359 w 1969"/>
                <a:gd name="T23" fmla="*/ 1621 h 1968"/>
                <a:gd name="T24" fmla="*/ 296 w 1969"/>
                <a:gd name="T25" fmla="*/ 405 h 1968"/>
                <a:gd name="T26" fmla="*/ 1444 w 1969"/>
                <a:gd name="T27" fmla="*/ 20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69" h="1968">
                  <a:moveTo>
                    <a:pt x="1444" y="200"/>
                  </a:moveTo>
                  <a:cubicBezTo>
                    <a:pt x="1384" y="260"/>
                    <a:pt x="1324" y="318"/>
                    <a:pt x="1267" y="377"/>
                  </a:cubicBezTo>
                  <a:cubicBezTo>
                    <a:pt x="1255" y="390"/>
                    <a:pt x="1245" y="387"/>
                    <a:pt x="1233" y="382"/>
                  </a:cubicBezTo>
                  <a:cubicBezTo>
                    <a:pt x="1034" y="306"/>
                    <a:pt x="840" y="317"/>
                    <a:pt x="660" y="429"/>
                  </a:cubicBezTo>
                  <a:cubicBezTo>
                    <a:pt x="434" y="569"/>
                    <a:pt x="329" y="778"/>
                    <a:pt x="353" y="1043"/>
                  </a:cubicBezTo>
                  <a:cubicBezTo>
                    <a:pt x="381" y="1342"/>
                    <a:pt x="603" y="1571"/>
                    <a:pt x="900" y="1617"/>
                  </a:cubicBezTo>
                  <a:cubicBezTo>
                    <a:pt x="1231" y="1668"/>
                    <a:pt x="1556" y="1441"/>
                    <a:pt x="1623" y="1112"/>
                  </a:cubicBezTo>
                  <a:cubicBezTo>
                    <a:pt x="1648" y="983"/>
                    <a:pt x="1638" y="858"/>
                    <a:pt x="1589" y="736"/>
                  </a:cubicBezTo>
                  <a:cubicBezTo>
                    <a:pt x="1586" y="727"/>
                    <a:pt x="1579" y="719"/>
                    <a:pt x="1590" y="709"/>
                  </a:cubicBezTo>
                  <a:cubicBezTo>
                    <a:pt x="1651" y="649"/>
                    <a:pt x="1711" y="588"/>
                    <a:pt x="1771" y="528"/>
                  </a:cubicBezTo>
                  <a:cubicBezTo>
                    <a:pt x="1969" y="851"/>
                    <a:pt x="1943" y="1355"/>
                    <a:pt x="1573" y="1670"/>
                  </a:cubicBezTo>
                  <a:cubicBezTo>
                    <a:pt x="1222" y="1968"/>
                    <a:pt x="688" y="1947"/>
                    <a:pt x="359" y="1621"/>
                  </a:cubicBezTo>
                  <a:cubicBezTo>
                    <a:pt x="27" y="1292"/>
                    <a:pt x="0" y="760"/>
                    <a:pt x="296" y="405"/>
                  </a:cubicBezTo>
                  <a:cubicBezTo>
                    <a:pt x="608" y="30"/>
                    <a:pt x="1115" y="0"/>
                    <a:pt x="1444" y="200"/>
                  </a:cubicBezTo>
                  <a:close/>
                </a:path>
              </a:pathLst>
            </a:custGeom>
            <a:grpFill/>
            <a:ln>
              <a:noFill/>
            </a:ln>
          </p:spPr>
          <p:txBody>
            <a:bodyPr vert="horz" wrap="square" lIns="91440" tIns="45720" rIns="91440" bIns="45720" numCol="1" anchor="t" anchorCtr="0" compatLnSpc="1"/>
            <a:lstStyle/>
            <a:p>
              <a:endParaRPr lang="zh-CN" altLang="en-US">
                <a:solidFill>
                  <a:schemeClr val="bg1"/>
                </a:solidFill>
                <a:cs typeface="+mn-ea"/>
                <a:sym typeface="+mn-lt"/>
              </a:endParaRPr>
            </a:p>
          </p:txBody>
        </p:sp>
        <p:sp>
          <p:nvSpPr>
            <p:cNvPr id="91" name="Freeform 19"/>
            <p:cNvSpPr/>
            <p:nvPr/>
          </p:nvSpPr>
          <p:spPr bwMode="auto">
            <a:xfrm>
              <a:off x="4818" y="2931"/>
              <a:ext cx="133" cy="132"/>
            </a:xfrm>
            <a:custGeom>
              <a:avLst/>
              <a:gdLst>
                <a:gd name="T0" fmla="*/ 1074 w 1505"/>
                <a:gd name="T1" fmla="*/ 0 h 1494"/>
                <a:gd name="T2" fmla="*/ 1088 w 1505"/>
                <a:gd name="T3" fmla="*/ 157 h 1494"/>
                <a:gd name="T4" fmla="*/ 1107 w 1505"/>
                <a:gd name="T5" fmla="*/ 370 h 1494"/>
                <a:gd name="T6" fmla="*/ 1138 w 1505"/>
                <a:gd name="T7" fmla="*/ 401 h 1494"/>
                <a:gd name="T8" fmla="*/ 1478 w 1505"/>
                <a:gd name="T9" fmla="*/ 431 h 1494"/>
                <a:gd name="T10" fmla="*/ 1505 w 1505"/>
                <a:gd name="T11" fmla="*/ 436 h 1494"/>
                <a:gd name="T12" fmla="*/ 1489 w 1505"/>
                <a:gd name="T13" fmla="*/ 455 h 1494"/>
                <a:gd name="T14" fmla="*/ 1073 w 1505"/>
                <a:gd name="T15" fmla="*/ 872 h 1494"/>
                <a:gd name="T16" fmla="*/ 1031 w 1505"/>
                <a:gd name="T17" fmla="*/ 888 h 1494"/>
                <a:gd name="T18" fmla="*/ 813 w 1505"/>
                <a:gd name="T19" fmla="*/ 867 h 1494"/>
                <a:gd name="T20" fmla="*/ 771 w 1505"/>
                <a:gd name="T21" fmla="*/ 882 h 1494"/>
                <a:gd name="T22" fmla="*/ 207 w 1505"/>
                <a:gd name="T23" fmla="*/ 1446 h 1494"/>
                <a:gd name="T24" fmla="*/ 95 w 1505"/>
                <a:gd name="T25" fmla="*/ 1480 h 1494"/>
                <a:gd name="T26" fmla="*/ 44 w 1505"/>
                <a:gd name="T27" fmla="*/ 1319 h 1494"/>
                <a:gd name="T28" fmla="*/ 68 w 1505"/>
                <a:gd name="T29" fmla="*/ 1294 h 1494"/>
                <a:gd name="T30" fmla="*/ 622 w 1505"/>
                <a:gd name="T31" fmla="*/ 740 h 1494"/>
                <a:gd name="T32" fmla="*/ 640 w 1505"/>
                <a:gd name="T33" fmla="*/ 691 h 1494"/>
                <a:gd name="T34" fmla="*/ 619 w 1505"/>
                <a:gd name="T35" fmla="*/ 470 h 1494"/>
                <a:gd name="T36" fmla="*/ 630 w 1505"/>
                <a:gd name="T37" fmla="*/ 440 h 1494"/>
                <a:gd name="T38" fmla="*/ 1065 w 1505"/>
                <a:gd name="T39" fmla="*/ 5 h 1494"/>
                <a:gd name="T40" fmla="*/ 1074 w 1505"/>
                <a:gd name="T41" fmla="*/ 0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05" h="1494">
                  <a:moveTo>
                    <a:pt x="1074" y="0"/>
                  </a:moveTo>
                  <a:cubicBezTo>
                    <a:pt x="1079" y="54"/>
                    <a:pt x="1083" y="105"/>
                    <a:pt x="1088" y="157"/>
                  </a:cubicBezTo>
                  <a:cubicBezTo>
                    <a:pt x="1094" y="228"/>
                    <a:pt x="1102" y="299"/>
                    <a:pt x="1107" y="370"/>
                  </a:cubicBezTo>
                  <a:cubicBezTo>
                    <a:pt x="1108" y="392"/>
                    <a:pt x="1117" y="399"/>
                    <a:pt x="1138" y="401"/>
                  </a:cubicBezTo>
                  <a:cubicBezTo>
                    <a:pt x="1252" y="410"/>
                    <a:pt x="1365" y="420"/>
                    <a:pt x="1478" y="431"/>
                  </a:cubicBezTo>
                  <a:cubicBezTo>
                    <a:pt x="1487" y="432"/>
                    <a:pt x="1497" y="429"/>
                    <a:pt x="1505" y="436"/>
                  </a:cubicBezTo>
                  <a:cubicBezTo>
                    <a:pt x="1503" y="445"/>
                    <a:pt x="1495" y="449"/>
                    <a:pt x="1489" y="455"/>
                  </a:cubicBezTo>
                  <a:cubicBezTo>
                    <a:pt x="1351" y="594"/>
                    <a:pt x="1212" y="733"/>
                    <a:pt x="1073" y="872"/>
                  </a:cubicBezTo>
                  <a:cubicBezTo>
                    <a:pt x="1061" y="885"/>
                    <a:pt x="1049" y="889"/>
                    <a:pt x="1031" y="888"/>
                  </a:cubicBezTo>
                  <a:cubicBezTo>
                    <a:pt x="959" y="880"/>
                    <a:pt x="885" y="875"/>
                    <a:pt x="813" y="867"/>
                  </a:cubicBezTo>
                  <a:cubicBezTo>
                    <a:pt x="795" y="865"/>
                    <a:pt x="783" y="869"/>
                    <a:pt x="771" y="882"/>
                  </a:cubicBezTo>
                  <a:cubicBezTo>
                    <a:pt x="583" y="1070"/>
                    <a:pt x="395" y="1258"/>
                    <a:pt x="207" y="1446"/>
                  </a:cubicBezTo>
                  <a:cubicBezTo>
                    <a:pt x="175" y="1478"/>
                    <a:pt x="140" y="1494"/>
                    <a:pt x="95" y="1480"/>
                  </a:cubicBezTo>
                  <a:cubicBezTo>
                    <a:pt x="26" y="1459"/>
                    <a:pt x="0" y="1376"/>
                    <a:pt x="44" y="1319"/>
                  </a:cubicBezTo>
                  <a:cubicBezTo>
                    <a:pt x="51" y="1310"/>
                    <a:pt x="60" y="1302"/>
                    <a:pt x="68" y="1294"/>
                  </a:cubicBezTo>
                  <a:cubicBezTo>
                    <a:pt x="252" y="1109"/>
                    <a:pt x="437" y="924"/>
                    <a:pt x="622" y="740"/>
                  </a:cubicBezTo>
                  <a:cubicBezTo>
                    <a:pt x="637" y="726"/>
                    <a:pt x="642" y="713"/>
                    <a:pt x="640" y="691"/>
                  </a:cubicBezTo>
                  <a:cubicBezTo>
                    <a:pt x="631" y="618"/>
                    <a:pt x="626" y="543"/>
                    <a:pt x="619" y="470"/>
                  </a:cubicBezTo>
                  <a:cubicBezTo>
                    <a:pt x="618" y="458"/>
                    <a:pt x="621" y="449"/>
                    <a:pt x="630" y="440"/>
                  </a:cubicBezTo>
                  <a:cubicBezTo>
                    <a:pt x="775" y="295"/>
                    <a:pt x="920" y="150"/>
                    <a:pt x="1065" y="5"/>
                  </a:cubicBezTo>
                  <a:cubicBezTo>
                    <a:pt x="1066" y="4"/>
                    <a:pt x="1068" y="4"/>
                    <a:pt x="1074" y="0"/>
                  </a:cubicBezTo>
                  <a:close/>
                </a:path>
              </a:pathLst>
            </a:custGeom>
            <a:grpFill/>
            <a:ln>
              <a:noFill/>
            </a:ln>
          </p:spPr>
          <p:txBody>
            <a:bodyPr vert="horz" wrap="square" lIns="91440" tIns="45720" rIns="91440" bIns="45720" numCol="1" anchor="t" anchorCtr="0" compatLnSpc="1"/>
            <a:lstStyle/>
            <a:p>
              <a:endParaRPr lang="zh-CN" altLang="en-US">
                <a:solidFill>
                  <a:schemeClr val="bg1"/>
                </a:solidFill>
                <a:cs typeface="+mn-ea"/>
                <a:sym typeface="+mn-lt"/>
              </a:endParaRPr>
            </a:p>
          </p:txBody>
        </p:sp>
        <p:sp>
          <p:nvSpPr>
            <p:cNvPr id="92" name="Freeform 20"/>
            <p:cNvSpPr/>
            <p:nvPr/>
          </p:nvSpPr>
          <p:spPr bwMode="auto">
            <a:xfrm>
              <a:off x="4786" y="3023"/>
              <a:ext cx="74" cy="74"/>
            </a:xfrm>
            <a:custGeom>
              <a:avLst/>
              <a:gdLst>
                <a:gd name="T0" fmla="*/ 801 w 839"/>
                <a:gd name="T1" fmla="*/ 368 h 842"/>
                <a:gd name="T2" fmla="*/ 616 w 839"/>
                <a:gd name="T3" fmla="*/ 752 h 842"/>
                <a:gd name="T4" fmla="*/ 141 w 839"/>
                <a:gd name="T5" fmla="*/ 684 h 842"/>
                <a:gd name="T6" fmla="*/ 95 w 839"/>
                <a:gd name="T7" fmla="*/ 211 h 842"/>
                <a:gd name="T8" fmla="*/ 474 w 839"/>
                <a:gd name="T9" fmla="*/ 40 h 842"/>
                <a:gd name="T10" fmla="*/ 329 w 839"/>
                <a:gd name="T11" fmla="*/ 183 h 842"/>
                <a:gd name="T12" fmla="*/ 401 w 839"/>
                <a:gd name="T13" fmla="*/ 557 h 842"/>
                <a:gd name="T14" fmla="*/ 659 w 839"/>
                <a:gd name="T15" fmla="*/ 509 h 842"/>
                <a:gd name="T16" fmla="*/ 781 w 839"/>
                <a:gd name="T17" fmla="*/ 387 h 842"/>
                <a:gd name="T18" fmla="*/ 801 w 839"/>
                <a:gd name="T19" fmla="*/ 368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9" h="842">
                  <a:moveTo>
                    <a:pt x="801" y="368"/>
                  </a:moveTo>
                  <a:cubicBezTo>
                    <a:pt x="839" y="492"/>
                    <a:pt x="751" y="674"/>
                    <a:pt x="616" y="752"/>
                  </a:cubicBezTo>
                  <a:cubicBezTo>
                    <a:pt x="461" y="842"/>
                    <a:pt x="265" y="814"/>
                    <a:pt x="141" y="684"/>
                  </a:cubicBezTo>
                  <a:cubicBezTo>
                    <a:pt x="19" y="557"/>
                    <a:pt x="0" y="359"/>
                    <a:pt x="95" y="211"/>
                  </a:cubicBezTo>
                  <a:cubicBezTo>
                    <a:pt x="176" y="83"/>
                    <a:pt x="358" y="0"/>
                    <a:pt x="474" y="40"/>
                  </a:cubicBezTo>
                  <a:cubicBezTo>
                    <a:pt x="424" y="88"/>
                    <a:pt x="375" y="134"/>
                    <a:pt x="329" y="183"/>
                  </a:cubicBezTo>
                  <a:cubicBezTo>
                    <a:pt x="216" y="302"/>
                    <a:pt x="253" y="492"/>
                    <a:pt x="401" y="557"/>
                  </a:cubicBezTo>
                  <a:cubicBezTo>
                    <a:pt x="490" y="596"/>
                    <a:pt x="588" y="578"/>
                    <a:pt x="659" y="509"/>
                  </a:cubicBezTo>
                  <a:cubicBezTo>
                    <a:pt x="700" y="468"/>
                    <a:pt x="740" y="428"/>
                    <a:pt x="781" y="387"/>
                  </a:cubicBezTo>
                  <a:cubicBezTo>
                    <a:pt x="787" y="381"/>
                    <a:pt x="794" y="375"/>
                    <a:pt x="801" y="368"/>
                  </a:cubicBezTo>
                  <a:close/>
                </a:path>
              </a:pathLst>
            </a:custGeom>
            <a:grpFill/>
            <a:ln>
              <a:noFill/>
            </a:ln>
          </p:spPr>
          <p:txBody>
            <a:bodyPr vert="horz" wrap="square" lIns="91440" tIns="45720" rIns="91440" bIns="45720" numCol="1" anchor="t" anchorCtr="0" compatLnSpc="1"/>
            <a:lstStyle/>
            <a:p>
              <a:endParaRPr lang="zh-CN" altLang="en-US">
                <a:solidFill>
                  <a:schemeClr val="bg1"/>
                </a:solidFill>
                <a:cs typeface="+mn-ea"/>
                <a:sym typeface="+mn-lt"/>
              </a:endParaRPr>
            </a:p>
          </p:txBody>
        </p:sp>
      </p:grpSp>
      <p:grpSp>
        <p:nvGrpSpPr>
          <p:cNvPr id="93" name="Group 21"/>
          <p:cNvGrpSpPr/>
          <p:nvPr/>
        </p:nvGrpSpPr>
        <p:grpSpPr>
          <a:xfrm>
            <a:off x="1337056" y="1935078"/>
            <a:ext cx="2413662" cy="1175452"/>
            <a:chOff x="10955939" y="3701437"/>
            <a:chExt cx="3775757" cy="1880722"/>
          </a:xfrm>
        </p:grpSpPr>
        <p:sp>
          <p:nvSpPr>
            <p:cNvPr id="94" name="Rectangle 22"/>
            <p:cNvSpPr/>
            <p:nvPr/>
          </p:nvSpPr>
          <p:spPr>
            <a:xfrm>
              <a:off x="10955939" y="4271032"/>
              <a:ext cx="3775757" cy="1311127"/>
            </a:xfrm>
            <a:prstGeom prst="rect">
              <a:avLst/>
            </a:prstGeom>
          </p:spPr>
          <p:txBody>
            <a:bodyPr wrap="square">
              <a:spAutoFit/>
            </a:bodyPr>
            <a:lstStyle/>
            <a:p>
              <a:pPr defTabSz="285750">
                <a:lnSpc>
                  <a:spcPct val="150000"/>
                </a:lnSpc>
              </a:pPr>
              <a:r>
                <a:rPr lang="zh-CN" altLang="en-US" sz="1050" dirty="0">
                  <a:solidFill>
                    <a:schemeClr val="bg1"/>
                  </a:solidFill>
                  <a:cs typeface="+mn-ea"/>
                  <a:sym typeface="+mn-lt"/>
                </a:rPr>
                <a:t>的内容打在这里，或者通过复制您的文本后，在此框中选择粘贴，并选择只保留文字。</a:t>
              </a:r>
              <a:endParaRPr lang="id-ID" sz="1050" dirty="0">
                <a:solidFill>
                  <a:schemeClr val="bg1"/>
                </a:solidFill>
                <a:cs typeface="+mn-ea"/>
                <a:sym typeface="+mn-lt"/>
              </a:endParaRPr>
            </a:p>
          </p:txBody>
        </p:sp>
        <p:sp>
          <p:nvSpPr>
            <p:cNvPr id="95" name="Rectangle 23"/>
            <p:cNvSpPr/>
            <p:nvPr/>
          </p:nvSpPr>
          <p:spPr>
            <a:xfrm>
              <a:off x="10955939" y="3701437"/>
              <a:ext cx="2810635" cy="541686"/>
            </a:xfrm>
            <a:prstGeom prst="rect">
              <a:avLst/>
            </a:prstGeom>
          </p:spPr>
          <p:txBody>
            <a:bodyPr wrap="square">
              <a:spAutoFit/>
            </a:bodyPr>
            <a:lstStyle/>
            <a:p>
              <a:pPr defTabSz="285750"/>
              <a:r>
                <a:rPr lang="zh-CN" altLang="en-US" sz="1600" b="1" dirty="0">
                  <a:solidFill>
                    <a:srgbClr val="84FFFF"/>
                  </a:solidFill>
                  <a:cs typeface="+mn-ea"/>
                  <a:sym typeface="+mn-lt"/>
                </a:rPr>
                <a:t>填写段落标题</a:t>
              </a:r>
            </a:p>
          </p:txBody>
        </p:sp>
      </p:grpSp>
      <p:grpSp>
        <p:nvGrpSpPr>
          <p:cNvPr id="96" name="Group 21"/>
          <p:cNvGrpSpPr/>
          <p:nvPr/>
        </p:nvGrpSpPr>
        <p:grpSpPr>
          <a:xfrm>
            <a:off x="1337056" y="4805797"/>
            <a:ext cx="2413662" cy="1175452"/>
            <a:chOff x="10955939" y="3701437"/>
            <a:chExt cx="3775757" cy="1880722"/>
          </a:xfrm>
        </p:grpSpPr>
        <p:sp>
          <p:nvSpPr>
            <p:cNvPr id="97" name="Rectangle 22"/>
            <p:cNvSpPr/>
            <p:nvPr/>
          </p:nvSpPr>
          <p:spPr>
            <a:xfrm>
              <a:off x="10955939" y="4271032"/>
              <a:ext cx="3775757" cy="1311127"/>
            </a:xfrm>
            <a:prstGeom prst="rect">
              <a:avLst/>
            </a:prstGeom>
          </p:spPr>
          <p:txBody>
            <a:bodyPr wrap="square">
              <a:spAutoFit/>
            </a:bodyPr>
            <a:lstStyle/>
            <a:p>
              <a:pPr defTabSz="285750">
                <a:lnSpc>
                  <a:spcPct val="150000"/>
                </a:lnSpc>
              </a:pPr>
              <a:r>
                <a:rPr lang="zh-CN" altLang="en-US" sz="1050" dirty="0">
                  <a:solidFill>
                    <a:schemeClr val="bg1"/>
                  </a:solidFill>
                  <a:cs typeface="+mn-ea"/>
                  <a:sym typeface="+mn-lt"/>
                </a:rPr>
                <a:t>的内容打在这里，或者通过复制您的文本后，在此框中选择粘贴，并选择只保留文字。</a:t>
              </a:r>
              <a:endParaRPr lang="id-ID" sz="1050" dirty="0">
                <a:solidFill>
                  <a:schemeClr val="bg1"/>
                </a:solidFill>
                <a:cs typeface="+mn-ea"/>
                <a:sym typeface="+mn-lt"/>
              </a:endParaRPr>
            </a:p>
          </p:txBody>
        </p:sp>
        <p:sp>
          <p:nvSpPr>
            <p:cNvPr id="98" name="Rectangle 23"/>
            <p:cNvSpPr/>
            <p:nvPr/>
          </p:nvSpPr>
          <p:spPr>
            <a:xfrm>
              <a:off x="10955939" y="3701437"/>
              <a:ext cx="2810635" cy="541686"/>
            </a:xfrm>
            <a:prstGeom prst="rect">
              <a:avLst/>
            </a:prstGeom>
          </p:spPr>
          <p:txBody>
            <a:bodyPr wrap="square">
              <a:spAutoFit/>
            </a:bodyPr>
            <a:lstStyle/>
            <a:p>
              <a:pPr defTabSz="285750"/>
              <a:r>
                <a:rPr lang="zh-CN" altLang="en-US" sz="1600" b="1" dirty="0">
                  <a:solidFill>
                    <a:srgbClr val="84FFFF"/>
                  </a:solidFill>
                  <a:cs typeface="+mn-ea"/>
                  <a:sym typeface="+mn-lt"/>
                </a:rPr>
                <a:t>填写段落标题</a:t>
              </a:r>
            </a:p>
          </p:txBody>
        </p:sp>
      </p:grpSp>
      <p:grpSp>
        <p:nvGrpSpPr>
          <p:cNvPr id="99" name="Group 21"/>
          <p:cNvGrpSpPr/>
          <p:nvPr/>
        </p:nvGrpSpPr>
        <p:grpSpPr>
          <a:xfrm>
            <a:off x="9281791" y="1935078"/>
            <a:ext cx="2413662" cy="1175452"/>
            <a:chOff x="10955939" y="3701437"/>
            <a:chExt cx="3775757" cy="1880722"/>
          </a:xfrm>
        </p:grpSpPr>
        <p:sp>
          <p:nvSpPr>
            <p:cNvPr id="100" name="Rectangle 22"/>
            <p:cNvSpPr/>
            <p:nvPr/>
          </p:nvSpPr>
          <p:spPr>
            <a:xfrm>
              <a:off x="10955939" y="4271032"/>
              <a:ext cx="3775757" cy="1311127"/>
            </a:xfrm>
            <a:prstGeom prst="rect">
              <a:avLst/>
            </a:prstGeom>
          </p:spPr>
          <p:txBody>
            <a:bodyPr wrap="square">
              <a:spAutoFit/>
            </a:bodyPr>
            <a:lstStyle/>
            <a:p>
              <a:pPr defTabSz="285750">
                <a:lnSpc>
                  <a:spcPct val="150000"/>
                </a:lnSpc>
              </a:pPr>
              <a:r>
                <a:rPr lang="zh-CN" altLang="en-US" sz="1050" dirty="0">
                  <a:solidFill>
                    <a:schemeClr val="bg1"/>
                  </a:solidFill>
                  <a:cs typeface="+mn-ea"/>
                  <a:sym typeface="+mn-lt"/>
                </a:rPr>
                <a:t>的内容打在这里，或者通过复制您的文本后，在此框中选择粘贴，并选择只保留文字</a:t>
              </a:r>
              <a:r>
                <a:rPr lang="zh-CN" altLang="en-US" sz="1000" dirty="0">
                  <a:solidFill>
                    <a:schemeClr val="bg1"/>
                  </a:solidFill>
                  <a:cs typeface="+mn-ea"/>
                  <a:sym typeface="+mn-lt"/>
                </a:rPr>
                <a:t>。</a:t>
              </a:r>
              <a:endParaRPr lang="id-ID" sz="1000" dirty="0">
                <a:solidFill>
                  <a:schemeClr val="bg1"/>
                </a:solidFill>
                <a:cs typeface="+mn-ea"/>
                <a:sym typeface="+mn-lt"/>
              </a:endParaRPr>
            </a:p>
          </p:txBody>
        </p:sp>
        <p:sp>
          <p:nvSpPr>
            <p:cNvPr id="101" name="Rectangle 23"/>
            <p:cNvSpPr/>
            <p:nvPr/>
          </p:nvSpPr>
          <p:spPr>
            <a:xfrm>
              <a:off x="10955939" y="3701437"/>
              <a:ext cx="2810635" cy="541686"/>
            </a:xfrm>
            <a:prstGeom prst="rect">
              <a:avLst/>
            </a:prstGeom>
          </p:spPr>
          <p:txBody>
            <a:bodyPr wrap="square">
              <a:spAutoFit/>
            </a:bodyPr>
            <a:lstStyle/>
            <a:p>
              <a:pPr defTabSz="285750"/>
              <a:r>
                <a:rPr lang="zh-CN" altLang="en-US" sz="1600" b="1" dirty="0">
                  <a:solidFill>
                    <a:srgbClr val="84FFFF"/>
                  </a:solidFill>
                  <a:cs typeface="+mn-ea"/>
                  <a:sym typeface="+mn-lt"/>
                </a:rPr>
                <a:t>填写段落标题</a:t>
              </a:r>
            </a:p>
          </p:txBody>
        </p:sp>
      </p:grpSp>
      <p:grpSp>
        <p:nvGrpSpPr>
          <p:cNvPr id="102" name="Group 21"/>
          <p:cNvGrpSpPr/>
          <p:nvPr/>
        </p:nvGrpSpPr>
        <p:grpSpPr>
          <a:xfrm>
            <a:off x="9281791" y="4805797"/>
            <a:ext cx="2413662" cy="1175452"/>
            <a:chOff x="10955939" y="3701437"/>
            <a:chExt cx="3775757" cy="1880722"/>
          </a:xfrm>
        </p:grpSpPr>
        <p:sp>
          <p:nvSpPr>
            <p:cNvPr id="103" name="Rectangle 22"/>
            <p:cNvSpPr/>
            <p:nvPr/>
          </p:nvSpPr>
          <p:spPr>
            <a:xfrm>
              <a:off x="10955939" y="4271032"/>
              <a:ext cx="3775757" cy="1311127"/>
            </a:xfrm>
            <a:prstGeom prst="rect">
              <a:avLst/>
            </a:prstGeom>
          </p:spPr>
          <p:txBody>
            <a:bodyPr wrap="square">
              <a:spAutoFit/>
            </a:bodyPr>
            <a:lstStyle/>
            <a:p>
              <a:pPr defTabSz="285750">
                <a:lnSpc>
                  <a:spcPct val="150000"/>
                </a:lnSpc>
              </a:pPr>
              <a:r>
                <a:rPr lang="zh-CN" altLang="en-US" sz="1050" dirty="0">
                  <a:solidFill>
                    <a:schemeClr val="bg1"/>
                  </a:solidFill>
                  <a:cs typeface="+mn-ea"/>
                  <a:sym typeface="+mn-lt"/>
                </a:rPr>
                <a:t>的内容打在这里，或者通过复制您的文本后，在此框中选择粘贴，并选择只保留文字。</a:t>
              </a:r>
              <a:endParaRPr lang="id-ID" sz="1050" dirty="0">
                <a:solidFill>
                  <a:schemeClr val="bg1"/>
                </a:solidFill>
                <a:cs typeface="+mn-ea"/>
                <a:sym typeface="+mn-lt"/>
              </a:endParaRPr>
            </a:p>
          </p:txBody>
        </p:sp>
        <p:sp>
          <p:nvSpPr>
            <p:cNvPr id="104" name="Rectangle 23"/>
            <p:cNvSpPr/>
            <p:nvPr/>
          </p:nvSpPr>
          <p:spPr>
            <a:xfrm>
              <a:off x="10955939" y="3701437"/>
              <a:ext cx="2810635" cy="541686"/>
            </a:xfrm>
            <a:prstGeom prst="rect">
              <a:avLst/>
            </a:prstGeom>
          </p:spPr>
          <p:txBody>
            <a:bodyPr wrap="square">
              <a:spAutoFit/>
            </a:bodyPr>
            <a:lstStyle/>
            <a:p>
              <a:pPr defTabSz="285750"/>
              <a:r>
                <a:rPr lang="zh-CN" altLang="en-US" sz="1600" b="1" dirty="0">
                  <a:solidFill>
                    <a:srgbClr val="84FFFF"/>
                  </a:solidFill>
                  <a:cs typeface="+mn-ea"/>
                  <a:sym typeface="+mn-lt"/>
                </a:rPr>
                <a:t>填写段落标题</a:t>
              </a:r>
            </a:p>
          </p:txBody>
        </p:sp>
      </p:gr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1" decel="100000" fill="hold" nodeType="withEffect">
                                  <p:stCondLst>
                                    <p:cond delay="1000"/>
                                  </p:stCondLst>
                                  <p:childTnLst>
                                    <p:set>
                                      <p:cBhvr>
                                        <p:cTn id="17" dur="1" fill="hold">
                                          <p:stCondLst>
                                            <p:cond delay="0"/>
                                          </p:stCondLst>
                                        </p:cTn>
                                        <p:tgtEl>
                                          <p:spTgt spid="71"/>
                                        </p:tgtEl>
                                        <p:attrNameLst>
                                          <p:attrName>style.visibility</p:attrName>
                                        </p:attrNameLst>
                                      </p:cBhvr>
                                      <p:to>
                                        <p:strVal val="visible"/>
                                      </p:to>
                                    </p:set>
                                    <p:anim calcmode="lin" valueType="num">
                                      <p:cBhvr additive="base">
                                        <p:cTn id="18" dur="1500" fill="hold"/>
                                        <p:tgtEl>
                                          <p:spTgt spid="71"/>
                                        </p:tgtEl>
                                        <p:attrNameLst>
                                          <p:attrName>ppt_x</p:attrName>
                                        </p:attrNameLst>
                                      </p:cBhvr>
                                      <p:tavLst>
                                        <p:tav tm="0">
                                          <p:val>
                                            <p:strVal val="#ppt_x"/>
                                          </p:val>
                                        </p:tav>
                                        <p:tav tm="100000">
                                          <p:val>
                                            <p:strVal val="#ppt_x"/>
                                          </p:val>
                                        </p:tav>
                                      </p:tavLst>
                                    </p:anim>
                                    <p:anim calcmode="lin" valueType="num">
                                      <p:cBhvr additive="base">
                                        <p:cTn id="19" dur="1500" fill="hold"/>
                                        <p:tgtEl>
                                          <p:spTgt spid="71"/>
                                        </p:tgtEl>
                                        <p:attrNameLst>
                                          <p:attrName>ppt_y</p:attrName>
                                        </p:attrNameLst>
                                      </p:cBhvr>
                                      <p:tavLst>
                                        <p:tav tm="0">
                                          <p:val>
                                            <p:strVal val="0-#ppt_h/2"/>
                                          </p:val>
                                        </p:tav>
                                        <p:tav tm="100000">
                                          <p:val>
                                            <p:strVal val="#ppt_y"/>
                                          </p:val>
                                        </p:tav>
                                      </p:tavLst>
                                    </p:anim>
                                  </p:childTnLst>
                                </p:cTn>
                              </p:par>
                            </p:childTnLst>
                          </p:cTn>
                        </p:par>
                        <p:par>
                          <p:cTn id="20" fill="hold">
                            <p:stCondLst>
                              <p:cond delay="0"/>
                            </p:stCondLst>
                            <p:childTnLst>
                              <p:par>
                                <p:cTn id="21" presetID="53" presetClass="entr" presetSubtype="16" fill="hold" grpId="0" nodeType="afterEffect">
                                  <p:stCondLst>
                                    <p:cond delay="0"/>
                                  </p:stCondLst>
                                  <p:iterate type="lt">
                                    <p:tmPct val="10000"/>
                                  </p:iterate>
                                  <p:childTnLst>
                                    <p:set>
                                      <p:cBhvr>
                                        <p:cTn id="22" dur="1" fill="hold">
                                          <p:stCondLst>
                                            <p:cond delay="0"/>
                                          </p:stCondLst>
                                        </p:cTn>
                                        <p:tgtEl>
                                          <p:spTgt spid="84"/>
                                        </p:tgtEl>
                                        <p:attrNameLst>
                                          <p:attrName>style.visibility</p:attrName>
                                        </p:attrNameLst>
                                      </p:cBhvr>
                                      <p:to>
                                        <p:strVal val="visible"/>
                                      </p:to>
                                    </p:set>
                                    <p:anim calcmode="lin" valueType="num">
                                      <p:cBhvr>
                                        <p:cTn id="23" dur="500" fill="hold"/>
                                        <p:tgtEl>
                                          <p:spTgt spid="84"/>
                                        </p:tgtEl>
                                        <p:attrNameLst>
                                          <p:attrName>ppt_w</p:attrName>
                                        </p:attrNameLst>
                                      </p:cBhvr>
                                      <p:tavLst>
                                        <p:tav tm="0">
                                          <p:val>
                                            <p:fltVal val="0"/>
                                          </p:val>
                                        </p:tav>
                                        <p:tav tm="100000">
                                          <p:val>
                                            <p:strVal val="#ppt_w"/>
                                          </p:val>
                                        </p:tav>
                                      </p:tavLst>
                                    </p:anim>
                                    <p:anim calcmode="lin" valueType="num">
                                      <p:cBhvr>
                                        <p:cTn id="24" dur="500" fill="hold"/>
                                        <p:tgtEl>
                                          <p:spTgt spid="84"/>
                                        </p:tgtEl>
                                        <p:attrNameLst>
                                          <p:attrName>ppt_h</p:attrName>
                                        </p:attrNameLst>
                                      </p:cBhvr>
                                      <p:tavLst>
                                        <p:tav tm="0">
                                          <p:val>
                                            <p:fltVal val="0"/>
                                          </p:val>
                                        </p:tav>
                                        <p:tav tm="100000">
                                          <p:val>
                                            <p:strVal val="#ppt_h"/>
                                          </p:val>
                                        </p:tav>
                                      </p:tavLst>
                                    </p:anim>
                                    <p:animEffect transition="in" filter="fade">
                                      <p:cBhvr>
                                        <p:cTn id="25" dur="500"/>
                                        <p:tgtEl>
                                          <p:spTgt spid="84"/>
                                        </p:tgtEl>
                                      </p:cBhvr>
                                    </p:animEffect>
                                  </p:childTnLst>
                                </p:cTn>
                              </p:par>
                            </p:childTnLst>
                          </p:cTn>
                        </p:par>
                        <p:par>
                          <p:cTn id="26" fill="hold">
                            <p:stCondLst>
                              <p:cond delay="649"/>
                            </p:stCondLst>
                            <p:childTnLst>
                              <p:par>
                                <p:cTn id="27" presetID="49" presetClass="entr" presetSubtype="0" decel="100000" fill="hold" grpId="0" nodeType="afterEffect">
                                  <p:stCondLst>
                                    <p:cond delay="0"/>
                                  </p:stCondLst>
                                  <p:childTnLst>
                                    <p:set>
                                      <p:cBhvr>
                                        <p:cTn id="28" dur="1" fill="hold">
                                          <p:stCondLst>
                                            <p:cond delay="0"/>
                                          </p:stCondLst>
                                        </p:cTn>
                                        <p:tgtEl>
                                          <p:spTgt spid="85"/>
                                        </p:tgtEl>
                                        <p:attrNameLst>
                                          <p:attrName>style.visibility</p:attrName>
                                        </p:attrNameLst>
                                      </p:cBhvr>
                                      <p:to>
                                        <p:strVal val="visible"/>
                                      </p:to>
                                    </p:set>
                                    <p:anim calcmode="lin" valueType="num">
                                      <p:cBhvr>
                                        <p:cTn id="29" dur="500" fill="hold"/>
                                        <p:tgtEl>
                                          <p:spTgt spid="85"/>
                                        </p:tgtEl>
                                        <p:attrNameLst>
                                          <p:attrName>ppt_w</p:attrName>
                                        </p:attrNameLst>
                                      </p:cBhvr>
                                      <p:tavLst>
                                        <p:tav tm="0">
                                          <p:val>
                                            <p:fltVal val="0"/>
                                          </p:val>
                                        </p:tav>
                                        <p:tav tm="100000">
                                          <p:val>
                                            <p:strVal val="#ppt_w"/>
                                          </p:val>
                                        </p:tav>
                                      </p:tavLst>
                                    </p:anim>
                                    <p:anim calcmode="lin" valueType="num">
                                      <p:cBhvr>
                                        <p:cTn id="30" dur="500" fill="hold"/>
                                        <p:tgtEl>
                                          <p:spTgt spid="85"/>
                                        </p:tgtEl>
                                        <p:attrNameLst>
                                          <p:attrName>ppt_h</p:attrName>
                                        </p:attrNameLst>
                                      </p:cBhvr>
                                      <p:tavLst>
                                        <p:tav tm="0">
                                          <p:val>
                                            <p:fltVal val="0"/>
                                          </p:val>
                                        </p:tav>
                                        <p:tav tm="100000">
                                          <p:val>
                                            <p:strVal val="#ppt_h"/>
                                          </p:val>
                                        </p:tav>
                                      </p:tavLst>
                                    </p:anim>
                                    <p:anim calcmode="lin" valueType="num">
                                      <p:cBhvr>
                                        <p:cTn id="31" dur="500" fill="hold"/>
                                        <p:tgtEl>
                                          <p:spTgt spid="85"/>
                                        </p:tgtEl>
                                        <p:attrNameLst>
                                          <p:attrName>style.rotation</p:attrName>
                                        </p:attrNameLst>
                                      </p:cBhvr>
                                      <p:tavLst>
                                        <p:tav tm="0">
                                          <p:val>
                                            <p:fltVal val="360"/>
                                          </p:val>
                                        </p:tav>
                                        <p:tav tm="100000">
                                          <p:val>
                                            <p:fltVal val="0"/>
                                          </p:val>
                                        </p:tav>
                                      </p:tavLst>
                                    </p:anim>
                                    <p:animEffect transition="in" filter="fade">
                                      <p:cBhvr>
                                        <p:cTn id="32" dur="500"/>
                                        <p:tgtEl>
                                          <p:spTgt spid="85"/>
                                        </p:tgtEl>
                                      </p:cBhvr>
                                    </p:animEffect>
                                  </p:childTnLst>
                                </p:cTn>
                              </p:par>
                            </p:childTnLst>
                          </p:cTn>
                        </p:par>
                        <p:par>
                          <p:cTn id="33" fill="hold">
                            <p:stCondLst>
                              <p:cond delay="1149"/>
                            </p:stCondLst>
                            <p:childTnLst>
                              <p:par>
                                <p:cTn id="34" presetID="49" presetClass="entr" presetSubtype="0" decel="100000" fill="hold" grpId="0" nodeType="afterEffect">
                                  <p:stCondLst>
                                    <p:cond delay="0"/>
                                  </p:stCondLst>
                                  <p:childTnLst>
                                    <p:set>
                                      <p:cBhvr>
                                        <p:cTn id="35" dur="1" fill="hold">
                                          <p:stCondLst>
                                            <p:cond delay="0"/>
                                          </p:stCondLst>
                                        </p:cTn>
                                        <p:tgtEl>
                                          <p:spTgt spid="86"/>
                                        </p:tgtEl>
                                        <p:attrNameLst>
                                          <p:attrName>style.visibility</p:attrName>
                                        </p:attrNameLst>
                                      </p:cBhvr>
                                      <p:to>
                                        <p:strVal val="visible"/>
                                      </p:to>
                                    </p:set>
                                    <p:anim calcmode="lin" valueType="num">
                                      <p:cBhvr>
                                        <p:cTn id="36" dur="500" fill="hold"/>
                                        <p:tgtEl>
                                          <p:spTgt spid="86"/>
                                        </p:tgtEl>
                                        <p:attrNameLst>
                                          <p:attrName>ppt_w</p:attrName>
                                        </p:attrNameLst>
                                      </p:cBhvr>
                                      <p:tavLst>
                                        <p:tav tm="0">
                                          <p:val>
                                            <p:fltVal val="0"/>
                                          </p:val>
                                        </p:tav>
                                        <p:tav tm="100000">
                                          <p:val>
                                            <p:strVal val="#ppt_w"/>
                                          </p:val>
                                        </p:tav>
                                      </p:tavLst>
                                    </p:anim>
                                    <p:anim calcmode="lin" valueType="num">
                                      <p:cBhvr>
                                        <p:cTn id="37" dur="500" fill="hold"/>
                                        <p:tgtEl>
                                          <p:spTgt spid="86"/>
                                        </p:tgtEl>
                                        <p:attrNameLst>
                                          <p:attrName>ppt_h</p:attrName>
                                        </p:attrNameLst>
                                      </p:cBhvr>
                                      <p:tavLst>
                                        <p:tav tm="0">
                                          <p:val>
                                            <p:fltVal val="0"/>
                                          </p:val>
                                        </p:tav>
                                        <p:tav tm="100000">
                                          <p:val>
                                            <p:strVal val="#ppt_h"/>
                                          </p:val>
                                        </p:tav>
                                      </p:tavLst>
                                    </p:anim>
                                    <p:anim calcmode="lin" valueType="num">
                                      <p:cBhvr>
                                        <p:cTn id="38" dur="500" fill="hold"/>
                                        <p:tgtEl>
                                          <p:spTgt spid="86"/>
                                        </p:tgtEl>
                                        <p:attrNameLst>
                                          <p:attrName>style.rotation</p:attrName>
                                        </p:attrNameLst>
                                      </p:cBhvr>
                                      <p:tavLst>
                                        <p:tav tm="0">
                                          <p:val>
                                            <p:fltVal val="360"/>
                                          </p:val>
                                        </p:tav>
                                        <p:tav tm="100000">
                                          <p:val>
                                            <p:fltVal val="0"/>
                                          </p:val>
                                        </p:tav>
                                      </p:tavLst>
                                    </p:anim>
                                    <p:animEffect transition="in" filter="fade">
                                      <p:cBhvr>
                                        <p:cTn id="39" dur="500"/>
                                        <p:tgtEl>
                                          <p:spTgt spid="86"/>
                                        </p:tgtEl>
                                      </p:cBhvr>
                                    </p:animEffect>
                                  </p:childTnLst>
                                </p:cTn>
                              </p:par>
                            </p:childTnLst>
                          </p:cTn>
                        </p:par>
                        <p:par>
                          <p:cTn id="40" fill="hold">
                            <p:stCondLst>
                              <p:cond delay="1649"/>
                            </p:stCondLst>
                            <p:childTnLst>
                              <p:par>
                                <p:cTn id="41" presetID="49" presetClass="entr" presetSubtype="0" decel="100000" fill="hold" grpId="0" nodeType="afterEffect">
                                  <p:stCondLst>
                                    <p:cond delay="0"/>
                                  </p:stCondLst>
                                  <p:childTnLst>
                                    <p:set>
                                      <p:cBhvr>
                                        <p:cTn id="42" dur="1" fill="hold">
                                          <p:stCondLst>
                                            <p:cond delay="0"/>
                                          </p:stCondLst>
                                        </p:cTn>
                                        <p:tgtEl>
                                          <p:spTgt spid="87"/>
                                        </p:tgtEl>
                                        <p:attrNameLst>
                                          <p:attrName>style.visibility</p:attrName>
                                        </p:attrNameLst>
                                      </p:cBhvr>
                                      <p:to>
                                        <p:strVal val="visible"/>
                                      </p:to>
                                    </p:set>
                                    <p:anim calcmode="lin" valueType="num">
                                      <p:cBhvr>
                                        <p:cTn id="43" dur="500" fill="hold"/>
                                        <p:tgtEl>
                                          <p:spTgt spid="87"/>
                                        </p:tgtEl>
                                        <p:attrNameLst>
                                          <p:attrName>ppt_w</p:attrName>
                                        </p:attrNameLst>
                                      </p:cBhvr>
                                      <p:tavLst>
                                        <p:tav tm="0">
                                          <p:val>
                                            <p:fltVal val="0"/>
                                          </p:val>
                                        </p:tav>
                                        <p:tav tm="100000">
                                          <p:val>
                                            <p:strVal val="#ppt_w"/>
                                          </p:val>
                                        </p:tav>
                                      </p:tavLst>
                                    </p:anim>
                                    <p:anim calcmode="lin" valueType="num">
                                      <p:cBhvr>
                                        <p:cTn id="44" dur="500" fill="hold"/>
                                        <p:tgtEl>
                                          <p:spTgt spid="87"/>
                                        </p:tgtEl>
                                        <p:attrNameLst>
                                          <p:attrName>ppt_h</p:attrName>
                                        </p:attrNameLst>
                                      </p:cBhvr>
                                      <p:tavLst>
                                        <p:tav tm="0">
                                          <p:val>
                                            <p:fltVal val="0"/>
                                          </p:val>
                                        </p:tav>
                                        <p:tav tm="100000">
                                          <p:val>
                                            <p:strVal val="#ppt_h"/>
                                          </p:val>
                                        </p:tav>
                                      </p:tavLst>
                                    </p:anim>
                                    <p:anim calcmode="lin" valueType="num">
                                      <p:cBhvr>
                                        <p:cTn id="45" dur="500" fill="hold"/>
                                        <p:tgtEl>
                                          <p:spTgt spid="87"/>
                                        </p:tgtEl>
                                        <p:attrNameLst>
                                          <p:attrName>style.rotation</p:attrName>
                                        </p:attrNameLst>
                                      </p:cBhvr>
                                      <p:tavLst>
                                        <p:tav tm="0">
                                          <p:val>
                                            <p:fltVal val="360"/>
                                          </p:val>
                                        </p:tav>
                                        <p:tav tm="100000">
                                          <p:val>
                                            <p:fltVal val="0"/>
                                          </p:val>
                                        </p:tav>
                                      </p:tavLst>
                                    </p:anim>
                                    <p:animEffect transition="in" filter="fade">
                                      <p:cBhvr>
                                        <p:cTn id="46" dur="500"/>
                                        <p:tgtEl>
                                          <p:spTgt spid="87"/>
                                        </p:tgtEl>
                                      </p:cBhvr>
                                    </p:animEffect>
                                  </p:childTnLst>
                                </p:cTn>
                              </p:par>
                            </p:childTnLst>
                          </p:cTn>
                        </p:par>
                        <p:par>
                          <p:cTn id="47" fill="hold">
                            <p:stCondLst>
                              <p:cond delay="2149"/>
                            </p:stCondLst>
                            <p:childTnLst>
                              <p:par>
                                <p:cTn id="48" presetID="49" presetClass="entr" presetSubtype="0" decel="100000" fill="hold" nodeType="afterEffect">
                                  <p:stCondLst>
                                    <p:cond delay="0"/>
                                  </p:stCondLst>
                                  <p:childTnLst>
                                    <p:set>
                                      <p:cBhvr>
                                        <p:cTn id="49" dur="1" fill="hold">
                                          <p:stCondLst>
                                            <p:cond delay="0"/>
                                          </p:stCondLst>
                                        </p:cTn>
                                        <p:tgtEl>
                                          <p:spTgt spid="88"/>
                                        </p:tgtEl>
                                        <p:attrNameLst>
                                          <p:attrName>style.visibility</p:attrName>
                                        </p:attrNameLst>
                                      </p:cBhvr>
                                      <p:to>
                                        <p:strVal val="visible"/>
                                      </p:to>
                                    </p:set>
                                    <p:anim calcmode="lin" valueType="num">
                                      <p:cBhvr>
                                        <p:cTn id="50" dur="500" fill="hold"/>
                                        <p:tgtEl>
                                          <p:spTgt spid="88"/>
                                        </p:tgtEl>
                                        <p:attrNameLst>
                                          <p:attrName>ppt_w</p:attrName>
                                        </p:attrNameLst>
                                      </p:cBhvr>
                                      <p:tavLst>
                                        <p:tav tm="0">
                                          <p:val>
                                            <p:fltVal val="0"/>
                                          </p:val>
                                        </p:tav>
                                        <p:tav tm="100000">
                                          <p:val>
                                            <p:strVal val="#ppt_w"/>
                                          </p:val>
                                        </p:tav>
                                      </p:tavLst>
                                    </p:anim>
                                    <p:anim calcmode="lin" valueType="num">
                                      <p:cBhvr>
                                        <p:cTn id="51" dur="500" fill="hold"/>
                                        <p:tgtEl>
                                          <p:spTgt spid="88"/>
                                        </p:tgtEl>
                                        <p:attrNameLst>
                                          <p:attrName>ppt_h</p:attrName>
                                        </p:attrNameLst>
                                      </p:cBhvr>
                                      <p:tavLst>
                                        <p:tav tm="0">
                                          <p:val>
                                            <p:fltVal val="0"/>
                                          </p:val>
                                        </p:tav>
                                        <p:tav tm="100000">
                                          <p:val>
                                            <p:strVal val="#ppt_h"/>
                                          </p:val>
                                        </p:tav>
                                      </p:tavLst>
                                    </p:anim>
                                    <p:anim calcmode="lin" valueType="num">
                                      <p:cBhvr>
                                        <p:cTn id="52" dur="500" fill="hold"/>
                                        <p:tgtEl>
                                          <p:spTgt spid="88"/>
                                        </p:tgtEl>
                                        <p:attrNameLst>
                                          <p:attrName>style.rotation</p:attrName>
                                        </p:attrNameLst>
                                      </p:cBhvr>
                                      <p:tavLst>
                                        <p:tav tm="0">
                                          <p:val>
                                            <p:fltVal val="360"/>
                                          </p:val>
                                        </p:tav>
                                        <p:tav tm="100000">
                                          <p:val>
                                            <p:fltVal val="0"/>
                                          </p:val>
                                        </p:tav>
                                      </p:tavLst>
                                    </p:anim>
                                    <p:animEffect transition="in" filter="fade">
                                      <p:cBhvr>
                                        <p:cTn id="53" dur="500"/>
                                        <p:tgtEl>
                                          <p:spTgt spid="88"/>
                                        </p:tgtEl>
                                      </p:cBhvr>
                                    </p:animEffect>
                                  </p:childTnLst>
                                </p:cTn>
                              </p:par>
                            </p:childTnLst>
                          </p:cTn>
                        </p:par>
                        <p:par>
                          <p:cTn id="54" fill="hold">
                            <p:stCondLst>
                              <p:cond delay="2649"/>
                            </p:stCondLst>
                            <p:childTnLst>
                              <p:par>
                                <p:cTn id="55" presetID="14" presetClass="entr" presetSubtype="10" fill="hold" nodeType="afterEffect">
                                  <p:stCondLst>
                                    <p:cond delay="0"/>
                                  </p:stCondLst>
                                  <p:childTnLst>
                                    <p:set>
                                      <p:cBhvr>
                                        <p:cTn id="56" dur="1" fill="hold">
                                          <p:stCondLst>
                                            <p:cond delay="0"/>
                                          </p:stCondLst>
                                        </p:cTn>
                                        <p:tgtEl>
                                          <p:spTgt spid="93"/>
                                        </p:tgtEl>
                                        <p:attrNameLst>
                                          <p:attrName>style.visibility</p:attrName>
                                        </p:attrNameLst>
                                      </p:cBhvr>
                                      <p:to>
                                        <p:strVal val="visible"/>
                                      </p:to>
                                    </p:set>
                                    <p:animEffect transition="in" filter="randombar(horizontal)">
                                      <p:cBhvr>
                                        <p:cTn id="57" dur="500"/>
                                        <p:tgtEl>
                                          <p:spTgt spid="93"/>
                                        </p:tgtEl>
                                      </p:cBhvr>
                                    </p:animEffect>
                                  </p:childTnLst>
                                </p:cTn>
                              </p:par>
                            </p:childTnLst>
                          </p:cTn>
                        </p:par>
                        <p:par>
                          <p:cTn id="58" fill="hold">
                            <p:stCondLst>
                              <p:cond delay="3149"/>
                            </p:stCondLst>
                            <p:childTnLst>
                              <p:par>
                                <p:cTn id="59" presetID="14" presetClass="entr" presetSubtype="10" fill="hold" nodeType="afterEffect">
                                  <p:stCondLst>
                                    <p:cond delay="0"/>
                                  </p:stCondLst>
                                  <p:childTnLst>
                                    <p:set>
                                      <p:cBhvr>
                                        <p:cTn id="60" dur="1" fill="hold">
                                          <p:stCondLst>
                                            <p:cond delay="0"/>
                                          </p:stCondLst>
                                        </p:cTn>
                                        <p:tgtEl>
                                          <p:spTgt spid="96"/>
                                        </p:tgtEl>
                                        <p:attrNameLst>
                                          <p:attrName>style.visibility</p:attrName>
                                        </p:attrNameLst>
                                      </p:cBhvr>
                                      <p:to>
                                        <p:strVal val="visible"/>
                                      </p:to>
                                    </p:set>
                                    <p:animEffect transition="in" filter="randombar(horizontal)">
                                      <p:cBhvr>
                                        <p:cTn id="61" dur="500"/>
                                        <p:tgtEl>
                                          <p:spTgt spid="96"/>
                                        </p:tgtEl>
                                      </p:cBhvr>
                                    </p:animEffect>
                                  </p:childTnLst>
                                </p:cTn>
                              </p:par>
                            </p:childTnLst>
                          </p:cTn>
                        </p:par>
                        <p:par>
                          <p:cTn id="62" fill="hold">
                            <p:stCondLst>
                              <p:cond delay="3649"/>
                            </p:stCondLst>
                            <p:childTnLst>
                              <p:par>
                                <p:cTn id="63" presetID="14" presetClass="entr" presetSubtype="10" fill="hold" nodeType="afterEffect">
                                  <p:stCondLst>
                                    <p:cond delay="0"/>
                                  </p:stCondLst>
                                  <p:childTnLst>
                                    <p:set>
                                      <p:cBhvr>
                                        <p:cTn id="64" dur="1" fill="hold">
                                          <p:stCondLst>
                                            <p:cond delay="0"/>
                                          </p:stCondLst>
                                        </p:cTn>
                                        <p:tgtEl>
                                          <p:spTgt spid="99"/>
                                        </p:tgtEl>
                                        <p:attrNameLst>
                                          <p:attrName>style.visibility</p:attrName>
                                        </p:attrNameLst>
                                      </p:cBhvr>
                                      <p:to>
                                        <p:strVal val="visible"/>
                                      </p:to>
                                    </p:set>
                                    <p:animEffect transition="in" filter="randombar(horizontal)">
                                      <p:cBhvr>
                                        <p:cTn id="65" dur="500"/>
                                        <p:tgtEl>
                                          <p:spTgt spid="99"/>
                                        </p:tgtEl>
                                      </p:cBhvr>
                                    </p:animEffect>
                                  </p:childTnLst>
                                </p:cTn>
                              </p:par>
                            </p:childTnLst>
                          </p:cTn>
                        </p:par>
                        <p:par>
                          <p:cTn id="66" fill="hold">
                            <p:stCondLst>
                              <p:cond delay="4149"/>
                            </p:stCondLst>
                            <p:childTnLst>
                              <p:par>
                                <p:cTn id="67" presetID="14" presetClass="entr" presetSubtype="10" fill="hold" nodeType="afterEffect">
                                  <p:stCondLst>
                                    <p:cond delay="0"/>
                                  </p:stCondLst>
                                  <p:childTnLst>
                                    <p:set>
                                      <p:cBhvr>
                                        <p:cTn id="68" dur="1" fill="hold">
                                          <p:stCondLst>
                                            <p:cond delay="0"/>
                                          </p:stCondLst>
                                        </p:cTn>
                                        <p:tgtEl>
                                          <p:spTgt spid="102"/>
                                        </p:tgtEl>
                                        <p:attrNameLst>
                                          <p:attrName>style.visibility</p:attrName>
                                        </p:attrNameLst>
                                      </p:cBhvr>
                                      <p:to>
                                        <p:strVal val="visible"/>
                                      </p:to>
                                    </p:set>
                                    <p:animEffect transition="in" filter="randombar(horizontal)">
                                      <p:cBhvr>
                                        <p:cTn id="69" dur="500"/>
                                        <p:tgtEl>
                                          <p:spTgt spid="10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84" grpId="0"/>
      <p:bldP spid="85" grpId="0" animBg="1"/>
      <p:bldP spid="86" grpId="0" animBg="1"/>
      <p:bldP spid="8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2"/>
          <a:stretch>
            <a:fillRect/>
          </a:stretch>
        </p:blipFill>
        <p:spPr>
          <a:xfrm>
            <a:off x="0" y="0"/>
            <a:ext cx="12192000" cy="6858000"/>
          </a:xfrm>
          <a:prstGeom prst="rect">
            <a:avLst/>
          </a:prstGeom>
        </p:spPr>
      </p:pic>
      <p:pic>
        <p:nvPicPr>
          <p:cNvPr id="9" name="图片 8"/>
          <p:cNvPicPr>
            <a:picLocks noChangeAspect="1"/>
          </p:cNvPicPr>
          <p:nvPr/>
        </p:nvPicPr>
        <p:blipFill rotWithShape="1">
          <a:blip r:embed="rId3"/>
          <a:srcRect/>
          <a:stretch>
            <a:fillRect/>
          </a:stretch>
        </p:blipFill>
        <p:spPr>
          <a:xfrm>
            <a:off x="0" y="0"/>
            <a:ext cx="6096000" cy="6858000"/>
          </a:xfrm>
          <a:prstGeom prst="rect">
            <a:avLst/>
          </a:prstGeom>
        </p:spPr>
      </p:pic>
      <p:sp>
        <p:nvSpPr>
          <p:cNvPr id="10" name="文本框 9"/>
          <p:cNvSpPr txBox="1"/>
          <p:nvPr/>
        </p:nvSpPr>
        <p:spPr>
          <a:xfrm>
            <a:off x="1066800" y="6085966"/>
            <a:ext cx="10058400" cy="549061"/>
          </a:xfrm>
          <a:prstGeom prst="rect">
            <a:avLst/>
          </a:prstGeom>
          <a:solidFill>
            <a:schemeClr val="tx1"/>
          </a:solidFill>
        </p:spPr>
        <p:txBody>
          <a:bodyPr wrap="square" rtlCol="0">
            <a:spAutoFit/>
          </a:bodyPr>
          <a:lstStyle/>
          <a:p>
            <a:pPr algn="ctr">
              <a:lnSpc>
                <a:spcPct val="130000"/>
              </a:lnSpc>
            </a:pPr>
            <a:r>
              <a:rPr lang="zh-CN" altLang="en-US" sz="1200" dirty="0">
                <a:solidFill>
                  <a:schemeClr val="bg1">
                    <a:lumMod val="85000"/>
                  </a:schemeClr>
                </a:solidFill>
                <a:cs typeface="+mn-ea"/>
                <a:sym typeface="+mn-lt"/>
              </a:rPr>
              <a:t>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a:t>
            </a:r>
          </a:p>
        </p:txBody>
      </p:sp>
      <p:cxnSp>
        <p:nvCxnSpPr>
          <p:cNvPr id="11" name="直接连接符 10"/>
          <p:cNvCxnSpPr/>
          <p:nvPr/>
        </p:nvCxnSpPr>
        <p:spPr>
          <a:xfrm>
            <a:off x="2100580" y="3824936"/>
            <a:ext cx="2590800" cy="0"/>
          </a:xfrm>
          <a:prstGeom prst="line">
            <a:avLst/>
          </a:prstGeom>
          <a:ln cap="rnd">
            <a:gradFill>
              <a:gsLst>
                <a:gs pos="0">
                  <a:srgbClr val="05DAE3"/>
                </a:gs>
                <a:gs pos="100000">
                  <a:schemeClr val="bg1">
                    <a:alpha val="0"/>
                  </a:schemeClr>
                </a:gs>
              </a:gsLst>
              <a:lin ang="0" scaled="0"/>
            </a:gradFill>
            <a:prstDash val="dash"/>
            <a:round/>
          </a:ln>
        </p:spPr>
        <p:style>
          <a:lnRef idx="1">
            <a:schemeClr val="accent1"/>
          </a:lnRef>
          <a:fillRef idx="0">
            <a:schemeClr val="accent1"/>
          </a:fillRef>
          <a:effectRef idx="0">
            <a:schemeClr val="accent1"/>
          </a:effectRef>
          <a:fontRef idx="minor">
            <a:schemeClr val="tx1"/>
          </a:fontRef>
        </p:style>
      </p:cxnSp>
      <p:sp>
        <p:nvSpPr>
          <p:cNvPr id="12" name="文本框 11"/>
          <p:cNvSpPr txBox="1"/>
          <p:nvPr/>
        </p:nvSpPr>
        <p:spPr>
          <a:xfrm>
            <a:off x="2161336" y="3929899"/>
            <a:ext cx="2209800" cy="338554"/>
          </a:xfrm>
          <a:prstGeom prst="rect">
            <a:avLst/>
          </a:prstGeom>
          <a:noFill/>
        </p:spPr>
        <p:txBody>
          <a:bodyPr wrap="square" rtlCol="0">
            <a:spAutoFit/>
          </a:bodyPr>
          <a:lstStyle/>
          <a:p>
            <a:r>
              <a:rPr lang="zh-CN" altLang="en-US" sz="1600" b="1" spc="200" dirty="0">
                <a:solidFill>
                  <a:srgbClr val="84FFFF"/>
                </a:solidFill>
                <a:cs typeface="+mn-ea"/>
                <a:sym typeface="+mn-lt"/>
              </a:rPr>
              <a:t>「</a:t>
            </a:r>
            <a:r>
              <a:rPr lang="zh-CN" altLang="en-US" sz="1600" b="1" spc="200" dirty="0">
                <a:ln w="3175">
                  <a:noFill/>
                </a:ln>
                <a:solidFill>
                  <a:srgbClr val="84FFFF"/>
                </a:solidFill>
                <a:cs typeface="+mn-ea"/>
                <a:sym typeface="+mn-lt"/>
              </a:rPr>
              <a:t>标题在此</a:t>
            </a:r>
            <a:r>
              <a:rPr lang="zh-CN" altLang="en-US" sz="1600" b="1" spc="200" dirty="0">
                <a:solidFill>
                  <a:srgbClr val="84FFFF"/>
                </a:solidFill>
                <a:cs typeface="+mn-ea"/>
                <a:sym typeface="+mn-lt"/>
              </a:rPr>
              <a:t>」</a:t>
            </a:r>
          </a:p>
        </p:txBody>
      </p:sp>
      <p:sp>
        <p:nvSpPr>
          <p:cNvPr id="14" name="等腰三角形 13"/>
          <p:cNvSpPr/>
          <p:nvPr/>
        </p:nvSpPr>
        <p:spPr>
          <a:xfrm rot="5400000">
            <a:off x="9928922" y="-2663794"/>
            <a:ext cx="120259" cy="8956804"/>
          </a:xfrm>
          <a:prstGeom prst="triangle">
            <a:avLst/>
          </a:prstGeom>
          <a:solidFill>
            <a:srgbClr val="84FFFF"/>
          </a:solidFill>
          <a:ln>
            <a:noFill/>
          </a:ln>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chemeClr val="bg1"/>
              </a:solidFill>
              <a:effectLst/>
              <a:cs typeface="+mn-ea"/>
              <a:sym typeface="+mn-lt"/>
            </a:endParaRPr>
          </a:p>
        </p:txBody>
      </p:sp>
      <p:sp>
        <p:nvSpPr>
          <p:cNvPr id="15" name="矩形 14"/>
          <p:cNvSpPr/>
          <p:nvPr/>
        </p:nvSpPr>
        <p:spPr>
          <a:xfrm>
            <a:off x="8593039" y="1604208"/>
            <a:ext cx="1210588" cy="369332"/>
          </a:xfrm>
          <a:prstGeom prst="rect">
            <a:avLst/>
          </a:prstGeom>
        </p:spPr>
        <p:txBody>
          <a:bodyPr wrap="none">
            <a:spAutoFit/>
          </a:bodyPr>
          <a:lstStyle/>
          <a:p>
            <a:r>
              <a:rPr lang="zh-CN" altLang="en-US" b="1" spc="200" dirty="0">
                <a:ln w="9525">
                  <a:noFill/>
                </a:ln>
                <a:solidFill>
                  <a:srgbClr val="84FFFF"/>
                </a:solidFill>
                <a:cs typeface="+mn-ea"/>
                <a:sym typeface="+mn-lt"/>
              </a:rPr>
              <a:t>标题在此</a:t>
            </a:r>
            <a:endParaRPr lang="zh-CN" altLang="en-US" b="1" dirty="0">
              <a:ln w="9525">
                <a:noFill/>
              </a:ln>
              <a:solidFill>
                <a:srgbClr val="84FFFF"/>
              </a:solidFill>
              <a:cs typeface="+mn-ea"/>
              <a:sym typeface="+mn-lt"/>
            </a:endParaRPr>
          </a:p>
        </p:txBody>
      </p:sp>
      <p:sp>
        <p:nvSpPr>
          <p:cNvPr id="16" name="矩形 15"/>
          <p:cNvSpPr/>
          <p:nvPr/>
        </p:nvSpPr>
        <p:spPr>
          <a:xfrm>
            <a:off x="8602541" y="1973540"/>
            <a:ext cx="2878259" cy="1772793"/>
          </a:xfrm>
          <a:prstGeom prst="rect">
            <a:avLst/>
          </a:prstGeom>
        </p:spPr>
        <p:txBody>
          <a:bodyPr wrap="square">
            <a:spAutoFit/>
          </a:bodyPr>
          <a:lstStyle/>
          <a:p>
            <a:pPr>
              <a:lnSpc>
                <a:spcPct val="130000"/>
              </a:lnSpc>
            </a:pPr>
            <a:r>
              <a:rPr lang="zh-CN" altLang="en-US" sz="1200" dirty="0">
                <a:solidFill>
                  <a:schemeClr val="bg1"/>
                </a:solidFill>
                <a:cs typeface="+mn-ea"/>
                <a:sym typeface="+mn-lt"/>
              </a:rPr>
              <a:t>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a:t>
            </a:r>
            <a:endParaRPr lang="en-US" altLang="zh-TW" sz="1200" dirty="0">
              <a:solidFill>
                <a:schemeClr val="bg1"/>
              </a:solidFill>
              <a:cs typeface="+mn-ea"/>
              <a:sym typeface="+mn-lt"/>
            </a:endParaRPr>
          </a:p>
        </p:txBody>
      </p:sp>
      <p:sp>
        <p:nvSpPr>
          <p:cNvPr id="17" name="文本框 16"/>
          <p:cNvSpPr txBox="1"/>
          <p:nvPr/>
        </p:nvSpPr>
        <p:spPr>
          <a:xfrm>
            <a:off x="524306" y="4361858"/>
            <a:ext cx="3078083" cy="854080"/>
          </a:xfrm>
          <a:prstGeom prst="rect">
            <a:avLst/>
          </a:prstGeom>
          <a:noFill/>
        </p:spPr>
        <p:txBody>
          <a:bodyPr wrap="square" rtlCol="0">
            <a:spAutoFit/>
          </a:bodyPr>
          <a:lstStyle/>
          <a:p>
            <a:pPr lvl="0" algn="r">
              <a:lnSpc>
                <a:spcPct val="150000"/>
              </a:lnSpc>
              <a:defRPr/>
            </a:pPr>
            <a:r>
              <a:rPr lang="zh-CN" altLang="en-US" sz="1100" kern="0" dirty="0">
                <a:solidFill>
                  <a:schemeClr val="bg1">
                    <a:lumMod val="85000"/>
                  </a:schemeClr>
                </a:solidFill>
                <a:cs typeface="+mn-ea"/>
                <a:sym typeface="+mn-lt"/>
              </a:rPr>
              <a:t>请替换文字内容，修改文字内容，也可以直接复制你的内容到此。请替换文字内容，修改文字内容，也可以直接复制你的内容到此。</a:t>
            </a:r>
            <a:endParaRPr kumimoji="0" lang="zh-CN" altLang="en-US" sz="1100" i="0" u="none" strike="noStrike" kern="0" cap="none" spc="0" normalizeH="0" baseline="0" noProof="0" dirty="0">
              <a:ln>
                <a:noFill/>
              </a:ln>
              <a:solidFill>
                <a:schemeClr val="bg1">
                  <a:lumMod val="85000"/>
                </a:schemeClr>
              </a:solidFill>
              <a:effectLst/>
              <a:uLnTx/>
              <a:uFillTx/>
              <a:cs typeface="+mn-ea"/>
              <a:sym typeface="+mn-lt"/>
            </a:endParaRPr>
          </a:p>
        </p:txBody>
      </p:sp>
      <p:sp>
        <p:nvSpPr>
          <p:cNvPr id="18" name="标注: 弯曲线形(带强调线) 17"/>
          <p:cNvSpPr/>
          <p:nvPr/>
        </p:nvSpPr>
        <p:spPr>
          <a:xfrm>
            <a:off x="8661572" y="1604208"/>
            <a:ext cx="964855" cy="369332"/>
          </a:xfrm>
          <a:prstGeom prst="accentCallout2">
            <a:avLst>
              <a:gd name="adj1" fmla="val 18750"/>
              <a:gd name="adj2" fmla="val -8333"/>
              <a:gd name="adj3" fmla="val 18750"/>
              <a:gd name="adj4" fmla="val -38960"/>
              <a:gd name="adj5" fmla="val 37398"/>
              <a:gd name="adj6" fmla="val -50489"/>
            </a:avLst>
          </a:prstGeom>
          <a:ln w="12700">
            <a:solidFill>
              <a:schemeClr val="bg1"/>
            </a:solidFill>
          </a:ln>
        </p:spPr>
        <p:txBody>
          <a:bodyPr wrap="square" rtlCol="0" anchor="ctr">
            <a:spAutoFit/>
          </a:bodyPr>
          <a:lstStyle/>
          <a:p>
            <a:pPr algn="ctr"/>
            <a:endParaRPr lang="zh-CN" altLang="en-US"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grpSp>
        <p:nvGrpSpPr>
          <p:cNvPr id="19" name="组合 18"/>
          <p:cNvGrpSpPr/>
          <p:nvPr/>
        </p:nvGrpSpPr>
        <p:grpSpPr>
          <a:xfrm>
            <a:off x="2284003" y="2549317"/>
            <a:ext cx="1197575" cy="1197575"/>
            <a:chOff x="2207349" y="2125149"/>
            <a:chExt cx="1269736" cy="1269736"/>
          </a:xfrm>
        </p:grpSpPr>
        <p:grpSp>
          <p:nvGrpSpPr>
            <p:cNvPr id="20" name="组合 19"/>
            <p:cNvGrpSpPr/>
            <p:nvPr/>
          </p:nvGrpSpPr>
          <p:grpSpPr>
            <a:xfrm>
              <a:off x="2558262" y="2509323"/>
              <a:ext cx="567910" cy="501388"/>
              <a:chOff x="1000456" y="3959521"/>
              <a:chExt cx="745082" cy="657806"/>
            </a:xfrm>
            <a:solidFill>
              <a:schemeClr val="bg1"/>
            </a:solidFill>
          </p:grpSpPr>
          <p:sp>
            <p:nvSpPr>
              <p:cNvPr id="22" name="Oval 423"/>
              <p:cNvSpPr>
                <a:spLocks noChangeArrowheads="1"/>
              </p:cNvSpPr>
              <p:nvPr/>
            </p:nvSpPr>
            <p:spPr bwMode="auto">
              <a:xfrm>
                <a:off x="1559448" y="4046795"/>
                <a:ext cx="173829" cy="20123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3" name="Freeform 424"/>
              <p:cNvSpPr/>
              <p:nvPr/>
            </p:nvSpPr>
            <p:spPr bwMode="auto">
              <a:xfrm>
                <a:off x="1523384" y="4254524"/>
                <a:ext cx="222154" cy="298610"/>
              </a:xfrm>
              <a:custGeom>
                <a:avLst/>
                <a:gdLst>
                  <a:gd name="T0" fmla="*/ 65 w 130"/>
                  <a:gd name="T1" fmla="*/ 3 h 175"/>
                  <a:gd name="T2" fmla="*/ 52 w 130"/>
                  <a:gd name="T3" fmla="*/ 89 h 175"/>
                  <a:gd name="T4" fmla="*/ 14 w 130"/>
                  <a:gd name="T5" fmla="*/ 112 h 175"/>
                  <a:gd name="T6" fmla="*/ 14 w 130"/>
                  <a:gd name="T7" fmla="*/ 78 h 175"/>
                  <a:gd name="T8" fmla="*/ 65 w 130"/>
                  <a:gd name="T9" fmla="*/ 3 h 175"/>
                  <a:gd name="T10" fmla="*/ 9 w 130"/>
                  <a:gd name="T11" fmla="*/ 58 h 175"/>
                  <a:gd name="T12" fmla="*/ 0 w 130"/>
                  <a:gd name="T13" fmla="*/ 89 h 175"/>
                  <a:gd name="T14" fmla="*/ 0 w 130"/>
                  <a:gd name="T15" fmla="*/ 137 h 175"/>
                  <a:gd name="T16" fmla="*/ 7 w 130"/>
                  <a:gd name="T17" fmla="*/ 160 h 175"/>
                  <a:gd name="T18" fmla="*/ 65 w 130"/>
                  <a:gd name="T19" fmla="*/ 175 h 175"/>
                  <a:gd name="T20" fmla="*/ 130 w 130"/>
                  <a:gd name="T21" fmla="*/ 149 h 175"/>
                  <a:gd name="T22" fmla="*/ 130 w 130"/>
                  <a:gd name="T23" fmla="*/ 45 h 175"/>
                  <a:gd name="T24" fmla="*/ 65 w 130"/>
                  <a:gd name="T25"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75">
                    <a:moveTo>
                      <a:pt x="65" y="3"/>
                    </a:moveTo>
                    <a:cubicBezTo>
                      <a:pt x="52" y="89"/>
                      <a:pt x="52" y="89"/>
                      <a:pt x="52" y="89"/>
                    </a:cubicBezTo>
                    <a:cubicBezTo>
                      <a:pt x="14" y="112"/>
                      <a:pt x="14" y="112"/>
                      <a:pt x="14" y="112"/>
                    </a:cubicBezTo>
                    <a:cubicBezTo>
                      <a:pt x="14" y="78"/>
                      <a:pt x="14" y="78"/>
                      <a:pt x="14" y="78"/>
                    </a:cubicBezTo>
                    <a:cubicBezTo>
                      <a:pt x="65" y="3"/>
                      <a:pt x="65" y="3"/>
                      <a:pt x="65" y="3"/>
                    </a:cubicBezTo>
                    <a:cubicBezTo>
                      <a:pt x="35" y="3"/>
                      <a:pt x="18" y="33"/>
                      <a:pt x="9" y="58"/>
                    </a:cubicBezTo>
                    <a:cubicBezTo>
                      <a:pt x="3" y="75"/>
                      <a:pt x="0" y="89"/>
                      <a:pt x="0" y="89"/>
                    </a:cubicBezTo>
                    <a:cubicBezTo>
                      <a:pt x="0" y="89"/>
                      <a:pt x="0" y="116"/>
                      <a:pt x="0" y="137"/>
                    </a:cubicBezTo>
                    <a:cubicBezTo>
                      <a:pt x="0" y="146"/>
                      <a:pt x="2" y="153"/>
                      <a:pt x="7" y="160"/>
                    </a:cubicBezTo>
                    <a:cubicBezTo>
                      <a:pt x="14" y="169"/>
                      <a:pt x="31" y="175"/>
                      <a:pt x="65" y="175"/>
                    </a:cubicBezTo>
                    <a:cubicBezTo>
                      <a:pt x="122" y="175"/>
                      <a:pt x="130" y="149"/>
                      <a:pt x="130" y="149"/>
                    </a:cubicBezTo>
                    <a:cubicBezTo>
                      <a:pt x="130" y="149"/>
                      <a:pt x="130" y="89"/>
                      <a:pt x="130" y="45"/>
                    </a:cubicBezTo>
                    <a:cubicBezTo>
                      <a:pt x="130" y="0"/>
                      <a:pt x="65" y="3"/>
                      <a:pt x="6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4" name="Freeform 425"/>
              <p:cNvSpPr/>
              <p:nvPr/>
            </p:nvSpPr>
            <p:spPr bwMode="auto">
              <a:xfrm>
                <a:off x="1185825" y="4438450"/>
                <a:ext cx="362082" cy="178877"/>
              </a:xfrm>
              <a:custGeom>
                <a:avLst/>
                <a:gdLst>
                  <a:gd name="T0" fmla="*/ 187 w 212"/>
                  <a:gd name="T1" fmla="*/ 55 h 105"/>
                  <a:gd name="T2" fmla="*/ 178 w 212"/>
                  <a:gd name="T3" fmla="*/ 0 h 105"/>
                  <a:gd name="T4" fmla="*/ 110 w 212"/>
                  <a:gd name="T5" fmla="*/ 20 h 105"/>
                  <a:gd name="T6" fmla="*/ 44 w 212"/>
                  <a:gd name="T7" fmla="*/ 0 h 105"/>
                  <a:gd name="T8" fmla="*/ 30 w 212"/>
                  <a:gd name="T9" fmla="*/ 56 h 105"/>
                  <a:gd name="T10" fmla="*/ 0 w 212"/>
                  <a:gd name="T11" fmla="*/ 72 h 105"/>
                  <a:gd name="T12" fmla="*/ 110 w 212"/>
                  <a:gd name="T13" fmla="*/ 105 h 105"/>
                  <a:gd name="T14" fmla="*/ 212 w 212"/>
                  <a:gd name="T15" fmla="*/ 72 h 105"/>
                  <a:gd name="T16" fmla="*/ 187 w 212"/>
                  <a:gd name="T17" fmla="*/ 5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05">
                    <a:moveTo>
                      <a:pt x="187" y="55"/>
                    </a:moveTo>
                    <a:cubicBezTo>
                      <a:pt x="173" y="33"/>
                      <a:pt x="178" y="0"/>
                      <a:pt x="178" y="0"/>
                    </a:cubicBezTo>
                    <a:cubicBezTo>
                      <a:pt x="178" y="0"/>
                      <a:pt x="156" y="20"/>
                      <a:pt x="110" y="20"/>
                    </a:cubicBezTo>
                    <a:cubicBezTo>
                      <a:pt x="64" y="20"/>
                      <a:pt x="44" y="0"/>
                      <a:pt x="44" y="0"/>
                    </a:cubicBezTo>
                    <a:cubicBezTo>
                      <a:pt x="44" y="0"/>
                      <a:pt x="49" y="34"/>
                      <a:pt x="30" y="56"/>
                    </a:cubicBezTo>
                    <a:cubicBezTo>
                      <a:pt x="23" y="64"/>
                      <a:pt x="14" y="70"/>
                      <a:pt x="0" y="72"/>
                    </a:cubicBezTo>
                    <a:cubicBezTo>
                      <a:pt x="0" y="72"/>
                      <a:pt x="32" y="105"/>
                      <a:pt x="110" y="105"/>
                    </a:cubicBezTo>
                    <a:cubicBezTo>
                      <a:pt x="187" y="105"/>
                      <a:pt x="212" y="72"/>
                      <a:pt x="212" y="72"/>
                    </a:cubicBezTo>
                    <a:cubicBezTo>
                      <a:pt x="200" y="70"/>
                      <a:pt x="193" y="63"/>
                      <a:pt x="187"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5" name="Freeform 426"/>
              <p:cNvSpPr/>
              <p:nvPr/>
            </p:nvSpPr>
            <p:spPr bwMode="auto">
              <a:xfrm>
                <a:off x="1231987" y="4138398"/>
                <a:ext cx="283463" cy="256054"/>
              </a:xfrm>
              <a:custGeom>
                <a:avLst/>
                <a:gdLst>
                  <a:gd name="T0" fmla="*/ 75 w 166"/>
                  <a:gd name="T1" fmla="*/ 150 h 150"/>
                  <a:gd name="T2" fmla="*/ 91 w 166"/>
                  <a:gd name="T3" fmla="*/ 150 h 150"/>
                  <a:gd name="T4" fmla="*/ 166 w 166"/>
                  <a:gd name="T5" fmla="*/ 125 h 150"/>
                  <a:gd name="T6" fmla="*/ 166 w 166"/>
                  <a:gd name="T7" fmla="*/ 122 h 150"/>
                  <a:gd name="T8" fmla="*/ 166 w 166"/>
                  <a:gd name="T9" fmla="*/ 59 h 150"/>
                  <a:gd name="T10" fmla="*/ 108 w 166"/>
                  <a:gd name="T11" fmla="*/ 0 h 150"/>
                  <a:gd name="T12" fmla="*/ 108 w 166"/>
                  <a:gd name="T13" fmla="*/ 0 h 150"/>
                  <a:gd name="T14" fmla="*/ 83 w 166"/>
                  <a:gd name="T15" fmla="*/ 10 h 150"/>
                  <a:gd name="T16" fmla="*/ 102 w 166"/>
                  <a:gd name="T17" fmla="*/ 82 h 150"/>
                  <a:gd name="T18" fmla="*/ 83 w 166"/>
                  <a:gd name="T19" fmla="*/ 111 h 150"/>
                  <a:gd name="T20" fmla="*/ 63 w 166"/>
                  <a:gd name="T21" fmla="*/ 82 h 150"/>
                  <a:gd name="T22" fmla="*/ 83 w 166"/>
                  <a:gd name="T23" fmla="*/ 10 h 150"/>
                  <a:gd name="T24" fmla="*/ 58 w 166"/>
                  <a:gd name="T25" fmla="*/ 0 h 150"/>
                  <a:gd name="T26" fmla="*/ 0 w 166"/>
                  <a:gd name="T27" fmla="*/ 59 h 150"/>
                  <a:gd name="T28" fmla="*/ 0 w 166"/>
                  <a:gd name="T29" fmla="*/ 122 h 150"/>
                  <a:gd name="T30" fmla="*/ 0 w 166"/>
                  <a:gd name="T31" fmla="*/ 123 h 150"/>
                  <a:gd name="T32" fmla="*/ 75 w 166"/>
                  <a:gd name="T3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50">
                    <a:moveTo>
                      <a:pt x="75" y="150"/>
                    </a:moveTo>
                    <a:cubicBezTo>
                      <a:pt x="91" y="150"/>
                      <a:pt x="91" y="150"/>
                      <a:pt x="91" y="150"/>
                    </a:cubicBezTo>
                    <a:cubicBezTo>
                      <a:pt x="150" y="150"/>
                      <a:pt x="163" y="132"/>
                      <a:pt x="166" y="125"/>
                    </a:cubicBezTo>
                    <a:cubicBezTo>
                      <a:pt x="166" y="123"/>
                      <a:pt x="166" y="122"/>
                      <a:pt x="166" y="122"/>
                    </a:cubicBezTo>
                    <a:cubicBezTo>
                      <a:pt x="166" y="122"/>
                      <a:pt x="166" y="113"/>
                      <a:pt x="166" y="59"/>
                    </a:cubicBezTo>
                    <a:cubicBezTo>
                      <a:pt x="166" y="22"/>
                      <a:pt x="130" y="6"/>
                      <a:pt x="108" y="0"/>
                    </a:cubicBezTo>
                    <a:cubicBezTo>
                      <a:pt x="108" y="0"/>
                      <a:pt x="108" y="0"/>
                      <a:pt x="108" y="0"/>
                    </a:cubicBezTo>
                    <a:cubicBezTo>
                      <a:pt x="83" y="10"/>
                      <a:pt x="83" y="10"/>
                      <a:pt x="83" y="10"/>
                    </a:cubicBezTo>
                    <a:cubicBezTo>
                      <a:pt x="102" y="82"/>
                      <a:pt x="102" y="82"/>
                      <a:pt x="102" y="82"/>
                    </a:cubicBezTo>
                    <a:cubicBezTo>
                      <a:pt x="83" y="111"/>
                      <a:pt x="83" y="111"/>
                      <a:pt x="83" y="111"/>
                    </a:cubicBezTo>
                    <a:cubicBezTo>
                      <a:pt x="63" y="82"/>
                      <a:pt x="63" y="82"/>
                      <a:pt x="63" y="82"/>
                    </a:cubicBezTo>
                    <a:cubicBezTo>
                      <a:pt x="83" y="10"/>
                      <a:pt x="83" y="10"/>
                      <a:pt x="83" y="10"/>
                    </a:cubicBezTo>
                    <a:cubicBezTo>
                      <a:pt x="58" y="0"/>
                      <a:pt x="58" y="0"/>
                      <a:pt x="58" y="0"/>
                    </a:cubicBezTo>
                    <a:cubicBezTo>
                      <a:pt x="36" y="6"/>
                      <a:pt x="0" y="22"/>
                      <a:pt x="0" y="59"/>
                    </a:cubicBezTo>
                    <a:cubicBezTo>
                      <a:pt x="0" y="113"/>
                      <a:pt x="0" y="122"/>
                      <a:pt x="0" y="122"/>
                    </a:cubicBezTo>
                    <a:cubicBezTo>
                      <a:pt x="0" y="122"/>
                      <a:pt x="0" y="123"/>
                      <a:pt x="0" y="123"/>
                    </a:cubicBezTo>
                    <a:cubicBezTo>
                      <a:pt x="1" y="127"/>
                      <a:pt x="9" y="150"/>
                      <a:pt x="75" y="150"/>
                    </a:cubicBezTo>
                    <a:close/>
                  </a:path>
                </a:pathLst>
              </a:custGeom>
              <a:solidFill>
                <a:srgbClr val="84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6" name="Oval 427"/>
              <p:cNvSpPr>
                <a:spLocks noChangeArrowheads="1"/>
              </p:cNvSpPr>
              <p:nvPr/>
            </p:nvSpPr>
            <p:spPr bwMode="auto">
              <a:xfrm>
                <a:off x="1301951" y="3959521"/>
                <a:ext cx="143535" cy="167337"/>
              </a:xfrm>
              <a:prstGeom prst="ellipse">
                <a:avLst/>
              </a:prstGeom>
              <a:solidFill>
                <a:srgbClr val="84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7" name="Freeform 428"/>
              <p:cNvSpPr/>
              <p:nvPr/>
            </p:nvSpPr>
            <p:spPr bwMode="auto">
              <a:xfrm>
                <a:off x="1000456" y="4253081"/>
                <a:ext cx="219990" cy="297889"/>
              </a:xfrm>
              <a:custGeom>
                <a:avLst/>
                <a:gdLst>
                  <a:gd name="T0" fmla="*/ 129 w 129"/>
                  <a:gd name="T1" fmla="*/ 138 h 175"/>
                  <a:gd name="T2" fmla="*/ 129 w 129"/>
                  <a:gd name="T3" fmla="*/ 89 h 175"/>
                  <a:gd name="T4" fmla="*/ 121 w 129"/>
                  <a:gd name="T5" fmla="*/ 58 h 175"/>
                  <a:gd name="T6" fmla="*/ 65 w 129"/>
                  <a:gd name="T7" fmla="*/ 3 h 175"/>
                  <a:gd name="T8" fmla="*/ 116 w 129"/>
                  <a:gd name="T9" fmla="*/ 78 h 175"/>
                  <a:gd name="T10" fmla="*/ 116 w 129"/>
                  <a:gd name="T11" fmla="*/ 113 h 175"/>
                  <a:gd name="T12" fmla="*/ 78 w 129"/>
                  <a:gd name="T13" fmla="*/ 89 h 175"/>
                  <a:gd name="T14" fmla="*/ 65 w 129"/>
                  <a:gd name="T15" fmla="*/ 3 h 175"/>
                  <a:gd name="T16" fmla="*/ 0 w 129"/>
                  <a:gd name="T17" fmla="*/ 45 h 175"/>
                  <a:gd name="T18" fmla="*/ 0 w 129"/>
                  <a:gd name="T19" fmla="*/ 149 h 175"/>
                  <a:gd name="T20" fmla="*/ 65 w 129"/>
                  <a:gd name="T21" fmla="*/ 175 h 175"/>
                  <a:gd name="T22" fmla="*/ 122 w 129"/>
                  <a:gd name="T23" fmla="*/ 161 h 175"/>
                  <a:gd name="T24" fmla="*/ 129 w 129"/>
                  <a:gd name="T25" fmla="*/ 13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75">
                    <a:moveTo>
                      <a:pt x="129" y="138"/>
                    </a:moveTo>
                    <a:cubicBezTo>
                      <a:pt x="129" y="117"/>
                      <a:pt x="129" y="89"/>
                      <a:pt x="129" y="89"/>
                    </a:cubicBezTo>
                    <a:cubicBezTo>
                      <a:pt x="129" y="89"/>
                      <a:pt x="127" y="75"/>
                      <a:pt x="121" y="58"/>
                    </a:cubicBezTo>
                    <a:cubicBezTo>
                      <a:pt x="112" y="33"/>
                      <a:pt x="95" y="3"/>
                      <a:pt x="65" y="3"/>
                    </a:cubicBezTo>
                    <a:cubicBezTo>
                      <a:pt x="116" y="78"/>
                      <a:pt x="116" y="78"/>
                      <a:pt x="116" y="78"/>
                    </a:cubicBezTo>
                    <a:cubicBezTo>
                      <a:pt x="116" y="113"/>
                      <a:pt x="116" y="113"/>
                      <a:pt x="116" y="113"/>
                    </a:cubicBezTo>
                    <a:cubicBezTo>
                      <a:pt x="78" y="89"/>
                      <a:pt x="78" y="89"/>
                      <a:pt x="78" y="89"/>
                    </a:cubicBezTo>
                    <a:cubicBezTo>
                      <a:pt x="65" y="3"/>
                      <a:pt x="65" y="3"/>
                      <a:pt x="65" y="3"/>
                    </a:cubicBezTo>
                    <a:cubicBezTo>
                      <a:pt x="65" y="3"/>
                      <a:pt x="0" y="0"/>
                      <a:pt x="0" y="45"/>
                    </a:cubicBezTo>
                    <a:cubicBezTo>
                      <a:pt x="0" y="90"/>
                      <a:pt x="0" y="149"/>
                      <a:pt x="0" y="149"/>
                    </a:cubicBezTo>
                    <a:cubicBezTo>
                      <a:pt x="0" y="149"/>
                      <a:pt x="8" y="175"/>
                      <a:pt x="65" y="175"/>
                    </a:cubicBezTo>
                    <a:cubicBezTo>
                      <a:pt x="97" y="175"/>
                      <a:pt x="114" y="170"/>
                      <a:pt x="122" y="161"/>
                    </a:cubicBezTo>
                    <a:cubicBezTo>
                      <a:pt x="128" y="155"/>
                      <a:pt x="129" y="147"/>
                      <a:pt x="129" y="1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28" name="Oval 429"/>
              <p:cNvSpPr>
                <a:spLocks noChangeArrowheads="1"/>
              </p:cNvSpPr>
              <p:nvPr/>
            </p:nvSpPr>
            <p:spPr bwMode="auto">
              <a:xfrm>
                <a:off x="1011996" y="4044631"/>
                <a:ext cx="173829" cy="2034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sp>
          <p:nvSpPr>
            <p:cNvPr id="21" name="椭圆 20"/>
            <p:cNvSpPr/>
            <p:nvPr/>
          </p:nvSpPr>
          <p:spPr>
            <a:xfrm>
              <a:off x="2207349" y="2125149"/>
              <a:ext cx="1269736" cy="1269736"/>
            </a:xfrm>
            <a:prstGeom prst="ellipse">
              <a:avLst/>
            </a:prstGeom>
            <a:noFill/>
            <a:ln w="6350">
              <a:gradFill>
                <a:gsLst>
                  <a:gs pos="0">
                    <a:srgbClr val="05DAE3"/>
                  </a:gs>
                  <a:gs pos="58000">
                    <a:srgbClr val="22B9FE"/>
                  </a:gs>
                  <a:gs pos="83000">
                    <a:srgbClr val="05DAE3"/>
                  </a:gs>
                  <a:gs pos="100000">
                    <a:srgbClr val="22B9FE">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pSp>
      <p:sp>
        <p:nvSpPr>
          <p:cNvPr id="29" name="矩形 28"/>
          <p:cNvSpPr/>
          <p:nvPr/>
        </p:nvSpPr>
        <p:spPr>
          <a:xfrm>
            <a:off x="0" y="0"/>
            <a:ext cx="12192000" cy="6858000"/>
          </a:xfrm>
          <a:prstGeom prst="rect">
            <a:avLst/>
          </a:prstGeom>
          <a:noFill/>
          <a:ln w="571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noFill/>
              <a:effectLst/>
              <a:uLnTx/>
              <a:uFillTx/>
              <a:cs typeface="+mn-ea"/>
              <a:sym typeface="+mn-lt"/>
            </a:endParaRPr>
          </a:p>
        </p:txBody>
      </p:sp>
      <p:sp>
        <p:nvSpPr>
          <p:cNvPr id="30" name="文本框 29"/>
          <p:cNvSpPr txBox="1"/>
          <p:nvPr/>
        </p:nvSpPr>
        <p:spPr>
          <a:xfrm>
            <a:off x="584199" y="1459680"/>
            <a:ext cx="3133619" cy="511037"/>
          </a:xfrm>
          <a:prstGeom prst="rect">
            <a:avLst/>
          </a:prstGeom>
          <a:noFill/>
        </p:spPr>
        <p:txBody>
          <a:bodyPr wrap="square" rtlCol="0">
            <a:spAutoFit/>
          </a:bodyPr>
          <a:lstStyle/>
          <a:p>
            <a:pPr algn="r">
              <a:lnSpc>
                <a:spcPct val="130000"/>
              </a:lnSpc>
            </a:pPr>
            <a:r>
              <a:rPr lang="zh-CN" altLang="en-US" sz="1100" dirty="0">
                <a:solidFill>
                  <a:schemeClr val="bg1">
                    <a:lumMod val="95000"/>
                  </a:schemeClr>
                </a:solidFill>
                <a:cs typeface="+mn-ea"/>
                <a:sym typeface="+mn-lt"/>
              </a:rPr>
              <a:t>请替换文字内容，修改文字内容，也可以直接复制你的内容到此。请替换文字内容，修改文字</a:t>
            </a:r>
            <a:endParaRPr lang="en-US" altLang="zh-TW" sz="1100" dirty="0">
              <a:solidFill>
                <a:schemeClr val="bg1">
                  <a:lumMod val="95000"/>
                </a:schemeClr>
              </a:solidFill>
              <a:cs typeface="+mn-ea"/>
              <a:sym typeface="+mn-lt"/>
            </a:endParaRPr>
          </a:p>
        </p:txBody>
      </p:sp>
      <p:grpSp>
        <p:nvGrpSpPr>
          <p:cNvPr id="31" name="组合 30"/>
          <p:cNvGrpSpPr/>
          <p:nvPr/>
        </p:nvGrpSpPr>
        <p:grpSpPr>
          <a:xfrm>
            <a:off x="3687786" y="1252315"/>
            <a:ext cx="1109714" cy="503498"/>
            <a:chOff x="1733148" y="1439426"/>
            <a:chExt cx="1109714" cy="503498"/>
          </a:xfrm>
        </p:grpSpPr>
        <p:cxnSp>
          <p:nvCxnSpPr>
            <p:cNvPr id="32" name="直接连接符 31"/>
            <p:cNvCxnSpPr/>
            <p:nvPr/>
          </p:nvCxnSpPr>
          <p:spPr>
            <a:xfrm>
              <a:off x="1733148" y="1439426"/>
              <a:ext cx="0" cy="2435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自由: 形状 53"/>
            <p:cNvSpPr/>
            <p:nvPr/>
          </p:nvSpPr>
          <p:spPr>
            <a:xfrm>
              <a:off x="1795112" y="1549224"/>
              <a:ext cx="1047750" cy="393700"/>
            </a:xfrm>
            <a:custGeom>
              <a:avLst/>
              <a:gdLst>
                <a:gd name="connsiteX0" fmla="*/ 0 w 1047750"/>
                <a:gd name="connsiteY0" fmla="*/ 0 h 393700"/>
                <a:gd name="connsiteX1" fmla="*/ 381000 w 1047750"/>
                <a:gd name="connsiteY1" fmla="*/ 0 h 393700"/>
                <a:gd name="connsiteX2" fmla="*/ 1047750 w 1047750"/>
                <a:gd name="connsiteY2" fmla="*/ 393700 h 393700"/>
              </a:gdLst>
              <a:ahLst/>
              <a:cxnLst>
                <a:cxn ang="0">
                  <a:pos x="connsiteX0" y="connsiteY0"/>
                </a:cxn>
                <a:cxn ang="0">
                  <a:pos x="connsiteX1" y="connsiteY1"/>
                </a:cxn>
                <a:cxn ang="0">
                  <a:pos x="connsiteX2" y="connsiteY2"/>
                </a:cxn>
              </a:cxnLst>
              <a:rect l="l" t="t" r="r" b="b"/>
              <a:pathLst>
                <a:path w="1047750" h="393700">
                  <a:moveTo>
                    <a:pt x="0" y="0"/>
                  </a:moveTo>
                  <a:lnTo>
                    <a:pt x="381000" y="0"/>
                  </a:lnTo>
                  <a:lnTo>
                    <a:pt x="1047750" y="393700"/>
                  </a:lnTo>
                </a:path>
              </a:pathLst>
            </a:custGeom>
            <a:noFill/>
            <a:ln>
              <a:solidFill>
                <a:schemeClr val="bg1"/>
              </a:solidFill>
              <a:headEnd w="sm" len="sm"/>
              <a:tailEnd type="oval" w="sm" len="sm"/>
            </a:ln>
          </p:spPr>
          <p:txBody>
            <a:bodyPr rtlCol="0" anchor="ctr"/>
            <a:lstStyle/>
            <a:p>
              <a:pPr algn="ctr"/>
              <a:endParaRPr lang="zh-CN" altLang="en-US" dirty="0">
                <a:cs typeface="+mn-ea"/>
                <a:sym typeface="+mn-lt"/>
              </a:endParaRPr>
            </a:p>
          </p:txBody>
        </p:sp>
      </p:grpSp>
      <p:sp>
        <p:nvSpPr>
          <p:cNvPr id="34" name="矩形 33"/>
          <p:cNvSpPr/>
          <p:nvPr/>
        </p:nvSpPr>
        <p:spPr>
          <a:xfrm>
            <a:off x="2631086" y="1167250"/>
            <a:ext cx="1056700" cy="338554"/>
          </a:xfrm>
          <a:prstGeom prst="rect">
            <a:avLst/>
          </a:prstGeom>
        </p:spPr>
        <p:txBody>
          <a:bodyPr wrap="none">
            <a:spAutoFit/>
          </a:bodyPr>
          <a:lstStyle/>
          <a:p>
            <a:pPr algn="r"/>
            <a:r>
              <a:rPr lang="zh-CN" altLang="en-US" sz="1600" b="1" spc="100" dirty="0">
                <a:solidFill>
                  <a:srgbClr val="84FFFF"/>
                </a:solidFill>
                <a:cs typeface="+mn-ea"/>
                <a:sym typeface="+mn-lt"/>
              </a:rPr>
              <a:t>这是标题</a:t>
            </a:r>
            <a:endParaRPr lang="zh-CN" altLang="en-US" sz="1600" b="1" dirty="0">
              <a:solidFill>
                <a:srgbClr val="84FFFF"/>
              </a:solidFill>
              <a:cs typeface="+mn-ea"/>
              <a:sym typeface="+mn-lt"/>
            </a:endParaRPr>
          </a:p>
        </p:txBody>
      </p:sp>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智能制造</a:t>
            </a:r>
          </a:p>
        </p:txBody>
      </p:sp>
      <p:pic>
        <p:nvPicPr>
          <p:cNvPr id="5" name="2"/>
          <p:cNvPicPr>
            <a:picLocks noChangeAspect="1"/>
          </p:cNvPicPr>
          <p:nvPr/>
        </p:nvPicPr>
        <p:blipFill rotWithShape="1">
          <a:blip r:embed="rId4" cstate="screen"/>
          <a:srcRect/>
          <a:stretch>
            <a:fillRect/>
          </a:stretch>
        </p:blipFill>
        <p:spPr>
          <a:xfrm>
            <a:off x="284893" y="56713"/>
            <a:ext cx="750968" cy="1441451"/>
          </a:xfrm>
          <a:prstGeom prst="rect">
            <a:avLst/>
          </a:prstGeom>
        </p:spPr>
      </p:pic>
      <p:sp>
        <p:nvSpPr>
          <p:cNvPr id="35" name="Текст 16" descr="e7d195523061f1c03a90ee8e42cb24248e56383cd534985688F9F494128731F165EE95AB4B0C0A38076AAEA07667B1565C446FC45FF01DFB0E885BCDBDF3A284F3DB14DA61DD97F0BAB2E6C668FB49315456C7F39E6B1198E1BE8FB0C513F2B95345CD04A51BBC5AF0101DB7DB40CB9F208D416517269C05F184BE0950CC704B76ED9B299C3B43E5"/>
          <p:cNvSpPr txBox="1"/>
          <p:nvPr/>
        </p:nvSpPr>
        <p:spPr>
          <a:xfrm rot="5400000">
            <a:off x="9757708" y="3564234"/>
            <a:ext cx="215033" cy="1125764"/>
          </a:xfrm>
          <a:prstGeom prst="rect">
            <a:avLst/>
          </a:prstGeom>
        </p:spPr>
        <p:txBody>
          <a:bodyPr vert="vert270" lIns="0" tIns="0" rIns="0" bIns="0" numCol="1" rtlCol="0" anchor="t">
            <a:normAutofit fontScale="92500"/>
          </a:bodyPr>
          <a:lstStyle>
            <a:lvl1pPr marL="0" indent="0" algn="l" defTabSz="892175" rtl="0" eaLnBrk="1" latinLnBrk="0" hangingPunct="1">
              <a:lnSpc>
                <a:spcPct val="150000"/>
              </a:lnSpc>
              <a:spcBef>
                <a:spcPts val="1980"/>
              </a:spcBef>
              <a:buSzPct val="100000"/>
              <a:buFontTx/>
              <a:buNone/>
              <a:defRPr sz="2000" kern="1200">
                <a:solidFill>
                  <a:schemeClr val="tx1">
                    <a:lumMod val="95000"/>
                    <a:lumOff val="5000"/>
                  </a:schemeClr>
                </a:solidFill>
                <a:latin typeface="+mn-lt"/>
                <a:ea typeface="+mn-ea"/>
                <a:cs typeface="+mn-cs"/>
              </a:defRPr>
            </a:lvl1pPr>
            <a:lvl2pPr marL="0" indent="0" algn="l" defTabSz="892175" rtl="0" eaLnBrk="1" latinLnBrk="0" hangingPunct="1">
              <a:lnSpc>
                <a:spcPct val="90000"/>
              </a:lnSpc>
              <a:spcBef>
                <a:spcPts val="990"/>
              </a:spcBef>
              <a:buSzPct val="100000"/>
              <a:buFontTx/>
              <a:buNone/>
              <a:defRPr sz="2400" b="1" kern="1200" baseline="0">
                <a:solidFill>
                  <a:schemeClr val="tx1">
                    <a:lumMod val="95000"/>
                    <a:lumOff val="5000"/>
                  </a:schemeClr>
                </a:solidFill>
                <a:latin typeface="+mn-lt"/>
                <a:ea typeface="Open Sans" panose="020B0606030504020204" pitchFamily="34" charset="0"/>
                <a:cs typeface="Open Sans" panose="020B0606030504020204" pitchFamily="34" charset="0"/>
              </a:defRPr>
            </a:lvl2pPr>
            <a:lvl3pPr marL="0" indent="0" algn="l" defTabSz="892175" rtl="0" eaLnBrk="1" latinLnBrk="0" hangingPunct="1">
              <a:lnSpc>
                <a:spcPct val="150000"/>
              </a:lnSpc>
              <a:spcBef>
                <a:spcPts val="990"/>
              </a:spcBef>
              <a:buSzPct val="100000"/>
              <a:buFontTx/>
              <a:buNone/>
              <a:defRPr sz="2000" kern="1200" baseline="0">
                <a:solidFill>
                  <a:schemeClr val="tx1">
                    <a:lumMod val="95000"/>
                    <a:lumOff val="5000"/>
                  </a:schemeClr>
                </a:solidFill>
                <a:latin typeface="+mn-lt"/>
                <a:ea typeface="+mn-ea"/>
                <a:cs typeface="+mn-cs"/>
              </a:defRPr>
            </a:lvl3pPr>
            <a:lvl4pPr marL="0" indent="0" algn="l" defTabSz="1809115" rtl="0" eaLnBrk="1" latinLnBrk="0" hangingPunct="1">
              <a:lnSpc>
                <a:spcPct val="150000"/>
              </a:lnSpc>
              <a:spcBef>
                <a:spcPts val="990"/>
              </a:spcBef>
              <a:buSzPct val="100000"/>
              <a:buFontTx/>
              <a:buNone/>
              <a:defRPr sz="3200" b="1" kern="1200">
                <a:solidFill>
                  <a:schemeClr val="tx1">
                    <a:lumMod val="95000"/>
                    <a:lumOff val="5000"/>
                  </a:schemeClr>
                </a:solidFill>
                <a:latin typeface="+mn-lt"/>
                <a:ea typeface="Open Sans" panose="020B0606030504020204" pitchFamily="34" charset="0"/>
                <a:cs typeface="Open Sans" panose="020B0606030504020204" pitchFamily="34" charset="0"/>
              </a:defRPr>
            </a:lvl4pPr>
            <a:lvl5pPr marL="0" indent="0" algn="l" defTabSz="1809115" rtl="0" eaLnBrk="1" latinLnBrk="0" hangingPunct="1">
              <a:lnSpc>
                <a:spcPct val="150000"/>
              </a:lnSpc>
              <a:spcBef>
                <a:spcPts val="990"/>
              </a:spcBef>
              <a:buSzPct val="100000"/>
              <a:buFontTx/>
              <a:buNone/>
              <a:defRPr sz="2400" kern="1200" baseline="0">
                <a:solidFill>
                  <a:schemeClr val="tx1">
                    <a:lumMod val="95000"/>
                    <a:lumOff val="5000"/>
                  </a:schemeClr>
                </a:solidFill>
                <a:latin typeface="+mn-lt"/>
                <a:ea typeface="Open Sans" panose="020B0606030504020204" pitchFamily="34" charset="0"/>
                <a:cs typeface="Open Sans" panose="020B0606030504020204" pitchFamily="34" charset="0"/>
              </a:defRPr>
            </a:lvl5pPr>
            <a:lvl6pPr marL="0" indent="0" algn="l" defTabSz="1809115" rtl="0" eaLnBrk="1" latinLnBrk="0" hangingPunct="1">
              <a:lnSpc>
                <a:spcPct val="90000"/>
              </a:lnSpc>
              <a:spcBef>
                <a:spcPts val="990"/>
              </a:spcBef>
              <a:buFontTx/>
              <a:buNone/>
              <a:defRPr sz="1600" kern="1200">
                <a:solidFill>
                  <a:schemeClr val="bg1">
                    <a:lumMod val="65000"/>
                  </a:schemeClr>
                </a:solidFill>
                <a:latin typeface="+mn-lt"/>
                <a:ea typeface="+mn-ea"/>
                <a:cs typeface="+mn-cs"/>
              </a:defRPr>
            </a:lvl6pPr>
            <a:lvl7pPr marL="0" indent="0" algn="l" defTabSz="1809115" rtl="0" eaLnBrk="1" latinLnBrk="0" hangingPunct="1">
              <a:lnSpc>
                <a:spcPct val="90000"/>
              </a:lnSpc>
              <a:spcBef>
                <a:spcPts val="990"/>
              </a:spcBef>
              <a:buFontTx/>
              <a:buNone/>
              <a:defRPr sz="1600" b="1" kern="1200" baseline="0">
                <a:solidFill>
                  <a:schemeClr val="bg1">
                    <a:lumMod val="65000"/>
                  </a:schemeClr>
                </a:solidFill>
                <a:latin typeface="+mn-lt"/>
                <a:ea typeface="+mn-ea"/>
                <a:cs typeface="+mn-cs"/>
              </a:defRPr>
            </a:lvl7pPr>
            <a:lvl8pPr marL="0" marR="0" indent="0" algn="l" defTabSz="1809115" rtl="0" eaLnBrk="1" fontAlgn="auto" latinLnBrk="0" hangingPunct="1">
              <a:lnSpc>
                <a:spcPct val="90000"/>
              </a:lnSpc>
              <a:spcBef>
                <a:spcPts val="990"/>
              </a:spcBef>
              <a:spcAft>
                <a:spcPts val="0"/>
              </a:spcAft>
              <a:buClrTx/>
              <a:buSzTx/>
              <a:buFontTx/>
              <a:buNone/>
              <a:defRPr sz="1600" b="1" kern="1200">
                <a:solidFill>
                  <a:schemeClr val="tx1">
                    <a:lumMod val="75000"/>
                    <a:lumOff val="25000"/>
                  </a:schemeClr>
                </a:solidFill>
                <a:latin typeface="+mn-lt"/>
                <a:ea typeface="+mn-ea"/>
                <a:cs typeface="+mn-cs"/>
              </a:defRPr>
            </a:lvl8pPr>
            <a:lvl9pPr marL="357505" indent="0" algn="l" defTabSz="1809115" rtl="0" eaLnBrk="1" latinLnBrk="0" hangingPunct="1">
              <a:lnSpc>
                <a:spcPct val="90000"/>
              </a:lnSpc>
              <a:spcBef>
                <a:spcPts val="990"/>
              </a:spcBef>
              <a:buFont typeface="Arial" panose="020B0604020202020204" pitchFamily="34" charset="0"/>
              <a:buNone/>
              <a:defRPr sz="3560" kern="1200">
                <a:solidFill>
                  <a:schemeClr val="tx1"/>
                </a:solidFill>
                <a:latin typeface="+mn-lt"/>
                <a:ea typeface="+mn-ea"/>
                <a:cs typeface="+mn-cs"/>
              </a:defRPr>
            </a:lvl9pPr>
          </a:lstStyle>
          <a:p>
            <a:pPr lvl="5" algn="ctr">
              <a:lnSpc>
                <a:spcPct val="100000"/>
              </a:lnSpc>
            </a:pPr>
            <a:r>
              <a:rPr lang="en-US" sz="1050" baseline="0" dirty="0">
                <a:solidFill>
                  <a:srgbClr val="84FFFF"/>
                </a:solidFill>
                <a:cs typeface="+mn-ea"/>
                <a:sym typeface="+mn-lt"/>
              </a:rPr>
              <a:t>  </a:t>
            </a:r>
            <a:r>
              <a:rPr lang="en-US" sz="900" b="1" dirty="0">
                <a:solidFill>
                  <a:srgbClr val="84FFFF"/>
                </a:solidFill>
                <a:cs typeface="+mn-ea"/>
                <a:sym typeface="+mn-lt"/>
              </a:rPr>
              <a:t>CLICK TO DISCOVER</a:t>
            </a:r>
          </a:p>
          <a:p>
            <a:pPr lvl="7" algn="ctr"/>
            <a:endParaRPr lang="en-US" sz="1050" dirty="0">
              <a:solidFill>
                <a:srgbClr val="84FFFF"/>
              </a:solidFill>
              <a:cs typeface="+mn-ea"/>
              <a:sym typeface="+mn-lt"/>
            </a:endParaRPr>
          </a:p>
        </p:txBody>
      </p:sp>
      <p:sp>
        <p:nvSpPr>
          <p:cNvPr id="36" name="Freeform 13" descr="e7d195523061f1c03a90ee8e42cb24248e56383cd534985688F9F494128731F165EE95AB4B0C0A38076AAEA07667B1565C446FC45FF01DFB0E885BCDBDF3A284F3DB14DA61DD97F0BAB2E6C668FB49315456C7F39E6B1198E1BE8FB0C513F2B95345CD04A51BBC5AF0101DB7DB40CB9F208D416517269C05F184BE0950CC704B76ED9B299C3B43E5"/>
          <p:cNvSpPr>
            <a:spLocks noEditPoints="1"/>
          </p:cNvSpPr>
          <p:nvPr/>
        </p:nvSpPr>
        <p:spPr bwMode="auto">
          <a:xfrm>
            <a:off x="9798488" y="4232797"/>
            <a:ext cx="133472" cy="180662"/>
          </a:xfrm>
          <a:custGeom>
            <a:avLst/>
            <a:gdLst>
              <a:gd name="T0" fmla="*/ 44 w 88"/>
              <a:gd name="T1" fmla="*/ 0 h 128"/>
              <a:gd name="T2" fmla="*/ 0 w 88"/>
              <a:gd name="T3" fmla="*/ 44 h 128"/>
              <a:gd name="T4" fmla="*/ 0 w 88"/>
              <a:gd name="T5" fmla="*/ 84 h 128"/>
              <a:gd name="T6" fmla="*/ 44 w 88"/>
              <a:gd name="T7" fmla="*/ 128 h 128"/>
              <a:gd name="T8" fmla="*/ 88 w 88"/>
              <a:gd name="T9" fmla="*/ 84 h 128"/>
              <a:gd name="T10" fmla="*/ 88 w 88"/>
              <a:gd name="T11" fmla="*/ 44 h 128"/>
              <a:gd name="T12" fmla="*/ 44 w 88"/>
              <a:gd name="T13" fmla="*/ 0 h 128"/>
              <a:gd name="T14" fmla="*/ 80 w 88"/>
              <a:gd name="T15" fmla="*/ 84 h 128"/>
              <a:gd name="T16" fmla="*/ 44 w 88"/>
              <a:gd name="T17" fmla="*/ 120 h 128"/>
              <a:gd name="T18" fmla="*/ 8 w 88"/>
              <a:gd name="T19" fmla="*/ 84 h 128"/>
              <a:gd name="T20" fmla="*/ 8 w 88"/>
              <a:gd name="T21" fmla="*/ 44 h 128"/>
              <a:gd name="T22" fmla="*/ 44 w 88"/>
              <a:gd name="T23" fmla="*/ 8 h 128"/>
              <a:gd name="T24" fmla="*/ 80 w 88"/>
              <a:gd name="T25" fmla="*/ 44 h 128"/>
              <a:gd name="T26" fmla="*/ 80 w 88"/>
              <a:gd name="T27" fmla="*/ 84 h 128"/>
              <a:gd name="T28" fmla="*/ 44 w 88"/>
              <a:gd name="T29" fmla="*/ 28 h 128"/>
              <a:gd name="T30" fmla="*/ 40 w 88"/>
              <a:gd name="T31" fmla="*/ 32 h 128"/>
              <a:gd name="T32" fmla="*/ 40 w 88"/>
              <a:gd name="T33" fmla="*/ 48 h 128"/>
              <a:gd name="T34" fmla="*/ 44 w 88"/>
              <a:gd name="T35" fmla="*/ 52 h 128"/>
              <a:gd name="T36" fmla="*/ 48 w 88"/>
              <a:gd name="T37" fmla="*/ 48 h 128"/>
              <a:gd name="T38" fmla="*/ 48 w 88"/>
              <a:gd name="T39" fmla="*/ 32 h 128"/>
              <a:gd name="T40" fmla="*/ 44 w 88"/>
              <a:gd name="T41" fmla="*/ 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28">
                <a:moveTo>
                  <a:pt x="44" y="0"/>
                </a:moveTo>
                <a:cubicBezTo>
                  <a:pt x="20" y="0"/>
                  <a:pt x="0" y="20"/>
                  <a:pt x="0" y="44"/>
                </a:cubicBezTo>
                <a:cubicBezTo>
                  <a:pt x="0" y="84"/>
                  <a:pt x="0" y="84"/>
                  <a:pt x="0" y="84"/>
                </a:cubicBezTo>
                <a:cubicBezTo>
                  <a:pt x="0" y="108"/>
                  <a:pt x="20" y="128"/>
                  <a:pt x="44" y="128"/>
                </a:cubicBezTo>
                <a:cubicBezTo>
                  <a:pt x="68" y="128"/>
                  <a:pt x="88" y="108"/>
                  <a:pt x="88" y="84"/>
                </a:cubicBezTo>
                <a:cubicBezTo>
                  <a:pt x="88" y="44"/>
                  <a:pt x="88" y="44"/>
                  <a:pt x="88" y="44"/>
                </a:cubicBezTo>
                <a:cubicBezTo>
                  <a:pt x="88" y="20"/>
                  <a:pt x="68" y="0"/>
                  <a:pt x="44" y="0"/>
                </a:cubicBezTo>
                <a:close/>
                <a:moveTo>
                  <a:pt x="80" y="84"/>
                </a:moveTo>
                <a:cubicBezTo>
                  <a:pt x="80" y="104"/>
                  <a:pt x="64" y="120"/>
                  <a:pt x="44" y="120"/>
                </a:cubicBezTo>
                <a:cubicBezTo>
                  <a:pt x="24" y="120"/>
                  <a:pt x="8" y="104"/>
                  <a:pt x="8" y="84"/>
                </a:cubicBezTo>
                <a:cubicBezTo>
                  <a:pt x="8" y="44"/>
                  <a:pt x="8" y="44"/>
                  <a:pt x="8" y="44"/>
                </a:cubicBezTo>
                <a:cubicBezTo>
                  <a:pt x="8" y="24"/>
                  <a:pt x="24" y="8"/>
                  <a:pt x="44" y="8"/>
                </a:cubicBezTo>
                <a:cubicBezTo>
                  <a:pt x="64" y="8"/>
                  <a:pt x="80" y="24"/>
                  <a:pt x="80" y="44"/>
                </a:cubicBezTo>
                <a:lnTo>
                  <a:pt x="80" y="84"/>
                </a:lnTo>
                <a:close/>
                <a:moveTo>
                  <a:pt x="44" y="28"/>
                </a:moveTo>
                <a:cubicBezTo>
                  <a:pt x="42" y="28"/>
                  <a:pt x="40" y="30"/>
                  <a:pt x="40" y="32"/>
                </a:cubicBezTo>
                <a:cubicBezTo>
                  <a:pt x="40" y="48"/>
                  <a:pt x="40" y="48"/>
                  <a:pt x="40" y="48"/>
                </a:cubicBezTo>
                <a:cubicBezTo>
                  <a:pt x="40" y="50"/>
                  <a:pt x="42" y="52"/>
                  <a:pt x="44" y="52"/>
                </a:cubicBezTo>
                <a:cubicBezTo>
                  <a:pt x="46" y="52"/>
                  <a:pt x="48" y="50"/>
                  <a:pt x="48" y="48"/>
                </a:cubicBezTo>
                <a:cubicBezTo>
                  <a:pt x="48" y="32"/>
                  <a:pt x="48" y="32"/>
                  <a:pt x="48" y="32"/>
                </a:cubicBezTo>
                <a:cubicBezTo>
                  <a:pt x="48" y="30"/>
                  <a:pt x="46" y="28"/>
                  <a:pt x="44" y="28"/>
                </a:cubicBezTo>
                <a:close/>
              </a:path>
            </a:pathLst>
          </a:custGeom>
          <a:solidFill>
            <a:srgbClr val="84FFFF">
              <a:alpha val="70000"/>
            </a:srgbClr>
          </a:solidFill>
          <a:ln>
            <a:noFill/>
          </a:ln>
        </p:spPr>
        <p:txBody>
          <a:bodyPr vert="horz" wrap="square" lIns="45842" tIns="22921" rIns="45842" bIns="22921" numCol="1" anchor="t" anchorCtr="0" compatLnSpc="1"/>
          <a:lstStyle/>
          <a:p>
            <a:endParaRPr lang="en-US" sz="1100">
              <a:solidFill>
                <a:srgbClr val="84FFFF"/>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childTnLst>
                    </p:cTn>
                  </p:par>
                  <p:par>
                    <p:cTn id="16" fill="hold">
                      <p:stCondLst>
                        <p:cond delay="indefinite"/>
                      </p:stCondLst>
                      <p:childTnLst>
                        <p:par>
                          <p:cTn id="17" fill="hold">
                            <p:stCondLst>
                              <p:cond delay="0"/>
                            </p:stCondLst>
                            <p:childTnLst>
                              <p:par>
                                <p:cTn id="18" presetID="22" presetClass="entr" presetSubtype="2" fill="hold" nodeType="click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wipe(right)">
                                      <p:cBhvr>
                                        <p:cTn id="20" dur="500"/>
                                        <p:tgtEl>
                                          <p:spTgt spid="31"/>
                                        </p:tgtEl>
                                      </p:cBhvr>
                                    </p:animEffect>
                                  </p:childTnLst>
                                </p:cTn>
                              </p:par>
                              <p:par>
                                <p:cTn id="21" presetID="49" presetClass="entr" presetSubtype="0" decel="100000" fill="hold" grpId="0" nodeType="withEffect">
                                  <p:stCondLst>
                                    <p:cond delay="0"/>
                                  </p:stCondLst>
                                  <p:iterate type="lt">
                                    <p:tmPct val="20000"/>
                                  </p:iterate>
                                  <p:childTnLst>
                                    <p:set>
                                      <p:cBhvr>
                                        <p:cTn id="22" dur="1" fill="hold">
                                          <p:stCondLst>
                                            <p:cond delay="0"/>
                                          </p:stCondLst>
                                        </p:cTn>
                                        <p:tgtEl>
                                          <p:spTgt spid="34"/>
                                        </p:tgtEl>
                                        <p:attrNameLst>
                                          <p:attrName>style.visibility</p:attrName>
                                        </p:attrNameLst>
                                      </p:cBhvr>
                                      <p:to>
                                        <p:strVal val="visible"/>
                                      </p:to>
                                    </p:set>
                                    <p:anim calcmode="lin" valueType="num">
                                      <p:cBhvr>
                                        <p:cTn id="23" dur="500" fill="hold"/>
                                        <p:tgtEl>
                                          <p:spTgt spid="34"/>
                                        </p:tgtEl>
                                        <p:attrNameLst>
                                          <p:attrName>ppt_w</p:attrName>
                                        </p:attrNameLst>
                                      </p:cBhvr>
                                      <p:tavLst>
                                        <p:tav tm="0">
                                          <p:val>
                                            <p:fltVal val="0"/>
                                          </p:val>
                                        </p:tav>
                                        <p:tav tm="100000">
                                          <p:val>
                                            <p:strVal val="#ppt_w"/>
                                          </p:val>
                                        </p:tav>
                                      </p:tavLst>
                                    </p:anim>
                                    <p:anim calcmode="lin" valueType="num">
                                      <p:cBhvr>
                                        <p:cTn id="24" dur="500" fill="hold"/>
                                        <p:tgtEl>
                                          <p:spTgt spid="34"/>
                                        </p:tgtEl>
                                        <p:attrNameLst>
                                          <p:attrName>ppt_h</p:attrName>
                                        </p:attrNameLst>
                                      </p:cBhvr>
                                      <p:tavLst>
                                        <p:tav tm="0">
                                          <p:val>
                                            <p:fltVal val="0"/>
                                          </p:val>
                                        </p:tav>
                                        <p:tav tm="100000">
                                          <p:val>
                                            <p:strVal val="#ppt_h"/>
                                          </p:val>
                                        </p:tav>
                                      </p:tavLst>
                                    </p:anim>
                                    <p:anim calcmode="lin" valueType="num">
                                      <p:cBhvr>
                                        <p:cTn id="25" dur="500" fill="hold"/>
                                        <p:tgtEl>
                                          <p:spTgt spid="34"/>
                                        </p:tgtEl>
                                        <p:attrNameLst>
                                          <p:attrName>style.rotation</p:attrName>
                                        </p:attrNameLst>
                                      </p:cBhvr>
                                      <p:tavLst>
                                        <p:tav tm="0">
                                          <p:val>
                                            <p:fltVal val="360"/>
                                          </p:val>
                                        </p:tav>
                                        <p:tav tm="100000">
                                          <p:val>
                                            <p:fltVal val="0"/>
                                          </p:val>
                                        </p:tav>
                                      </p:tavLst>
                                    </p:anim>
                                    <p:animEffect transition="in" filter="fade">
                                      <p:cBhvr>
                                        <p:cTn id="26" dur="500"/>
                                        <p:tgtEl>
                                          <p:spTgt spid="34"/>
                                        </p:tgtEl>
                                      </p:cBhvr>
                                    </p:animEffect>
                                  </p:childTnLst>
                                </p:cTn>
                              </p:par>
                              <p:par>
                                <p:cTn id="27" presetID="10" presetClass="entr" presetSubtype="0" fill="hold" grpId="0" nodeType="withEffect">
                                  <p:stCondLst>
                                    <p:cond delay="0"/>
                                  </p:stCondLst>
                                  <p:iterate type="lt">
                                    <p:tmPct val="10000"/>
                                  </p:iterate>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childTnLst>
                                </p:cTn>
                              </p:par>
                            </p:childTnLst>
                          </p:cTn>
                        </p:par>
                      </p:childTnLst>
                    </p:cTn>
                  </p:par>
                  <p:par>
                    <p:cTn id="30" fill="hold">
                      <p:stCondLst>
                        <p:cond delay="indefinite"/>
                      </p:stCondLst>
                      <p:childTnLst>
                        <p:par>
                          <p:cTn id="31" fill="hold">
                            <p:stCondLst>
                              <p:cond delay="0"/>
                            </p:stCondLst>
                            <p:childTnLst>
                              <p:par>
                                <p:cTn id="32" presetID="49" presetClass="entr" presetSubtype="0" decel="100000" fill="hold" nodeType="clickEffect">
                                  <p:stCondLst>
                                    <p:cond delay="0"/>
                                  </p:stCondLst>
                                  <p:childTnLst>
                                    <p:set>
                                      <p:cBhvr>
                                        <p:cTn id="33" dur="1" fill="hold">
                                          <p:stCondLst>
                                            <p:cond delay="0"/>
                                          </p:stCondLst>
                                        </p:cTn>
                                        <p:tgtEl>
                                          <p:spTgt spid="19"/>
                                        </p:tgtEl>
                                        <p:attrNameLst>
                                          <p:attrName>style.visibility</p:attrName>
                                        </p:attrNameLst>
                                      </p:cBhvr>
                                      <p:to>
                                        <p:strVal val="visible"/>
                                      </p:to>
                                    </p:set>
                                    <p:anim calcmode="lin" valueType="num">
                                      <p:cBhvr>
                                        <p:cTn id="34" dur="500" fill="hold"/>
                                        <p:tgtEl>
                                          <p:spTgt spid="19"/>
                                        </p:tgtEl>
                                        <p:attrNameLst>
                                          <p:attrName>ppt_w</p:attrName>
                                        </p:attrNameLst>
                                      </p:cBhvr>
                                      <p:tavLst>
                                        <p:tav tm="0">
                                          <p:val>
                                            <p:fltVal val="0"/>
                                          </p:val>
                                        </p:tav>
                                        <p:tav tm="100000">
                                          <p:val>
                                            <p:strVal val="#ppt_w"/>
                                          </p:val>
                                        </p:tav>
                                      </p:tavLst>
                                    </p:anim>
                                    <p:anim calcmode="lin" valueType="num">
                                      <p:cBhvr>
                                        <p:cTn id="35" dur="500" fill="hold"/>
                                        <p:tgtEl>
                                          <p:spTgt spid="19"/>
                                        </p:tgtEl>
                                        <p:attrNameLst>
                                          <p:attrName>ppt_h</p:attrName>
                                        </p:attrNameLst>
                                      </p:cBhvr>
                                      <p:tavLst>
                                        <p:tav tm="0">
                                          <p:val>
                                            <p:fltVal val="0"/>
                                          </p:val>
                                        </p:tav>
                                        <p:tav tm="100000">
                                          <p:val>
                                            <p:strVal val="#ppt_h"/>
                                          </p:val>
                                        </p:tav>
                                      </p:tavLst>
                                    </p:anim>
                                    <p:anim calcmode="lin" valueType="num">
                                      <p:cBhvr>
                                        <p:cTn id="36" dur="500" fill="hold"/>
                                        <p:tgtEl>
                                          <p:spTgt spid="19"/>
                                        </p:tgtEl>
                                        <p:attrNameLst>
                                          <p:attrName>style.rotation</p:attrName>
                                        </p:attrNameLst>
                                      </p:cBhvr>
                                      <p:tavLst>
                                        <p:tav tm="0">
                                          <p:val>
                                            <p:fltVal val="360"/>
                                          </p:val>
                                        </p:tav>
                                        <p:tav tm="100000">
                                          <p:val>
                                            <p:fltVal val="0"/>
                                          </p:val>
                                        </p:tav>
                                      </p:tavLst>
                                    </p:anim>
                                    <p:animEffect transition="in" filter="fade">
                                      <p:cBhvr>
                                        <p:cTn id="37" dur="500"/>
                                        <p:tgtEl>
                                          <p:spTgt spid="19"/>
                                        </p:tgtEl>
                                      </p:cBhvr>
                                    </p:animEffect>
                                  </p:childTnLst>
                                </p:cTn>
                              </p:par>
                              <p:par>
                                <p:cTn id="38" presetID="49" presetClass="entr" presetSubtype="0" decel="100000" fill="hold" grpId="0" nodeType="withEffect">
                                  <p:stCondLst>
                                    <p:cond delay="0"/>
                                  </p:stCondLst>
                                  <p:iterate type="lt">
                                    <p:tmPct val="20000"/>
                                  </p:iterate>
                                  <p:childTnLst>
                                    <p:set>
                                      <p:cBhvr>
                                        <p:cTn id="39" dur="1" fill="hold">
                                          <p:stCondLst>
                                            <p:cond delay="0"/>
                                          </p:stCondLst>
                                        </p:cTn>
                                        <p:tgtEl>
                                          <p:spTgt spid="12"/>
                                        </p:tgtEl>
                                        <p:attrNameLst>
                                          <p:attrName>style.visibility</p:attrName>
                                        </p:attrNameLst>
                                      </p:cBhvr>
                                      <p:to>
                                        <p:strVal val="visible"/>
                                      </p:to>
                                    </p:set>
                                    <p:anim calcmode="lin" valueType="num">
                                      <p:cBhvr>
                                        <p:cTn id="40" dur="500" fill="hold"/>
                                        <p:tgtEl>
                                          <p:spTgt spid="12"/>
                                        </p:tgtEl>
                                        <p:attrNameLst>
                                          <p:attrName>ppt_w</p:attrName>
                                        </p:attrNameLst>
                                      </p:cBhvr>
                                      <p:tavLst>
                                        <p:tav tm="0">
                                          <p:val>
                                            <p:fltVal val="0"/>
                                          </p:val>
                                        </p:tav>
                                        <p:tav tm="100000">
                                          <p:val>
                                            <p:strVal val="#ppt_w"/>
                                          </p:val>
                                        </p:tav>
                                      </p:tavLst>
                                    </p:anim>
                                    <p:anim calcmode="lin" valueType="num">
                                      <p:cBhvr>
                                        <p:cTn id="41" dur="500" fill="hold"/>
                                        <p:tgtEl>
                                          <p:spTgt spid="12"/>
                                        </p:tgtEl>
                                        <p:attrNameLst>
                                          <p:attrName>ppt_h</p:attrName>
                                        </p:attrNameLst>
                                      </p:cBhvr>
                                      <p:tavLst>
                                        <p:tav tm="0">
                                          <p:val>
                                            <p:fltVal val="0"/>
                                          </p:val>
                                        </p:tav>
                                        <p:tav tm="100000">
                                          <p:val>
                                            <p:strVal val="#ppt_h"/>
                                          </p:val>
                                        </p:tav>
                                      </p:tavLst>
                                    </p:anim>
                                    <p:anim calcmode="lin" valueType="num">
                                      <p:cBhvr>
                                        <p:cTn id="42" dur="500" fill="hold"/>
                                        <p:tgtEl>
                                          <p:spTgt spid="12"/>
                                        </p:tgtEl>
                                        <p:attrNameLst>
                                          <p:attrName>style.rotation</p:attrName>
                                        </p:attrNameLst>
                                      </p:cBhvr>
                                      <p:tavLst>
                                        <p:tav tm="0">
                                          <p:val>
                                            <p:fltVal val="360"/>
                                          </p:val>
                                        </p:tav>
                                        <p:tav tm="100000">
                                          <p:val>
                                            <p:fltVal val="0"/>
                                          </p:val>
                                        </p:tav>
                                      </p:tavLst>
                                    </p:anim>
                                    <p:animEffect transition="in" filter="fade">
                                      <p:cBhvr>
                                        <p:cTn id="43" dur="500"/>
                                        <p:tgtEl>
                                          <p:spTgt spid="12"/>
                                        </p:tgtEl>
                                      </p:cBhvr>
                                    </p:animEffect>
                                  </p:childTnLst>
                                </p:cTn>
                              </p:par>
                              <p:par>
                                <p:cTn id="44" presetID="10" presetClass="entr" presetSubtype="0" fill="hold" grpId="0" nodeType="withEffect">
                                  <p:stCondLst>
                                    <p:cond delay="0"/>
                                  </p:stCondLst>
                                  <p:iterate type="lt">
                                    <p:tmPct val="4935"/>
                                  </p:iterate>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childTnLst>
                    </p:cTn>
                  </p:par>
                  <p:par>
                    <p:cTn id="47" fill="hold">
                      <p:stCondLst>
                        <p:cond delay="indefinite"/>
                      </p:stCondLst>
                      <p:childTnLst>
                        <p:par>
                          <p:cTn id="48" fill="hold">
                            <p:stCondLst>
                              <p:cond delay="0"/>
                            </p:stCondLst>
                            <p:childTnLst>
                              <p:par>
                                <p:cTn id="49" presetID="22" presetClass="entr" presetSubtype="8" fill="hold" grpId="0" nodeType="click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ipe(left)">
                                      <p:cBhvr>
                                        <p:cTn id="51" dur="500"/>
                                        <p:tgtEl>
                                          <p:spTgt spid="18"/>
                                        </p:tgtEl>
                                      </p:cBhvr>
                                    </p:animEffect>
                                  </p:childTnLst>
                                </p:cTn>
                              </p:par>
                              <p:par>
                                <p:cTn id="52" presetID="49" presetClass="entr" presetSubtype="0" decel="100000" fill="hold" grpId="0" nodeType="withEffect">
                                  <p:stCondLst>
                                    <p:cond delay="0"/>
                                  </p:stCondLst>
                                  <p:iterate type="lt">
                                    <p:tmPct val="20000"/>
                                  </p:iterate>
                                  <p:childTnLst>
                                    <p:set>
                                      <p:cBhvr>
                                        <p:cTn id="53" dur="1" fill="hold">
                                          <p:stCondLst>
                                            <p:cond delay="0"/>
                                          </p:stCondLst>
                                        </p:cTn>
                                        <p:tgtEl>
                                          <p:spTgt spid="15"/>
                                        </p:tgtEl>
                                        <p:attrNameLst>
                                          <p:attrName>style.visibility</p:attrName>
                                        </p:attrNameLst>
                                      </p:cBhvr>
                                      <p:to>
                                        <p:strVal val="visible"/>
                                      </p:to>
                                    </p:set>
                                    <p:anim calcmode="lin" valueType="num">
                                      <p:cBhvr>
                                        <p:cTn id="54" dur="500" fill="hold"/>
                                        <p:tgtEl>
                                          <p:spTgt spid="15"/>
                                        </p:tgtEl>
                                        <p:attrNameLst>
                                          <p:attrName>ppt_w</p:attrName>
                                        </p:attrNameLst>
                                      </p:cBhvr>
                                      <p:tavLst>
                                        <p:tav tm="0">
                                          <p:val>
                                            <p:fltVal val="0"/>
                                          </p:val>
                                        </p:tav>
                                        <p:tav tm="100000">
                                          <p:val>
                                            <p:strVal val="#ppt_w"/>
                                          </p:val>
                                        </p:tav>
                                      </p:tavLst>
                                    </p:anim>
                                    <p:anim calcmode="lin" valueType="num">
                                      <p:cBhvr>
                                        <p:cTn id="55" dur="500" fill="hold"/>
                                        <p:tgtEl>
                                          <p:spTgt spid="15"/>
                                        </p:tgtEl>
                                        <p:attrNameLst>
                                          <p:attrName>ppt_h</p:attrName>
                                        </p:attrNameLst>
                                      </p:cBhvr>
                                      <p:tavLst>
                                        <p:tav tm="0">
                                          <p:val>
                                            <p:fltVal val="0"/>
                                          </p:val>
                                        </p:tav>
                                        <p:tav tm="100000">
                                          <p:val>
                                            <p:strVal val="#ppt_h"/>
                                          </p:val>
                                        </p:tav>
                                      </p:tavLst>
                                    </p:anim>
                                    <p:anim calcmode="lin" valueType="num">
                                      <p:cBhvr>
                                        <p:cTn id="56" dur="500" fill="hold"/>
                                        <p:tgtEl>
                                          <p:spTgt spid="15"/>
                                        </p:tgtEl>
                                        <p:attrNameLst>
                                          <p:attrName>style.rotation</p:attrName>
                                        </p:attrNameLst>
                                      </p:cBhvr>
                                      <p:tavLst>
                                        <p:tav tm="0">
                                          <p:val>
                                            <p:fltVal val="360"/>
                                          </p:val>
                                        </p:tav>
                                        <p:tav tm="100000">
                                          <p:val>
                                            <p:fltVal val="0"/>
                                          </p:val>
                                        </p:tav>
                                      </p:tavLst>
                                    </p:anim>
                                    <p:animEffect transition="in" filter="fade">
                                      <p:cBhvr>
                                        <p:cTn id="57" dur="500"/>
                                        <p:tgtEl>
                                          <p:spTgt spid="15"/>
                                        </p:tgtEl>
                                      </p:cBhvr>
                                    </p:animEffect>
                                  </p:childTnLst>
                                </p:cTn>
                              </p:par>
                              <p:par>
                                <p:cTn id="58" presetID="10" presetClass="entr" presetSubtype="0" fill="hold" grpId="0" nodeType="withEffect">
                                  <p:stCondLst>
                                    <p:cond delay="0"/>
                                  </p:stCondLst>
                                  <p:iterate type="lt">
                                    <p:tmPct val="3505"/>
                                  </p:iterate>
                                  <p:childTnLst>
                                    <p:set>
                                      <p:cBhvr>
                                        <p:cTn id="59" dur="1" fill="hold">
                                          <p:stCondLst>
                                            <p:cond delay="0"/>
                                          </p:stCondLst>
                                        </p:cTn>
                                        <p:tgtEl>
                                          <p:spTgt spid="16"/>
                                        </p:tgtEl>
                                        <p:attrNameLst>
                                          <p:attrName>style.visibility</p:attrName>
                                        </p:attrNameLst>
                                      </p:cBhvr>
                                      <p:to>
                                        <p:strVal val="visible"/>
                                      </p:to>
                                    </p:set>
                                    <p:animEffect transition="in" filter="fade">
                                      <p:cBhvr>
                                        <p:cTn id="60" dur="500"/>
                                        <p:tgtEl>
                                          <p:spTgt spid="16"/>
                                        </p:tgtEl>
                                      </p:cBhvr>
                                    </p:animEffect>
                                  </p:childTnLst>
                                </p:cTn>
                              </p:par>
                            </p:childTnLst>
                          </p:cTn>
                        </p:par>
                      </p:childTnLst>
                    </p:cTn>
                  </p:par>
                  <p:par>
                    <p:cTn id="61" fill="hold">
                      <p:stCondLst>
                        <p:cond delay="indefinite"/>
                      </p:stCondLst>
                      <p:childTnLst>
                        <p:par>
                          <p:cTn id="62" fill="hold">
                            <p:stCondLst>
                              <p:cond delay="0"/>
                            </p:stCondLst>
                            <p:childTnLst>
                              <p:par>
                                <p:cTn id="63" presetID="2" presetClass="entr" presetSubtype="4" decel="100000" fill="hold" grpId="0" nodeType="clickEffect">
                                  <p:stCondLst>
                                    <p:cond delay="0"/>
                                  </p:stCondLst>
                                  <p:iterate type="lt">
                                    <p:tmPct val="2000"/>
                                  </p:iterate>
                                  <p:childTnLst>
                                    <p:set>
                                      <p:cBhvr>
                                        <p:cTn id="64" dur="1" fill="hold">
                                          <p:stCondLst>
                                            <p:cond delay="0"/>
                                          </p:stCondLst>
                                        </p:cTn>
                                        <p:tgtEl>
                                          <p:spTgt spid="10"/>
                                        </p:tgtEl>
                                        <p:attrNameLst>
                                          <p:attrName>style.visibility</p:attrName>
                                        </p:attrNameLst>
                                      </p:cBhvr>
                                      <p:to>
                                        <p:strVal val="visible"/>
                                      </p:to>
                                    </p:set>
                                    <p:anim calcmode="lin" valueType="num">
                                      <p:cBhvr additive="base">
                                        <p:cTn id="65" dur="500" fill="hold"/>
                                        <p:tgtEl>
                                          <p:spTgt spid="10"/>
                                        </p:tgtEl>
                                        <p:attrNameLst>
                                          <p:attrName>ppt_x</p:attrName>
                                        </p:attrNameLst>
                                      </p:cBhvr>
                                      <p:tavLst>
                                        <p:tav tm="0">
                                          <p:val>
                                            <p:strVal val="#ppt_x"/>
                                          </p:val>
                                        </p:tav>
                                        <p:tav tm="100000">
                                          <p:val>
                                            <p:strVal val="#ppt_x"/>
                                          </p:val>
                                        </p:tav>
                                      </p:tavLst>
                                    </p:anim>
                                    <p:anim calcmode="lin" valueType="num">
                                      <p:cBhvr additive="base">
                                        <p:cTn id="66"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2" presetClass="entr" presetSubtype="8" fill="hold" nodeType="clickEffect">
                                  <p:stCondLst>
                                    <p:cond delay="0"/>
                                  </p:stCondLst>
                                  <p:childTnLst>
                                    <p:set>
                                      <p:cBhvr>
                                        <p:cTn id="70" dur="1" fill="hold">
                                          <p:stCondLst>
                                            <p:cond delay="0"/>
                                          </p:stCondLst>
                                        </p:cTn>
                                        <p:tgtEl>
                                          <p:spTgt spid="11"/>
                                        </p:tgtEl>
                                        <p:attrNameLst>
                                          <p:attrName>style.visibility</p:attrName>
                                        </p:attrNameLst>
                                      </p:cBhvr>
                                      <p:to>
                                        <p:strVal val="visible"/>
                                      </p:to>
                                    </p:set>
                                    <p:animEffect transition="in" filter="wipe(left)">
                                      <p:cBhvr>
                                        <p:cTn id="71" dur="500"/>
                                        <p:tgtEl>
                                          <p:spTgt spid="11"/>
                                        </p:tgtEl>
                                      </p:cBhvr>
                                    </p:animEffect>
                                  </p:childTnLst>
                                </p:cTn>
                              </p:par>
                            </p:childTnLst>
                          </p:cTn>
                        </p:par>
                        <p:par>
                          <p:cTn id="72" fill="hold">
                            <p:stCondLst>
                              <p:cond delay="500"/>
                            </p:stCondLst>
                            <p:childTnLst>
                              <p:par>
                                <p:cTn id="73" presetID="2" presetClass="entr" presetSubtype="4" decel="100000" fill="hold" grpId="0" nodeType="afterEffect">
                                  <p:stCondLst>
                                    <p:cond delay="0"/>
                                  </p:stCondLst>
                                  <p:childTnLst>
                                    <p:set>
                                      <p:cBhvr>
                                        <p:cTn id="74" dur="1" fill="hold">
                                          <p:stCondLst>
                                            <p:cond delay="0"/>
                                          </p:stCondLst>
                                        </p:cTn>
                                        <p:tgtEl>
                                          <p:spTgt spid="35"/>
                                        </p:tgtEl>
                                        <p:attrNameLst>
                                          <p:attrName>style.visibility</p:attrName>
                                        </p:attrNameLst>
                                      </p:cBhvr>
                                      <p:to>
                                        <p:strVal val="visible"/>
                                      </p:to>
                                    </p:set>
                                    <p:anim calcmode="lin" valueType="num">
                                      <p:cBhvr additive="base">
                                        <p:cTn id="75" dur="1500" fill="hold"/>
                                        <p:tgtEl>
                                          <p:spTgt spid="35"/>
                                        </p:tgtEl>
                                        <p:attrNameLst>
                                          <p:attrName>ppt_x</p:attrName>
                                        </p:attrNameLst>
                                      </p:cBhvr>
                                      <p:tavLst>
                                        <p:tav tm="0">
                                          <p:val>
                                            <p:strVal val="#ppt_x"/>
                                          </p:val>
                                        </p:tav>
                                        <p:tav tm="100000">
                                          <p:val>
                                            <p:strVal val="#ppt_x"/>
                                          </p:val>
                                        </p:tav>
                                      </p:tavLst>
                                    </p:anim>
                                    <p:anim calcmode="lin" valueType="num">
                                      <p:cBhvr additive="base">
                                        <p:cTn id="76" dur="1500" fill="hold"/>
                                        <p:tgtEl>
                                          <p:spTgt spid="35"/>
                                        </p:tgtEl>
                                        <p:attrNameLst>
                                          <p:attrName>ppt_y</p:attrName>
                                        </p:attrNameLst>
                                      </p:cBhvr>
                                      <p:tavLst>
                                        <p:tav tm="0">
                                          <p:val>
                                            <p:strVal val="1+#ppt_h/2"/>
                                          </p:val>
                                        </p:tav>
                                        <p:tav tm="100000">
                                          <p:val>
                                            <p:strVal val="#ppt_y"/>
                                          </p:val>
                                        </p:tav>
                                      </p:tavLst>
                                    </p:anim>
                                  </p:childTnLst>
                                </p:cTn>
                              </p:par>
                              <p:par>
                                <p:cTn id="77" presetID="2" presetClass="entr" presetSubtype="4" decel="100000" fill="hold" grpId="0" nodeType="withEffect">
                                  <p:stCondLst>
                                    <p:cond delay="200"/>
                                  </p:stCondLst>
                                  <p:childTnLst>
                                    <p:set>
                                      <p:cBhvr>
                                        <p:cTn id="78" dur="1" fill="hold">
                                          <p:stCondLst>
                                            <p:cond delay="0"/>
                                          </p:stCondLst>
                                        </p:cTn>
                                        <p:tgtEl>
                                          <p:spTgt spid="36"/>
                                        </p:tgtEl>
                                        <p:attrNameLst>
                                          <p:attrName>style.visibility</p:attrName>
                                        </p:attrNameLst>
                                      </p:cBhvr>
                                      <p:to>
                                        <p:strVal val="visible"/>
                                      </p:to>
                                    </p:set>
                                    <p:anim calcmode="lin" valueType="num">
                                      <p:cBhvr additive="base">
                                        <p:cTn id="79" dur="1500" fill="hold"/>
                                        <p:tgtEl>
                                          <p:spTgt spid="36"/>
                                        </p:tgtEl>
                                        <p:attrNameLst>
                                          <p:attrName>ppt_x</p:attrName>
                                        </p:attrNameLst>
                                      </p:cBhvr>
                                      <p:tavLst>
                                        <p:tav tm="0">
                                          <p:val>
                                            <p:strVal val="#ppt_x"/>
                                          </p:val>
                                        </p:tav>
                                        <p:tav tm="100000">
                                          <p:val>
                                            <p:strVal val="#ppt_x"/>
                                          </p:val>
                                        </p:tav>
                                      </p:tavLst>
                                    </p:anim>
                                    <p:anim calcmode="lin" valueType="num">
                                      <p:cBhvr additive="base">
                                        <p:cTn id="80" dur="1500" fill="hold"/>
                                        <p:tgtEl>
                                          <p:spTgt spid="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2" grpId="0"/>
      <p:bldP spid="15" grpId="0"/>
      <p:bldP spid="16" grpId="0"/>
      <p:bldP spid="17" grpId="0"/>
      <p:bldP spid="18" grpId="0" animBg="1"/>
      <p:bldP spid="30" grpId="0"/>
      <p:bldP spid="34" grpId="0"/>
      <p:bldP spid="3" grpId="0"/>
      <p:bldP spid="3" grpId="1"/>
      <p:bldP spid="35" grpId="0"/>
      <p:bldP spid="3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5639233" y="0"/>
            <a:ext cx="6552767" cy="685800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106" name="图片 105"/>
          <p:cNvPicPr>
            <a:picLocks noChangeAspect="1"/>
          </p:cNvPicPr>
          <p:nvPr/>
        </p:nvPicPr>
        <p:blipFill rotWithShape="1">
          <a:blip r:embed="rId2" cstate="screen"/>
          <a:srcRect/>
          <a:stretch>
            <a:fillRect/>
          </a:stretch>
        </p:blipFill>
        <p:spPr>
          <a:xfrm flipH="1">
            <a:off x="6162372" y="2961080"/>
            <a:ext cx="6546186" cy="3896920"/>
          </a:xfrm>
          <a:prstGeom prst="rect">
            <a:avLst/>
          </a:prstGeom>
          <a:effectLst>
            <a:softEdge rad="635000"/>
          </a:effectLst>
        </p:spPr>
      </p:pic>
      <p:pic>
        <p:nvPicPr>
          <p:cNvPr id="4" name="图片 3"/>
          <p:cNvPicPr>
            <a:picLocks noChangeAspect="1"/>
          </p:cNvPicPr>
          <p:nvPr/>
        </p:nvPicPr>
        <p:blipFill rotWithShape="1">
          <a:blip r:embed="rId3" cstate="screen">
            <a:clrChange>
              <a:clrFrom>
                <a:srgbClr val="000000"/>
              </a:clrFrom>
              <a:clrTo>
                <a:srgbClr val="000000">
                  <a:alpha val="0"/>
                </a:srgbClr>
              </a:clrTo>
            </a:clrChange>
          </a:blip>
          <a:srcRect/>
          <a:stretch>
            <a:fillRect/>
          </a:stretch>
        </p:blipFill>
        <p:spPr>
          <a:xfrm>
            <a:off x="7011349" y="720047"/>
            <a:ext cx="914360" cy="1787365"/>
          </a:xfrm>
          <a:prstGeom prst="rect">
            <a:avLst/>
          </a:prstGeom>
        </p:spPr>
      </p:pic>
      <p:pic>
        <p:nvPicPr>
          <p:cNvPr id="6" name="图片 5"/>
          <p:cNvPicPr>
            <a:picLocks noChangeAspect="1"/>
          </p:cNvPicPr>
          <p:nvPr/>
        </p:nvPicPr>
        <p:blipFill rotWithShape="1">
          <a:blip r:embed="rId4" cstate="screen">
            <a:clrChange>
              <a:clrFrom>
                <a:srgbClr val="000000"/>
              </a:clrFrom>
              <a:clrTo>
                <a:srgbClr val="000000">
                  <a:alpha val="0"/>
                </a:srgbClr>
              </a:clrTo>
            </a:clrChange>
          </a:blip>
          <a:srcRect/>
          <a:stretch>
            <a:fillRect/>
          </a:stretch>
        </p:blipFill>
        <p:spPr>
          <a:xfrm>
            <a:off x="9264420" y="944211"/>
            <a:ext cx="1062161" cy="1750117"/>
          </a:xfrm>
          <a:prstGeom prst="rect">
            <a:avLst/>
          </a:prstGeom>
        </p:spPr>
      </p:pic>
      <p:pic>
        <p:nvPicPr>
          <p:cNvPr id="7" name="图片 6"/>
          <p:cNvPicPr>
            <a:picLocks noChangeAspect="1"/>
          </p:cNvPicPr>
          <p:nvPr/>
        </p:nvPicPr>
        <p:blipFill rotWithShape="1">
          <a:blip r:embed="rId5" cstate="screen">
            <a:clrChange>
              <a:clrFrom>
                <a:srgbClr val="000000"/>
              </a:clrFrom>
              <a:clrTo>
                <a:srgbClr val="000000">
                  <a:alpha val="0"/>
                </a:srgbClr>
              </a:clrTo>
            </a:clrChange>
          </a:blip>
          <a:srcRect/>
          <a:stretch>
            <a:fillRect/>
          </a:stretch>
        </p:blipFill>
        <p:spPr>
          <a:xfrm>
            <a:off x="5915977" y="2578479"/>
            <a:ext cx="1325331" cy="1329058"/>
          </a:xfrm>
          <a:prstGeom prst="rect">
            <a:avLst/>
          </a:prstGeom>
        </p:spPr>
      </p:pic>
      <p:pic>
        <p:nvPicPr>
          <p:cNvPr id="8" name="图片 7"/>
          <p:cNvPicPr>
            <a:picLocks noChangeAspect="1"/>
          </p:cNvPicPr>
          <p:nvPr/>
        </p:nvPicPr>
        <p:blipFill rotWithShape="1">
          <a:blip r:embed="rId6" cstate="screen">
            <a:clrChange>
              <a:clrFrom>
                <a:srgbClr val="000000"/>
              </a:clrFrom>
              <a:clrTo>
                <a:srgbClr val="000000">
                  <a:alpha val="0"/>
                </a:srgbClr>
              </a:clrTo>
            </a:clrChange>
          </a:blip>
          <a:srcRect/>
          <a:stretch>
            <a:fillRect/>
          </a:stretch>
        </p:blipFill>
        <p:spPr>
          <a:xfrm>
            <a:off x="9702969" y="2636301"/>
            <a:ext cx="1317244" cy="1415098"/>
          </a:xfrm>
          <a:prstGeom prst="rect">
            <a:avLst/>
          </a:prstGeom>
        </p:spPr>
      </p:pic>
      <p:pic>
        <p:nvPicPr>
          <p:cNvPr id="9" name="图片 8"/>
          <p:cNvPicPr>
            <a:picLocks noChangeAspect="1"/>
          </p:cNvPicPr>
          <p:nvPr/>
        </p:nvPicPr>
        <p:blipFill rotWithShape="1">
          <a:blip r:embed="rId7" cstate="screen">
            <a:clrChange>
              <a:clrFrom>
                <a:srgbClr val="000000"/>
              </a:clrFrom>
              <a:clrTo>
                <a:srgbClr val="000000">
                  <a:alpha val="0"/>
                </a:srgbClr>
              </a:clrTo>
            </a:clrChange>
          </a:blip>
          <a:srcRect/>
          <a:stretch>
            <a:fillRect/>
          </a:stretch>
        </p:blipFill>
        <p:spPr>
          <a:xfrm>
            <a:off x="7683200" y="2193516"/>
            <a:ext cx="1846246" cy="1985212"/>
          </a:xfrm>
          <a:custGeom>
            <a:avLst/>
            <a:gdLst>
              <a:gd name="connsiteX0" fmla="*/ 1512854 w 1846246"/>
              <a:gd name="connsiteY0" fmla="*/ 23041 h 1985212"/>
              <a:gd name="connsiteX1" fmla="*/ 1512854 w 1846246"/>
              <a:gd name="connsiteY1" fmla="*/ 365200 h 1985212"/>
              <a:gd name="connsiteX2" fmla="*/ 1801504 w 1846246"/>
              <a:gd name="connsiteY2" fmla="*/ 365200 h 1985212"/>
              <a:gd name="connsiteX3" fmla="*/ 1801504 w 1846246"/>
              <a:gd name="connsiteY3" fmla="*/ 23041 h 1985212"/>
              <a:gd name="connsiteX4" fmla="*/ 0 w 1846246"/>
              <a:gd name="connsiteY4" fmla="*/ 0 h 1985212"/>
              <a:gd name="connsiteX5" fmla="*/ 45351 w 1846246"/>
              <a:gd name="connsiteY5" fmla="*/ 0 h 1985212"/>
              <a:gd name="connsiteX6" fmla="*/ 45351 w 1846246"/>
              <a:gd name="connsiteY6" fmla="*/ 360944 h 1985212"/>
              <a:gd name="connsiteX7" fmla="*/ 383642 w 1846246"/>
              <a:gd name="connsiteY7" fmla="*/ 360944 h 1985212"/>
              <a:gd name="connsiteX8" fmla="*/ 383642 w 1846246"/>
              <a:gd name="connsiteY8" fmla="*/ 0 h 1985212"/>
              <a:gd name="connsiteX9" fmla="*/ 1846246 w 1846246"/>
              <a:gd name="connsiteY9" fmla="*/ 0 h 1985212"/>
              <a:gd name="connsiteX10" fmla="*/ 1846246 w 1846246"/>
              <a:gd name="connsiteY10" fmla="*/ 1985212 h 1985212"/>
              <a:gd name="connsiteX11" fmla="*/ 0 w 1846246"/>
              <a:gd name="connsiteY11" fmla="*/ 1985212 h 198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6246" h="1985212">
                <a:moveTo>
                  <a:pt x="1512854" y="23041"/>
                </a:moveTo>
                <a:lnTo>
                  <a:pt x="1512854" y="365200"/>
                </a:lnTo>
                <a:lnTo>
                  <a:pt x="1801504" y="365200"/>
                </a:lnTo>
                <a:lnTo>
                  <a:pt x="1801504" y="23041"/>
                </a:lnTo>
                <a:close/>
                <a:moveTo>
                  <a:pt x="0" y="0"/>
                </a:moveTo>
                <a:lnTo>
                  <a:pt x="45351" y="0"/>
                </a:lnTo>
                <a:lnTo>
                  <a:pt x="45351" y="360944"/>
                </a:lnTo>
                <a:lnTo>
                  <a:pt x="383642" y="360944"/>
                </a:lnTo>
                <a:lnTo>
                  <a:pt x="383642" y="0"/>
                </a:lnTo>
                <a:lnTo>
                  <a:pt x="1846246" y="0"/>
                </a:lnTo>
                <a:lnTo>
                  <a:pt x="1846246" y="1985212"/>
                </a:lnTo>
                <a:lnTo>
                  <a:pt x="0" y="1985212"/>
                </a:lnTo>
                <a:close/>
              </a:path>
            </a:pathLst>
          </a:custGeom>
        </p:spPr>
      </p:pic>
      <p:grpSp>
        <p:nvGrpSpPr>
          <p:cNvPr id="49" name="组合 48"/>
          <p:cNvGrpSpPr/>
          <p:nvPr/>
        </p:nvGrpSpPr>
        <p:grpSpPr>
          <a:xfrm>
            <a:off x="1265423" y="1961577"/>
            <a:ext cx="2163074" cy="2184400"/>
            <a:chOff x="4772660" y="2064398"/>
            <a:chExt cx="2702560" cy="2729204"/>
          </a:xfrm>
        </p:grpSpPr>
        <p:cxnSp>
          <p:nvCxnSpPr>
            <p:cNvPr id="50" name="直接箭头连接符 49"/>
            <p:cNvCxnSpPr/>
            <p:nvPr/>
          </p:nvCxnSpPr>
          <p:spPr>
            <a:xfrm flipH="1">
              <a:off x="5591041" y="2064398"/>
              <a:ext cx="982057" cy="0"/>
            </a:xfrm>
            <a:prstGeom prst="straightConnector1">
              <a:avLst/>
            </a:prstGeom>
            <a:ln>
              <a:solidFill>
                <a:schemeClr val="bg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51" name="直接箭头连接符 50"/>
            <p:cNvCxnSpPr/>
            <p:nvPr/>
          </p:nvCxnSpPr>
          <p:spPr>
            <a:xfrm>
              <a:off x="5591041" y="4793602"/>
              <a:ext cx="982057" cy="0"/>
            </a:xfrm>
            <a:prstGeom prst="straightConnector1">
              <a:avLst/>
            </a:prstGeom>
            <a:ln>
              <a:solidFill>
                <a:schemeClr val="bg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flipH="1">
              <a:off x="4772660" y="2445040"/>
              <a:ext cx="346384" cy="612834"/>
            </a:xfrm>
            <a:prstGeom prst="line">
              <a:avLst/>
            </a:prstGeom>
            <a:ln>
              <a:solidFill>
                <a:schemeClr val="bg1"/>
              </a:solidFill>
              <a:prstDash val="dashDot"/>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flipH="1">
              <a:off x="7128836" y="3830577"/>
              <a:ext cx="346384" cy="612834"/>
            </a:xfrm>
            <a:prstGeom prst="line">
              <a:avLst/>
            </a:prstGeom>
            <a:ln>
              <a:solidFill>
                <a:schemeClr val="bg1"/>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4772660" y="3830577"/>
              <a:ext cx="346384" cy="578576"/>
            </a:xfrm>
            <a:prstGeom prst="line">
              <a:avLst/>
            </a:prstGeom>
            <a:ln>
              <a:solidFill>
                <a:schemeClr val="bg1">
                  <a:alpha val="30000"/>
                </a:schemeClr>
              </a:solidFill>
              <a:prstDash val="lg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7128836" y="2445040"/>
              <a:ext cx="346384" cy="578576"/>
            </a:xfrm>
            <a:prstGeom prst="line">
              <a:avLst/>
            </a:prstGeom>
            <a:ln>
              <a:solidFill>
                <a:schemeClr val="bg1"/>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6344713" y="3821061"/>
              <a:ext cx="346384" cy="578576"/>
            </a:xfrm>
            <a:prstGeom prst="line">
              <a:avLst/>
            </a:prstGeom>
            <a:ln>
              <a:solidFill>
                <a:schemeClr val="bg1"/>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5558686" y="2458364"/>
              <a:ext cx="346384" cy="578576"/>
            </a:xfrm>
            <a:prstGeom prst="line">
              <a:avLst/>
            </a:prstGeom>
            <a:ln>
              <a:solidFill>
                <a:schemeClr val="bg1"/>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flipH="1">
              <a:off x="6329487" y="2481201"/>
              <a:ext cx="337820" cy="576673"/>
            </a:xfrm>
            <a:prstGeom prst="line">
              <a:avLst/>
            </a:prstGeom>
            <a:ln>
              <a:solidFill>
                <a:schemeClr val="bg1">
                  <a:alpha val="30000"/>
                </a:schemeClr>
              </a:solidFill>
              <a:prstDash val="lgDash"/>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flipH="1">
              <a:off x="5556783" y="3830577"/>
              <a:ext cx="337820" cy="576673"/>
            </a:xfrm>
            <a:prstGeom prst="line">
              <a:avLst/>
            </a:prstGeom>
            <a:ln>
              <a:solidFill>
                <a:schemeClr val="bg1"/>
              </a:solidFill>
              <a:prstDash val="dashDot"/>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4945852" y="3423292"/>
              <a:ext cx="896413" cy="0"/>
            </a:xfrm>
            <a:prstGeom prst="line">
              <a:avLst/>
            </a:prstGeom>
            <a:ln>
              <a:solidFill>
                <a:schemeClr val="bg1"/>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a:off x="6453196" y="3423292"/>
              <a:ext cx="896413" cy="0"/>
            </a:xfrm>
            <a:prstGeom prst="line">
              <a:avLst/>
            </a:prstGeom>
            <a:ln>
              <a:solidFill>
                <a:schemeClr val="bg1"/>
              </a:solidFill>
              <a:prstDash val="dashDot"/>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sp>
        <p:nvSpPr>
          <p:cNvPr id="62" name="文本框 61"/>
          <p:cNvSpPr txBox="1"/>
          <p:nvPr/>
        </p:nvSpPr>
        <p:spPr>
          <a:xfrm>
            <a:off x="2152641" y="2798009"/>
            <a:ext cx="426720" cy="461665"/>
          </a:xfrm>
          <a:prstGeom prst="rect">
            <a:avLst/>
          </a:prstGeom>
          <a:noFill/>
        </p:spPr>
        <p:txBody>
          <a:bodyPr wrap="square" rtlCol="0">
            <a:spAutoFit/>
          </a:bodyPr>
          <a:lstStyle/>
          <a:p>
            <a:pPr algn="ctr"/>
            <a:r>
              <a:rPr lang="en-US" altLang="zh-CN" sz="2400" dirty="0">
                <a:solidFill>
                  <a:schemeClr val="bg1"/>
                </a:solidFill>
                <a:cs typeface="+mn-ea"/>
                <a:sym typeface="+mn-lt"/>
              </a:rPr>
              <a:t>E</a:t>
            </a:r>
            <a:endParaRPr lang="zh-CN" altLang="en-US" sz="2400" dirty="0">
              <a:solidFill>
                <a:schemeClr val="bg1"/>
              </a:solidFill>
              <a:cs typeface="+mn-ea"/>
              <a:sym typeface="+mn-lt"/>
            </a:endParaRPr>
          </a:p>
        </p:txBody>
      </p:sp>
      <p:sp>
        <p:nvSpPr>
          <p:cNvPr id="63" name="文本框 62"/>
          <p:cNvSpPr txBox="1"/>
          <p:nvPr/>
        </p:nvSpPr>
        <p:spPr>
          <a:xfrm>
            <a:off x="1522379" y="1804570"/>
            <a:ext cx="426720" cy="461665"/>
          </a:xfrm>
          <a:prstGeom prst="rect">
            <a:avLst/>
          </a:prstGeom>
          <a:noFill/>
        </p:spPr>
        <p:txBody>
          <a:bodyPr wrap="square" rtlCol="0">
            <a:spAutoFit/>
          </a:bodyPr>
          <a:lstStyle/>
          <a:p>
            <a:pPr algn="ctr"/>
            <a:r>
              <a:rPr lang="en-US" altLang="zh-CN" sz="2400" dirty="0">
                <a:solidFill>
                  <a:schemeClr val="bg1"/>
                </a:solidFill>
                <a:cs typeface="+mn-ea"/>
                <a:sym typeface="+mn-lt"/>
              </a:rPr>
              <a:t>A</a:t>
            </a:r>
            <a:endParaRPr lang="zh-CN" altLang="en-US" sz="2400" dirty="0">
              <a:solidFill>
                <a:schemeClr val="bg1"/>
              </a:solidFill>
              <a:cs typeface="+mn-ea"/>
              <a:sym typeface="+mn-lt"/>
            </a:endParaRPr>
          </a:p>
        </p:txBody>
      </p:sp>
      <p:sp>
        <p:nvSpPr>
          <p:cNvPr id="64" name="文本框 63"/>
          <p:cNvSpPr txBox="1"/>
          <p:nvPr/>
        </p:nvSpPr>
        <p:spPr>
          <a:xfrm>
            <a:off x="2718719" y="1804570"/>
            <a:ext cx="426720" cy="461665"/>
          </a:xfrm>
          <a:prstGeom prst="rect">
            <a:avLst/>
          </a:prstGeom>
          <a:noFill/>
        </p:spPr>
        <p:txBody>
          <a:bodyPr wrap="square" rtlCol="0">
            <a:spAutoFit/>
          </a:bodyPr>
          <a:lstStyle/>
          <a:p>
            <a:pPr algn="ctr"/>
            <a:r>
              <a:rPr lang="en-US" altLang="zh-CN" sz="2400" dirty="0">
                <a:solidFill>
                  <a:schemeClr val="bg1"/>
                </a:solidFill>
                <a:cs typeface="+mn-ea"/>
                <a:sym typeface="+mn-lt"/>
              </a:rPr>
              <a:t>B</a:t>
            </a:r>
            <a:endParaRPr lang="zh-CN" altLang="en-US" sz="2400" dirty="0">
              <a:solidFill>
                <a:schemeClr val="bg1"/>
              </a:solidFill>
              <a:cs typeface="+mn-ea"/>
              <a:sym typeface="+mn-lt"/>
            </a:endParaRPr>
          </a:p>
        </p:txBody>
      </p:sp>
      <p:sp>
        <p:nvSpPr>
          <p:cNvPr id="65" name="文本框 64"/>
          <p:cNvSpPr txBox="1"/>
          <p:nvPr/>
        </p:nvSpPr>
        <p:spPr>
          <a:xfrm>
            <a:off x="1010553" y="2810410"/>
            <a:ext cx="426720" cy="461665"/>
          </a:xfrm>
          <a:prstGeom prst="rect">
            <a:avLst/>
          </a:prstGeom>
          <a:noFill/>
        </p:spPr>
        <p:txBody>
          <a:bodyPr wrap="square" rtlCol="0">
            <a:spAutoFit/>
          </a:bodyPr>
          <a:lstStyle/>
          <a:p>
            <a:pPr algn="ctr"/>
            <a:r>
              <a:rPr lang="en-US" altLang="zh-CN" sz="2400" dirty="0">
                <a:solidFill>
                  <a:schemeClr val="bg1"/>
                </a:solidFill>
                <a:cs typeface="+mn-ea"/>
                <a:sym typeface="+mn-lt"/>
              </a:rPr>
              <a:t>C</a:t>
            </a:r>
            <a:endParaRPr lang="zh-CN" altLang="en-US" sz="2400" dirty="0">
              <a:solidFill>
                <a:schemeClr val="bg1"/>
              </a:solidFill>
              <a:cs typeface="+mn-ea"/>
              <a:sym typeface="+mn-lt"/>
            </a:endParaRPr>
          </a:p>
        </p:txBody>
      </p:sp>
      <p:sp>
        <p:nvSpPr>
          <p:cNvPr id="66" name="文本框 65"/>
          <p:cNvSpPr txBox="1"/>
          <p:nvPr/>
        </p:nvSpPr>
        <p:spPr>
          <a:xfrm>
            <a:off x="3299093" y="2810410"/>
            <a:ext cx="426720" cy="461665"/>
          </a:xfrm>
          <a:prstGeom prst="rect">
            <a:avLst/>
          </a:prstGeom>
          <a:noFill/>
        </p:spPr>
        <p:txBody>
          <a:bodyPr wrap="square" rtlCol="0">
            <a:spAutoFit/>
          </a:bodyPr>
          <a:lstStyle/>
          <a:p>
            <a:pPr algn="ctr"/>
            <a:r>
              <a:rPr lang="en-US" altLang="zh-CN" sz="2400" dirty="0">
                <a:solidFill>
                  <a:schemeClr val="bg1"/>
                </a:solidFill>
                <a:cs typeface="+mn-ea"/>
                <a:sym typeface="+mn-lt"/>
              </a:rPr>
              <a:t>D</a:t>
            </a:r>
            <a:endParaRPr lang="zh-CN" altLang="en-US" sz="2400" dirty="0">
              <a:solidFill>
                <a:schemeClr val="bg1"/>
              </a:solidFill>
              <a:cs typeface="+mn-ea"/>
              <a:sym typeface="+mn-lt"/>
            </a:endParaRPr>
          </a:p>
        </p:txBody>
      </p:sp>
      <p:sp>
        <p:nvSpPr>
          <p:cNvPr id="67" name="文本框 66"/>
          <p:cNvSpPr txBox="1"/>
          <p:nvPr/>
        </p:nvSpPr>
        <p:spPr>
          <a:xfrm>
            <a:off x="2717683" y="3836570"/>
            <a:ext cx="426720" cy="461665"/>
          </a:xfrm>
          <a:prstGeom prst="rect">
            <a:avLst/>
          </a:prstGeom>
          <a:noFill/>
        </p:spPr>
        <p:txBody>
          <a:bodyPr wrap="square" rtlCol="0">
            <a:spAutoFit/>
          </a:bodyPr>
          <a:lstStyle/>
          <a:p>
            <a:pPr algn="ctr"/>
            <a:r>
              <a:rPr lang="en-US" altLang="zh-CN" sz="2400" dirty="0">
                <a:solidFill>
                  <a:schemeClr val="bg1"/>
                </a:solidFill>
                <a:cs typeface="+mn-ea"/>
                <a:sym typeface="+mn-lt"/>
              </a:rPr>
              <a:t>F</a:t>
            </a:r>
            <a:endParaRPr lang="zh-CN" altLang="en-US" sz="2400" dirty="0">
              <a:solidFill>
                <a:schemeClr val="bg1"/>
              </a:solidFill>
              <a:cs typeface="+mn-ea"/>
              <a:sym typeface="+mn-lt"/>
            </a:endParaRPr>
          </a:p>
        </p:txBody>
      </p:sp>
      <p:sp>
        <p:nvSpPr>
          <p:cNvPr id="68" name="文本框 67"/>
          <p:cNvSpPr txBox="1"/>
          <p:nvPr/>
        </p:nvSpPr>
        <p:spPr>
          <a:xfrm>
            <a:off x="1485783" y="3836570"/>
            <a:ext cx="426720" cy="461665"/>
          </a:xfrm>
          <a:prstGeom prst="rect">
            <a:avLst/>
          </a:prstGeom>
          <a:noFill/>
        </p:spPr>
        <p:txBody>
          <a:bodyPr wrap="square" rtlCol="0">
            <a:spAutoFit/>
          </a:bodyPr>
          <a:lstStyle/>
          <a:p>
            <a:pPr algn="ctr"/>
            <a:r>
              <a:rPr lang="en-US" altLang="zh-CN" sz="2400" dirty="0">
                <a:solidFill>
                  <a:schemeClr val="bg1"/>
                </a:solidFill>
                <a:cs typeface="+mn-ea"/>
                <a:sym typeface="+mn-lt"/>
              </a:rPr>
              <a:t>G</a:t>
            </a:r>
            <a:endParaRPr lang="zh-CN" altLang="en-US" sz="2400" dirty="0">
              <a:solidFill>
                <a:schemeClr val="bg1"/>
              </a:solidFill>
              <a:cs typeface="+mn-ea"/>
              <a:sym typeface="+mn-lt"/>
            </a:endParaRPr>
          </a:p>
        </p:txBody>
      </p:sp>
      <p:sp>
        <p:nvSpPr>
          <p:cNvPr id="69" name="文本框 68"/>
          <p:cNvSpPr txBox="1"/>
          <p:nvPr/>
        </p:nvSpPr>
        <p:spPr>
          <a:xfrm>
            <a:off x="1378853" y="4314498"/>
            <a:ext cx="1951088" cy="338554"/>
          </a:xfrm>
          <a:prstGeom prst="rect">
            <a:avLst/>
          </a:prstGeom>
          <a:noFill/>
        </p:spPr>
        <p:txBody>
          <a:bodyPr wrap="square" rtlCol="0">
            <a:spAutoFit/>
          </a:bodyPr>
          <a:lstStyle/>
          <a:p>
            <a:pPr algn="ctr"/>
            <a:r>
              <a:rPr lang="zh-CN" altLang="en-US" sz="1600" b="1" spc="200" dirty="0">
                <a:solidFill>
                  <a:srgbClr val="84FFFF"/>
                </a:solidFill>
                <a:cs typeface="+mn-ea"/>
                <a:sym typeface="+mn-lt"/>
              </a:rPr>
              <a:t>「</a:t>
            </a:r>
            <a:r>
              <a:rPr lang="zh-CN" altLang="en-US" sz="1600" b="1" spc="200" dirty="0">
                <a:ln w="3175">
                  <a:noFill/>
                </a:ln>
                <a:solidFill>
                  <a:srgbClr val="84FFFF"/>
                </a:solidFill>
                <a:cs typeface="+mn-ea"/>
                <a:sym typeface="+mn-lt"/>
              </a:rPr>
              <a:t>标题在此</a:t>
            </a:r>
            <a:r>
              <a:rPr lang="zh-CN" altLang="en-US" sz="1600" b="1" spc="200" dirty="0">
                <a:solidFill>
                  <a:srgbClr val="84FFFF"/>
                </a:solidFill>
                <a:cs typeface="+mn-ea"/>
                <a:sym typeface="+mn-lt"/>
              </a:rPr>
              <a:t>」</a:t>
            </a:r>
          </a:p>
        </p:txBody>
      </p:sp>
      <p:sp>
        <p:nvSpPr>
          <p:cNvPr id="71" name="文本框 70"/>
          <p:cNvSpPr txBox="1"/>
          <p:nvPr/>
        </p:nvSpPr>
        <p:spPr>
          <a:xfrm>
            <a:off x="610114" y="4682918"/>
            <a:ext cx="3544570" cy="819455"/>
          </a:xfrm>
          <a:prstGeom prst="rect">
            <a:avLst/>
          </a:prstGeom>
          <a:noFill/>
        </p:spPr>
        <p:txBody>
          <a:bodyPr wrap="square" rtlCol="0">
            <a:spAutoFit/>
          </a:bodyPr>
          <a:lstStyle/>
          <a:p>
            <a:pPr lvl="0" algn="ctr">
              <a:lnSpc>
                <a:spcPct val="150000"/>
              </a:lnSpc>
              <a:defRPr/>
            </a:pPr>
            <a:r>
              <a:rPr lang="zh-CN" altLang="en-US" sz="1050" kern="0" dirty="0">
                <a:solidFill>
                  <a:schemeClr val="bg1">
                    <a:lumMod val="85000"/>
                  </a:schemeClr>
                </a:solidFill>
                <a:cs typeface="+mn-ea"/>
                <a:sym typeface="+mn-lt"/>
              </a:rPr>
              <a:t>请替换文字内容，修改文字内容，也可以直接复制你的内容到此。请替换文字内容，修改文字内容，也可以直接复制你的内容到此。</a:t>
            </a:r>
          </a:p>
        </p:txBody>
      </p:sp>
      <p:cxnSp>
        <p:nvCxnSpPr>
          <p:cNvPr id="72" name="直接连接符 71"/>
          <p:cNvCxnSpPr/>
          <p:nvPr/>
        </p:nvCxnSpPr>
        <p:spPr>
          <a:xfrm>
            <a:off x="4117100" y="3049208"/>
            <a:ext cx="1412240" cy="0"/>
          </a:xfrm>
          <a:prstGeom prst="line">
            <a:avLst/>
          </a:prstGeom>
          <a:ln>
            <a:solidFill>
              <a:schemeClr val="bg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73" name="文本框 72"/>
          <p:cNvSpPr txBox="1"/>
          <p:nvPr/>
        </p:nvSpPr>
        <p:spPr>
          <a:xfrm>
            <a:off x="1066800" y="6156875"/>
            <a:ext cx="10058400" cy="549061"/>
          </a:xfrm>
          <a:prstGeom prst="rect">
            <a:avLst/>
          </a:prstGeom>
          <a:noFill/>
        </p:spPr>
        <p:txBody>
          <a:bodyPr wrap="square" rtlCol="0">
            <a:spAutoFit/>
          </a:bodyPr>
          <a:lstStyle/>
          <a:p>
            <a:pPr algn="ctr">
              <a:lnSpc>
                <a:spcPct val="130000"/>
              </a:lnSpc>
            </a:pPr>
            <a:r>
              <a:rPr lang="zh-CN" altLang="en-US" sz="1200" dirty="0">
                <a:solidFill>
                  <a:schemeClr val="bg1">
                    <a:lumMod val="85000"/>
                  </a:schemeClr>
                </a:solidFill>
                <a:cs typeface="+mn-ea"/>
                <a:sym typeface="+mn-lt"/>
              </a:rPr>
              <a:t>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a:t>
            </a:r>
          </a:p>
        </p:txBody>
      </p:sp>
      <p:grpSp>
        <p:nvGrpSpPr>
          <p:cNvPr id="77" name="组合 76"/>
          <p:cNvGrpSpPr/>
          <p:nvPr/>
        </p:nvGrpSpPr>
        <p:grpSpPr>
          <a:xfrm>
            <a:off x="6801016" y="1656891"/>
            <a:ext cx="3617526" cy="3585986"/>
            <a:chOff x="4738796" y="2171478"/>
            <a:chExt cx="2824173" cy="2799549"/>
          </a:xfrm>
        </p:grpSpPr>
        <p:cxnSp>
          <p:nvCxnSpPr>
            <p:cNvPr id="78" name="直接箭头连接符 77"/>
            <p:cNvCxnSpPr/>
            <p:nvPr/>
          </p:nvCxnSpPr>
          <p:spPr>
            <a:xfrm flipH="1">
              <a:off x="5612834" y="2171478"/>
              <a:ext cx="982057" cy="0"/>
            </a:xfrm>
            <a:prstGeom prst="straightConnector1">
              <a:avLst/>
            </a:prstGeom>
            <a:ln>
              <a:solidFill>
                <a:schemeClr val="bg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79" name="直接箭头连接符 78"/>
            <p:cNvCxnSpPr/>
            <p:nvPr/>
          </p:nvCxnSpPr>
          <p:spPr>
            <a:xfrm>
              <a:off x="5591041" y="4971027"/>
              <a:ext cx="982057" cy="0"/>
            </a:xfrm>
            <a:prstGeom prst="straightConnector1">
              <a:avLst/>
            </a:prstGeom>
            <a:ln>
              <a:solidFill>
                <a:schemeClr val="bg1"/>
              </a:solidFill>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80" name="直接连接符 79"/>
            <p:cNvCxnSpPr/>
            <p:nvPr/>
          </p:nvCxnSpPr>
          <p:spPr>
            <a:xfrm flipH="1">
              <a:off x="4832043" y="2568438"/>
              <a:ext cx="253556" cy="448599"/>
            </a:xfrm>
            <a:prstGeom prst="line">
              <a:avLst/>
            </a:prstGeom>
            <a:ln>
              <a:solidFill>
                <a:schemeClr val="bg1"/>
              </a:solidFill>
              <a:prstDash val="dashDot"/>
              <a:headEnd type="non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flipH="1">
              <a:off x="7216585" y="3937997"/>
              <a:ext cx="346384" cy="612834"/>
            </a:xfrm>
            <a:prstGeom prst="line">
              <a:avLst/>
            </a:prstGeom>
            <a:ln>
              <a:solidFill>
                <a:schemeClr val="bg1"/>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82" name="直接连接符 81"/>
            <p:cNvCxnSpPr/>
            <p:nvPr/>
          </p:nvCxnSpPr>
          <p:spPr>
            <a:xfrm>
              <a:off x="4738796" y="3915253"/>
              <a:ext cx="346384" cy="578576"/>
            </a:xfrm>
            <a:prstGeom prst="line">
              <a:avLst/>
            </a:prstGeom>
            <a:ln>
              <a:solidFill>
                <a:schemeClr val="bg1">
                  <a:alpha val="30000"/>
                </a:schemeClr>
              </a:solidFill>
              <a:prstDash val="lg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3" name="直接连接符 82"/>
            <p:cNvCxnSpPr/>
            <p:nvPr/>
          </p:nvCxnSpPr>
          <p:spPr>
            <a:xfrm>
              <a:off x="7222848" y="2581920"/>
              <a:ext cx="268328" cy="448197"/>
            </a:xfrm>
            <a:prstGeom prst="line">
              <a:avLst/>
            </a:prstGeom>
            <a:ln>
              <a:solidFill>
                <a:schemeClr val="bg1"/>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4" name="直接连接符 83"/>
            <p:cNvCxnSpPr/>
            <p:nvPr/>
          </p:nvCxnSpPr>
          <p:spPr>
            <a:xfrm>
              <a:off x="6522475" y="4095269"/>
              <a:ext cx="346384" cy="578576"/>
            </a:xfrm>
            <a:prstGeom prst="line">
              <a:avLst/>
            </a:prstGeom>
            <a:ln>
              <a:solidFill>
                <a:schemeClr val="bg1"/>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85" name="直接连接符 84"/>
            <p:cNvCxnSpPr/>
            <p:nvPr/>
          </p:nvCxnSpPr>
          <p:spPr>
            <a:xfrm>
              <a:off x="5558686" y="2458364"/>
              <a:ext cx="186294" cy="311173"/>
            </a:xfrm>
            <a:prstGeom prst="line">
              <a:avLst/>
            </a:prstGeom>
            <a:ln>
              <a:solidFill>
                <a:schemeClr val="bg1"/>
              </a:solidFill>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6" name="直接连接符 85"/>
            <p:cNvCxnSpPr/>
            <p:nvPr/>
          </p:nvCxnSpPr>
          <p:spPr>
            <a:xfrm flipH="1">
              <a:off x="6517122" y="2520446"/>
              <a:ext cx="144833" cy="247235"/>
            </a:xfrm>
            <a:prstGeom prst="line">
              <a:avLst/>
            </a:prstGeom>
            <a:ln>
              <a:solidFill>
                <a:schemeClr val="bg1">
                  <a:alpha val="30000"/>
                </a:schemeClr>
              </a:solidFill>
              <a:prstDash val="lgDash"/>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87" name="直接连接符 86"/>
            <p:cNvCxnSpPr/>
            <p:nvPr/>
          </p:nvCxnSpPr>
          <p:spPr>
            <a:xfrm flipH="1">
              <a:off x="5387488" y="4100042"/>
              <a:ext cx="337820" cy="576673"/>
            </a:xfrm>
            <a:prstGeom prst="line">
              <a:avLst/>
            </a:prstGeom>
            <a:ln>
              <a:solidFill>
                <a:schemeClr val="bg1"/>
              </a:solidFill>
              <a:prstDash val="dashDot"/>
              <a:headEnd type="none"/>
              <a:tailEnd type="triangle" w="sm" len="sm"/>
            </a:ln>
          </p:spPr>
          <p:style>
            <a:lnRef idx="1">
              <a:schemeClr val="accent1"/>
            </a:lnRef>
            <a:fillRef idx="0">
              <a:schemeClr val="accent1"/>
            </a:fillRef>
            <a:effectRef idx="0">
              <a:schemeClr val="accent1"/>
            </a:effectRef>
            <a:fontRef idx="minor">
              <a:schemeClr val="tx1"/>
            </a:fontRef>
          </p:style>
        </p:cxnSp>
        <p:cxnSp>
          <p:nvCxnSpPr>
            <p:cNvPr id="88" name="直接连接符 87"/>
            <p:cNvCxnSpPr/>
            <p:nvPr/>
          </p:nvCxnSpPr>
          <p:spPr>
            <a:xfrm>
              <a:off x="5115497" y="3423292"/>
              <a:ext cx="272604" cy="0"/>
            </a:xfrm>
            <a:prstGeom prst="line">
              <a:avLst/>
            </a:prstGeom>
            <a:ln>
              <a:solidFill>
                <a:schemeClr val="bg1"/>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a:off x="6769711" y="3423292"/>
              <a:ext cx="314765" cy="0"/>
            </a:xfrm>
            <a:prstGeom prst="line">
              <a:avLst/>
            </a:prstGeom>
            <a:ln>
              <a:solidFill>
                <a:schemeClr val="bg1"/>
              </a:solidFill>
              <a:prstDash val="dashDot"/>
              <a:headEnd type="none" w="sm" len="sm"/>
              <a:tailEnd type="triangle" w="sm" len="sm"/>
            </a:ln>
          </p:spPr>
          <p:style>
            <a:lnRef idx="1">
              <a:schemeClr val="accent1"/>
            </a:lnRef>
            <a:fillRef idx="0">
              <a:schemeClr val="accent1"/>
            </a:fillRef>
            <a:effectRef idx="0">
              <a:schemeClr val="accent1"/>
            </a:effectRef>
            <a:fontRef idx="minor">
              <a:schemeClr val="tx1"/>
            </a:fontRef>
          </p:style>
        </p:cxnSp>
      </p:grpSp>
      <p:sp>
        <p:nvSpPr>
          <p:cNvPr id="90" name="文本框 89"/>
          <p:cNvSpPr txBox="1"/>
          <p:nvPr/>
        </p:nvSpPr>
        <p:spPr>
          <a:xfrm>
            <a:off x="3529655" y="1239065"/>
            <a:ext cx="2179080" cy="932563"/>
          </a:xfrm>
          <a:prstGeom prst="rect">
            <a:avLst/>
          </a:prstGeom>
          <a:noFill/>
        </p:spPr>
        <p:txBody>
          <a:bodyPr wrap="square" rtlCol="0">
            <a:spAutoFit/>
          </a:bodyPr>
          <a:lstStyle/>
          <a:p>
            <a:pPr algn="r">
              <a:lnSpc>
                <a:spcPct val="130000"/>
              </a:lnSpc>
            </a:pPr>
            <a:r>
              <a:rPr lang="zh-CN" altLang="en-US" sz="1050" dirty="0">
                <a:solidFill>
                  <a:schemeClr val="bg1">
                    <a:lumMod val="85000"/>
                  </a:schemeClr>
                </a:solidFill>
                <a:cs typeface="+mn-ea"/>
                <a:sym typeface="+mn-lt"/>
              </a:rPr>
              <a:t>请替换文字内容，修改文字内容，也可以直接复制你的内容到此。请替换文字内容，修改文字内容，也可以直接复制你的。</a:t>
            </a:r>
          </a:p>
        </p:txBody>
      </p:sp>
      <p:sp>
        <p:nvSpPr>
          <p:cNvPr id="91" name="矩形 90"/>
          <p:cNvSpPr/>
          <p:nvPr/>
        </p:nvSpPr>
        <p:spPr>
          <a:xfrm>
            <a:off x="4657187" y="946635"/>
            <a:ext cx="1056700" cy="338554"/>
          </a:xfrm>
          <a:prstGeom prst="rect">
            <a:avLst/>
          </a:prstGeom>
        </p:spPr>
        <p:txBody>
          <a:bodyPr wrap="none">
            <a:spAutoFit/>
          </a:bodyPr>
          <a:lstStyle/>
          <a:p>
            <a:pPr algn="r"/>
            <a:r>
              <a:rPr lang="zh-CN" altLang="en-US" sz="1600" b="1" spc="100" dirty="0">
                <a:solidFill>
                  <a:srgbClr val="84FFFF"/>
                </a:solidFill>
                <a:cs typeface="+mn-ea"/>
                <a:sym typeface="+mn-lt"/>
              </a:rPr>
              <a:t>这是标题</a:t>
            </a:r>
            <a:endParaRPr lang="zh-CN" altLang="en-US" sz="1600" b="1" dirty="0">
              <a:solidFill>
                <a:srgbClr val="84FFFF"/>
              </a:solidFill>
              <a:cs typeface="+mn-ea"/>
              <a:sym typeface="+mn-lt"/>
            </a:endParaRPr>
          </a:p>
        </p:txBody>
      </p:sp>
      <p:grpSp>
        <p:nvGrpSpPr>
          <p:cNvPr id="92" name="组合 91"/>
          <p:cNvGrpSpPr/>
          <p:nvPr/>
        </p:nvGrpSpPr>
        <p:grpSpPr>
          <a:xfrm>
            <a:off x="6259689" y="1090576"/>
            <a:ext cx="721817" cy="327502"/>
            <a:chOff x="1733148" y="1439426"/>
            <a:chExt cx="1109714" cy="503498"/>
          </a:xfrm>
        </p:grpSpPr>
        <p:cxnSp>
          <p:nvCxnSpPr>
            <p:cNvPr id="93" name="直接连接符 92"/>
            <p:cNvCxnSpPr/>
            <p:nvPr/>
          </p:nvCxnSpPr>
          <p:spPr>
            <a:xfrm>
              <a:off x="1733148" y="1439426"/>
              <a:ext cx="0" cy="24358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4" name="自由: 形状 64"/>
            <p:cNvSpPr/>
            <p:nvPr/>
          </p:nvSpPr>
          <p:spPr>
            <a:xfrm>
              <a:off x="1795112" y="1549224"/>
              <a:ext cx="1047750" cy="393700"/>
            </a:xfrm>
            <a:custGeom>
              <a:avLst/>
              <a:gdLst>
                <a:gd name="connsiteX0" fmla="*/ 0 w 1047750"/>
                <a:gd name="connsiteY0" fmla="*/ 0 h 393700"/>
                <a:gd name="connsiteX1" fmla="*/ 381000 w 1047750"/>
                <a:gd name="connsiteY1" fmla="*/ 0 h 393700"/>
                <a:gd name="connsiteX2" fmla="*/ 1047750 w 1047750"/>
                <a:gd name="connsiteY2" fmla="*/ 393700 h 393700"/>
              </a:gdLst>
              <a:ahLst/>
              <a:cxnLst>
                <a:cxn ang="0">
                  <a:pos x="connsiteX0" y="connsiteY0"/>
                </a:cxn>
                <a:cxn ang="0">
                  <a:pos x="connsiteX1" y="connsiteY1"/>
                </a:cxn>
                <a:cxn ang="0">
                  <a:pos x="connsiteX2" y="connsiteY2"/>
                </a:cxn>
              </a:cxnLst>
              <a:rect l="l" t="t" r="r" b="b"/>
              <a:pathLst>
                <a:path w="1047750" h="393700">
                  <a:moveTo>
                    <a:pt x="0" y="0"/>
                  </a:moveTo>
                  <a:lnTo>
                    <a:pt x="381000" y="0"/>
                  </a:lnTo>
                  <a:lnTo>
                    <a:pt x="1047750" y="393700"/>
                  </a:lnTo>
                </a:path>
              </a:pathLst>
            </a:custGeom>
            <a:noFill/>
            <a:ln>
              <a:solidFill>
                <a:schemeClr val="bg1"/>
              </a:solidFill>
              <a:headEnd w="sm" len="sm"/>
              <a:tailEnd type="oval" w="sm" len="sm"/>
            </a:ln>
          </p:spPr>
          <p:txBody>
            <a:bodyPr rtlCol="0" anchor="ctr"/>
            <a:lstStyle/>
            <a:p>
              <a:pPr algn="ctr"/>
              <a:endParaRPr lang="zh-CN" altLang="en-US" dirty="0">
                <a:cs typeface="+mn-ea"/>
                <a:sym typeface="+mn-lt"/>
              </a:endParaRPr>
            </a:p>
          </p:txBody>
        </p:sp>
      </p:grpSp>
      <p:sp>
        <p:nvSpPr>
          <p:cNvPr id="95" name="文本框 94"/>
          <p:cNvSpPr txBox="1"/>
          <p:nvPr/>
        </p:nvSpPr>
        <p:spPr>
          <a:xfrm>
            <a:off x="10753004" y="3135015"/>
            <a:ext cx="131813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a:ln>
                  <a:noFill/>
                </a:ln>
                <a:solidFill>
                  <a:srgbClr val="84FFFF"/>
                </a:solidFill>
                <a:effectLst/>
                <a:uLnTx/>
                <a:uFillTx/>
                <a:cs typeface="+mn-ea"/>
                <a:sym typeface="+mn-lt"/>
              </a:rPr>
              <a:t>LOREM IPSUM </a:t>
            </a:r>
            <a:r>
              <a:rPr kumimoji="0" lang="en-US" altLang="zh-CN" sz="1200" b="0" i="0" u="none" strike="noStrike" kern="0" cap="none" spc="0" normalizeH="0" baseline="0" noProof="0" dirty="0">
                <a:ln>
                  <a:noFill/>
                </a:ln>
                <a:solidFill>
                  <a:schemeClr val="bg1">
                    <a:lumMod val="95000"/>
                  </a:schemeClr>
                </a:solidFill>
                <a:effectLst/>
                <a:uLnTx/>
                <a:uFillTx/>
                <a:cs typeface="+mn-ea"/>
                <a:sym typeface="+mn-lt"/>
              </a:rPr>
              <a:t>dolor sit </a:t>
            </a:r>
            <a:r>
              <a:rPr kumimoji="0" lang="en-US" altLang="zh-CN" sz="1200" b="0" i="0" u="none" strike="noStrike" kern="0" cap="none" spc="0" normalizeH="0" baseline="0" noProof="0" dirty="0" err="1">
                <a:ln>
                  <a:noFill/>
                </a:ln>
                <a:solidFill>
                  <a:schemeClr val="bg1">
                    <a:lumMod val="95000"/>
                  </a:schemeClr>
                </a:solidFill>
                <a:effectLst/>
                <a:uLnTx/>
                <a:uFillTx/>
                <a:cs typeface="+mn-ea"/>
                <a:sym typeface="+mn-lt"/>
              </a:rPr>
              <a:t>amet</a:t>
            </a:r>
            <a:r>
              <a:rPr kumimoji="0" lang="en-US" altLang="zh-CN" sz="1200" b="0" i="0" u="none" strike="noStrike" kern="0" cap="none" spc="0" normalizeH="0" baseline="0" noProof="0" dirty="0">
                <a:ln>
                  <a:noFill/>
                </a:ln>
                <a:solidFill>
                  <a:schemeClr val="bg1">
                    <a:lumMod val="95000"/>
                  </a:schemeClr>
                </a:solidFill>
                <a:effectLst/>
                <a:uLnTx/>
                <a:uFillTx/>
                <a:cs typeface="+mn-ea"/>
                <a:sym typeface="+mn-lt"/>
              </a:rPr>
              <a:t>, </a:t>
            </a:r>
            <a:endParaRPr kumimoji="0" lang="zh-CN" altLang="en-US" sz="1200" b="0" i="0" u="none" strike="noStrike" kern="0" cap="none" spc="0" normalizeH="0" baseline="0" noProof="0" dirty="0">
              <a:ln>
                <a:noFill/>
              </a:ln>
              <a:solidFill>
                <a:schemeClr val="bg1">
                  <a:lumMod val="95000"/>
                </a:schemeClr>
              </a:solidFill>
              <a:effectLst/>
              <a:uLnTx/>
              <a:uFillTx/>
              <a:cs typeface="+mn-ea"/>
              <a:sym typeface="+mn-lt"/>
            </a:endParaRPr>
          </a:p>
        </p:txBody>
      </p:sp>
      <p:grpSp>
        <p:nvGrpSpPr>
          <p:cNvPr id="96" name="组合 95"/>
          <p:cNvGrpSpPr/>
          <p:nvPr/>
        </p:nvGrpSpPr>
        <p:grpSpPr>
          <a:xfrm>
            <a:off x="5736349" y="987552"/>
            <a:ext cx="377956" cy="377956"/>
            <a:chOff x="3768115" y="183883"/>
            <a:chExt cx="1197575" cy="1197575"/>
          </a:xfrm>
        </p:grpSpPr>
        <p:grpSp>
          <p:nvGrpSpPr>
            <p:cNvPr id="97" name="组合 96"/>
            <p:cNvGrpSpPr/>
            <p:nvPr/>
          </p:nvGrpSpPr>
          <p:grpSpPr>
            <a:xfrm>
              <a:off x="4102608" y="519335"/>
              <a:ext cx="528588" cy="526670"/>
              <a:chOff x="6002970" y="523296"/>
              <a:chExt cx="422960" cy="421426"/>
            </a:xfrm>
          </p:grpSpPr>
          <p:sp>
            <p:nvSpPr>
              <p:cNvPr id="99" name="Freeform 9"/>
              <p:cNvSpPr>
                <a:spLocks noEditPoints="1"/>
              </p:cNvSpPr>
              <p:nvPr/>
            </p:nvSpPr>
            <p:spPr bwMode="auto">
              <a:xfrm>
                <a:off x="6059919" y="523296"/>
                <a:ext cx="309061" cy="421426"/>
              </a:xfrm>
              <a:custGeom>
                <a:avLst/>
                <a:gdLst>
                  <a:gd name="T0" fmla="*/ 222 w 597"/>
                  <a:gd name="T1" fmla="*/ 575 h 814"/>
                  <a:gd name="T2" fmla="*/ 253 w 597"/>
                  <a:gd name="T3" fmla="*/ 598 h 814"/>
                  <a:gd name="T4" fmla="*/ 344 w 597"/>
                  <a:gd name="T5" fmla="*/ 598 h 814"/>
                  <a:gd name="T6" fmla="*/ 375 w 597"/>
                  <a:gd name="T7" fmla="*/ 575 h 814"/>
                  <a:gd name="T8" fmla="*/ 414 w 597"/>
                  <a:gd name="T9" fmla="*/ 509 h 814"/>
                  <a:gd name="T10" fmla="*/ 539 w 597"/>
                  <a:gd name="T11" fmla="*/ 298 h 814"/>
                  <a:gd name="T12" fmla="*/ 298 w 597"/>
                  <a:gd name="T13" fmla="*/ 57 h 814"/>
                  <a:gd name="T14" fmla="*/ 57 w 597"/>
                  <a:gd name="T15" fmla="*/ 298 h 814"/>
                  <a:gd name="T16" fmla="*/ 183 w 597"/>
                  <a:gd name="T17" fmla="*/ 509 h 814"/>
                  <a:gd name="T18" fmla="*/ 222 w 597"/>
                  <a:gd name="T19" fmla="*/ 575 h 814"/>
                  <a:gd name="T20" fmla="*/ 354 w 597"/>
                  <a:gd name="T21" fmla="*/ 782 h 814"/>
                  <a:gd name="T22" fmla="*/ 314 w 597"/>
                  <a:gd name="T23" fmla="*/ 814 h 814"/>
                  <a:gd name="T24" fmla="*/ 282 w 597"/>
                  <a:gd name="T25" fmla="*/ 814 h 814"/>
                  <a:gd name="T26" fmla="*/ 242 w 597"/>
                  <a:gd name="T27" fmla="*/ 782 h 814"/>
                  <a:gd name="T28" fmla="*/ 226 w 597"/>
                  <a:gd name="T29" fmla="*/ 782 h 814"/>
                  <a:gd name="T30" fmla="*/ 165 w 597"/>
                  <a:gd name="T31" fmla="*/ 722 h 814"/>
                  <a:gd name="T32" fmla="*/ 165 w 597"/>
                  <a:gd name="T33" fmla="*/ 576 h 814"/>
                  <a:gd name="T34" fmla="*/ 155 w 597"/>
                  <a:gd name="T35" fmla="*/ 559 h 814"/>
                  <a:gd name="T36" fmla="*/ 0 w 597"/>
                  <a:gd name="T37" fmla="*/ 298 h 814"/>
                  <a:gd name="T38" fmla="*/ 298 w 597"/>
                  <a:gd name="T39" fmla="*/ 0 h 814"/>
                  <a:gd name="T40" fmla="*/ 597 w 597"/>
                  <a:gd name="T41" fmla="*/ 298 h 814"/>
                  <a:gd name="T42" fmla="*/ 441 w 597"/>
                  <a:gd name="T43" fmla="*/ 559 h 814"/>
                  <a:gd name="T44" fmla="*/ 431 w 597"/>
                  <a:gd name="T45" fmla="*/ 576 h 814"/>
                  <a:gd name="T46" fmla="*/ 432 w 597"/>
                  <a:gd name="T47" fmla="*/ 722 h 814"/>
                  <a:gd name="T48" fmla="*/ 371 w 597"/>
                  <a:gd name="T49" fmla="*/ 782 h 814"/>
                  <a:gd name="T50" fmla="*/ 354 w 597"/>
                  <a:gd name="T51" fmla="*/ 782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97" h="814">
                    <a:moveTo>
                      <a:pt x="222" y="575"/>
                    </a:moveTo>
                    <a:cubicBezTo>
                      <a:pt x="224" y="589"/>
                      <a:pt x="238" y="598"/>
                      <a:pt x="253" y="598"/>
                    </a:cubicBezTo>
                    <a:cubicBezTo>
                      <a:pt x="344" y="598"/>
                      <a:pt x="344" y="598"/>
                      <a:pt x="344" y="598"/>
                    </a:cubicBezTo>
                    <a:cubicBezTo>
                      <a:pt x="358" y="598"/>
                      <a:pt x="373" y="589"/>
                      <a:pt x="375" y="575"/>
                    </a:cubicBezTo>
                    <a:cubicBezTo>
                      <a:pt x="377" y="547"/>
                      <a:pt x="390" y="523"/>
                      <a:pt x="414" y="509"/>
                    </a:cubicBezTo>
                    <a:cubicBezTo>
                      <a:pt x="491" y="467"/>
                      <a:pt x="539" y="386"/>
                      <a:pt x="539" y="298"/>
                    </a:cubicBezTo>
                    <a:cubicBezTo>
                      <a:pt x="539" y="165"/>
                      <a:pt x="431" y="57"/>
                      <a:pt x="298" y="57"/>
                    </a:cubicBezTo>
                    <a:cubicBezTo>
                      <a:pt x="165" y="57"/>
                      <a:pt x="57" y="165"/>
                      <a:pt x="57" y="298"/>
                    </a:cubicBezTo>
                    <a:cubicBezTo>
                      <a:pt x="57" y="386"/>
                      <a:pt x="105" y="467"/>
                      <a:pt x="183" y="509"/>
                    </a:cubicBezTo>
                    <a:cubicBezTo>
                      <a:pt x="207" y="523"/>
                      <a:pt x="219" y="547"/>
                      <a:pt x="222" y="575"/>
                    </a:cubicBezTo>
                    <a:close/>
                    <a:moveTo>
                      <a:pt x="354" y="782"/>
                    </a:moveTo>
                    <a:cubicBezTo>
                      <a:pt x="350" y="800"/>
                      <a:pt x="334" y="814"/>
                      <a:pt x="314" y="814"/>
                    </a:cubicBezTo>
                    <a:cubicBezTo>
                      <a:pt x="282" y="814"/>
                      <a:pt x="282" y="814"/>
                      <a:pt x="282" y="814"/>
                    </a:cubicBezTo>
                    <a:cubicBezTo>
                      <a:pt x="263" y="814"/>
                      <a:pt x="247" y="800"/>
                      <a:pt x="242" y="782"/>
                    </a:cubicBezTo>
                    <a:cubicBezTo>
                      <a:pt x="226" y="782"/>
                      <a:pt x="226" y="782"/>
                      <a:pt x="226" y="782"/>
                    </a:cubicBezTo>
                    <a:cubicBezTo>
                      <a:pt x="193" y="782"/>
                      <a:pt x="165" y="755"/>
                      <a:pt x="165" y="722"/>
                    </a:cubicBezTo>
                    <a:cubicBezTo>
                      <a:pt x="165" y="576"/>
                      <a:pt x="165" y="576"/>
                      <a:pt x="165" y="576"/>
                    </a:cubicBezTo>
                    <a:cubicBezTo>
                      <a:pt x="165" y="569"/>
                      <a:pt x="162" y="563"/>
                      <a:pt x="155" y="559"/>
                    </a:cubicBezTo>
                    <a:cubicBezTo>
                      <a:pt x="60" y="507"/>
                      <a:pt x="0" y="407"/>
                      <a:pt x="0" y="298"/>
                    </a:cubicBezTo>
                    <a:cubicBezTo>
                      <a:pt x="0" y="133"/>
                      <a:pt x="134" y="0"/>
                      <a:pt x="298" y="0"/>
                    </a:cubicBezTo>
                    <a:cubicBezTo>
                      <a:pt x="463" y="0"/>
                      <a:pt x="597" y="133"/>
                      <a:pt x="597" y="298"/>
                    </a:cubicBezTo>
                    <a:cubicBezTo>
                      <a:pt x="597" y="407"/>
                      <a:pt x="537" y="507"/>
                      <a:pt x="441" y="559"/>
                    </a:cubicBezTo>
                    <a:cubicBezTo>
                      <a:pt x="435" y="563"/>
                      <a:pt x="431" y="569"/>
                      <a:pt x="431" y="576"/>
                    </a:cubicBezTo>
                    <a:cubicBezTo>
                      <a:pt x="432" y="722"/>
                      <a:pt x="432" y="722"/>
                      <a:pt x="432" y="722"/>
                    </a:cubicBezTo>
                    <a:cubicBezTo>
                      <a:pt x="432" y="755"/>
                      <a:pt x="404" y="782"/>
                      <a:pt x="371" y="782"/>
                    </a:cubicBezTo>
                    <a:cubicBezTo>
                      <a:pt x="354" y="782"/>
                      <a:pt x="354" y="782"/>
                      <a:pt x="354" y="782"/>
                    </a:cubicBezTo>
                    <a:close/>
                  </a:path>
                </a:pathLst>
              </a:custGeom>
              <a:solidFill>
                <a:schemeClr val="bg1"/>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00" name="Freeform 10"/>
              <p:cNvSpPr>
                <a:spLocks noEditPoints="1"/>
              </p:cNvSpPr>
              <p:nvPr/>
            </p:nvSpPr>
            <p:spPr bwMode="auto">
              <a:xfrm>
                <a:off x="6002970" y="564256"/>
                <a:ext cx="422960" cy="223636"/>
              </a:xfrm>
              <a:custGeom>
                <a:avLst/>
                <a:gdLst>
                  <a:gd name="T0" fmla="*/ 699 w 817"/>
                  <a:gd name="T1" fmla="*/ 406 h 432"/>
                  <a:gd name="T2" fmla="*/ 692 w 817"/>
                  <a:gd name="T3" fmla="*/ 380 h 432"/>
                  <a:gd name="T4" fmla="*/ 718 w 817"/>
                  <a:gd name="T5" fmla="*/ 373 h 432"/>
                  <a:gd name="T6" fmla="*/ 755 w 817"/>
                  <a:gd name="T7" fmla="*/ 394 h 432"/>
                  <a:gd name="T8" fmla="*/ 762 w 817"/>
                  <a:gd name="T9" fmla="*/ 420 h 432"/>
                  <a:gd name="T10" fmla="*/ 736 w 817"/>
                  <a:gd name="T11" fmla="*/ 427 h 432"/>
                  <a:gd name="T12" fmla="*/ 699 w 817"/>
                  <a:gd name="T13" fmla="*/ 406 h 432"/>
                  <a:gd name="T14" fmla="*/ 718 w 817"/>
                  <a:gd name="T15" fmla="*/ 59 h 432"/>
                  <a:gd name="T16" fmla="*/ 692 w 817"/>
                  <a:gd name="T17" fmla="*/ 52 h 432"/>
                  <a:gd name="T18" fmla="*/ 699 w 817"/>
                  <a:gd name="T19" fmla="*/ 26 h 432"/>
                  <a:gd name="T20" fmla="*/ 736 w 817"/>
                  <a:gd name="T21" fmla="*/ 5 h 432"/>
                  <a:gd name="T22" fmla="*/ 762 w 817"/>
                  <a:gd name="T23" fmla="*/ 12 h 432"/>
                  <a:gd name="T24" fmla="*/ 755 w 817"/>
                  <a:gd name="T25" fmla="*/ 38 h 432"/>
                  <a:gd name="T26" fmla="*/ 718 w 817"/>
                  <a:gd name="T27" fmla="*/ 59 h 432"/>
                  <a:gd name="T28" fmla="*/ 755 w 817"/>
                  <a:gd name="T29" fmla="*/ 235 h 432"/>
                  <a:gd name="T30" fmla="*/ 736 w 817"/>
                  <a:gd name="T31" fmla="*/ 216 h 432"/>
                  <a:gd name="T32" fmla="*/ 755 w 817"/>
                  <a:gd name="T33" fmla="*/ 197 h 432"/>
                  <a:gd name="T34" fmla="*/ 798 w 817"/>
                  <a:gd name="T35" fmla="*/ 197 h 432"/>
                  <a:gd name="T36" fmla="*/ 817 w 817"/>
                  <a:gd name="T37" fmla="*/ 216 h 432"/>
                  <a:gd name="T38" fmla="*/ 798 w 817"/>
                  <a:gd name="T39" fmla="*/ 235 h 432"/>
                  <a:gd name="T40" fmla="*/ 755 w 817"/>
                  <a:gd name="T41" fmla="*/ 235 h 432"/>
                  <a:gd name="T42" fmla="*/ 118 w 817"/>
                  <a:gd name="T43" fmla="*/ 26 h 432"/>
                  <a:gd name="T44" fmla="*/ 124 w 817"/>
                  <a:gd name="T45" fmla="*/ 52 h 432"/>
                  <a:gd name="T46" fmla="*/ 98 w 817"/>
                  <a:gd name="T47" fmla="*/ 59 h 432"/>
                  <a:gd name="T48" fmla="*/ 62 w 817"/>
                  <a:gd name="T49" fmla="*/ 38 h 432"/>
                  <a:gd name="T50" fmla="*/ 55 w 817"/>
                  <a:gd name="T51" fmla="*/ 12 h 432"/>
                  <a:gd name="T52" fmla="*/ 81 w 817"/>
                  <a:gd name="T53" fmla="*/ 5 h 432"/>
                  <a:gd name="T54" fmla="*/ 118 w 817"/>
                  <a:gd name="T55" fmla="*/ 26 h 432"/>
                  <a:gd name="T56" fmla="*/ 98 w 817"/>
                  <a:gd name="T57" fmla="*/ 373 h 432"/>
                  <a:gd name="T58" fmla="*/ 124 w 817"/>
                  <a:gd name="T59" fmla="*/ 380 h 432"/>
                  <a:gd name="T60" fmla="*/ 118 w 817"/>
                  <a:gd name="T61" fmla="*/ 406 h 432"/>
                  <a:gd name="T62" fmla="*/ 81 w 817"/>
                  <a:gd name="T63" fmla="*/ 427 h 432"/>
                  <a:gd name="T64" fmla="*/ 55 w 817"/>
                  <a:gd name="T65" fmla="*/ 420 h 432"/>
                  <a:gd name="T66" fmla="*/ 62 w 817"/>
                  <a:gd name="T67" fmla="*/ 394 h 432"/>
                  <a:gd name="T68" fmla="*/ 98 w 817"/>
                  <a:gd name="T69" fmla="*/ 373 h 432"/>
                  <a:gd name="T70" fmla="*/ 62 w 817"/>
                  <a:gd name="T71" fmla="*/ 197 h 432"/>
                  <a:gd name="T72" fmla="*/ 81 w 817"/>
                  <a:gd name="T73" fmla="*/ 216 h 432"/>
                  <a:gd name="T74" fmla="*/ 62 w 817"/>
                  <a:gd name="T75" fmla="*/ 235 h 432"/>
                  <a:gd name="T76" fmla="*/ 19 w 817"/>
                  <a:gd name="T77" fmla="*/ 235 h 432"/>
                  <a:gd name="T78" fmla="*/ 0 w 817"/>
                  <a:gd name="T79" fmla="*/ 216 h 432"/>
                  <a:gd name="T80" fmla="*/ 19 w 817"/>
                  <a:gd name="T81" fmla="*/ 197 h 432"/>
                  <a:gd name="T82" fmla="*/ 62 w 817"/>
                  <a:gd name="T83" fmla="*/ 19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7" h="432">
                    <a:moveTo>
                      <a:pt x="699" y="406"/>
                    </a:moveTo>
                    <a:cubicBezTo>
                      <a:pt x="690" y="401"/>
                      <a:pt x="687" y="389"/>
                      <a:pt x="692" y="380"/>
                    </a:cubicBezTo>
                    <a:cubicBezTo>
                      <a:pt x="698" y="371"/>
                      <a:pt x="709" y="368"/>
                      <a:pt x="718" y="373"/>
                    </a:cubicBezTo>
                    <a:cubicBezTo>
                      <a:pt x="755" y="394"/>
                      <a:pt x="755" y="394"/>
                      <a:pt x="755" y="394"/>
                    </a:cubicBezTo>
                    <a:cubicBezTo>
                      <a:pt x="764" y="399"/>
                      <a:pt x="767" y="411"/>
                      <a:pt x="762" y="420"/>
                    </a:cubicBezTo>
                    <a:cubicBezTo>
                      <a:pt x="757" y="429"/>
                      <a:pt x="745" y="432"/>
                      <a:pt x="736" y="427"/>
                    </a:cubicBezTo>
                    <a:cubicBezTo>
                      <a:pt x="699" y="406"/>
                      <a:pt x="699" y="406"/>
                      <a:pt x="699" y="406"/>
                    </a:cubicBezTo>
                    <a:close/>
                    <a:moveTo>
                      <a:pt x="718" y="59"/>
                    </a:moveTo>
                    <a:cubicBezTo>
                      <a:pt x="709" y="64"/>
                      <a:pt x="698" y="61"/>
                      <a:pt x="692" y="52"/>
                    </a:cubicBezTo>
                    <a:cubicBezTo>
                      <a:pt x="687" y="43"/>
                      <a:pt x="690" y="31"/>
                      <a:pt x="699" y="26"/>
                    </a:cubicBezTo>
                    <a:cubicBezTo>
                      <a:pt x="736" y="5"/>
                      <a:pt x="736" y="5"/>
                      <a:pt x="736" y="5"/>
                    </a:cubicBezTo>
                    <a:cubicBezTo>
                      <a:pt x="745" y="0"/>
                      <a:pt x="757" y="3"/>
                      <a:pt x="762" y="12"/>
                    </a:cubicBezTo>
                    <a:cubicBezTo>
                      <a:pt x="767" y="21"/>
                      <a:pt x="764" y="32"/>
                      <a:pt x="755" y="38"/>
                    </a:cubicBezTo>
                    <a:cubicBezTo>
                      <a:pt x="718" y="59"/>
                      <a:pt x="718" y="59"/>
                      <a:pt x="718" y="59"/>
                    </a:cubicBezTo>
                    <a:close/>
                    <a:moveTo>
                      <a:pt x="755" y="235"/>
                    </a:moveTo>
                    <a:cubicBezTo>
                      <a:pt x="745" y="235"/>
                      <a:pt x="736" y="226"/>
                      <a:pt x="736" y="216"/>
                    </a:cubicBezTo>
                    <a:cubicBezTo>
                      <a:pt x="736" y="205"/>
                      <a:pt x="745" y="197"/>
                      <a:pt x="755" y="197"/>
                    </a:cubicBezTo>
                    <a:cubicBezTo>
                      <a:pt x="798" y="197"/>
                      <a:pt x="798" y="197"/>
                      <a:pt x="798" y="197"/>
                    </a:cubicBezTo>
                    <a:cubicBezTo>
                      <a:pt x="808" y="197"/>
                      <a:pt x="817" y="205"/>
                      <a:pt x="817" y="216"/>
                    </a:cubicBezTo>
                    <a:cubicBezTo>
                      <a:pt x="817" y="226"/>
                      <a:pt x="808" y="235"/>
                      <a:pt x="798" y="235"/>
                    </a:cubicBezTo>
                    <a:cubicBezTo>
                      <a:pt x="755" y="235"/>
                      <a:pt x="755" y="235"/>
                      <a:pt x="755" y="235"/>
                    </a:cubicBezTo>
                    <a:close/>
                    <a:moveTo>
                      <a:pt x="118" y="26"/>
                    </a:moveTo>
                    <a:cubicBezTo>
                      <a:pt x="127" y="31"/>
                      <a:pt x="130" y="43"/>
                      <a:pt x="124" y="52"/>
                    </a:cubicBezTo>
                    <a:cubicBezTo>
                      <a:pt x="119" y="61"/>
                      <a:pt x="108" y="64"/>
                      <a:pt x="98" y="59"/>
                    </a:cubicBezTo>
                    <a:cubicBezTo>
                      <a:pt x="62" y="38"/>
                      <a:pt x="62" y="38"/>
                      <a:pt x="62" y="38"/>
                    </a:cubicBezTo>
                    <a:cubicBezTo>
                      <a:pt x="53" y="32"/>
                      <a:pt x="49" y="21"/>
                      <a:pt x="55" y="12"/>
                    </a:cubicBezTo>
                    <a:cubicBezTo>
                      <a:pt x="60" y="3"/>
                      <a:pt x="72" y="0"/>
                      <a:pt x="81" y="5"/>
                    </a:cubicBezTo>
                    <a:cubicBezTo>
                      <a:pt x="118" y="26"/>
                      <a:pt x="118" y="26"/>
                      <a:pt x="118" y="26"/>
                    </a:cubicBezTo>
                    <a:close/>
                    <a:moveTo>
                      <a:pt x="98" y="373"/>
                    </a:moveTo>
                    <a:cubicBezTo>
                      <a:pt x="108" y="368"/>
                      <a:pt x="119" y="371"/>
                      <a:pt x="124" y="380"/>
                    </a:cubicBezTo>
                    <a:cubicBezTo>
                      <a:pt x="130" y="389"/>
                      <a:pt x="127" y="401"/>
                      <a:pt x="118" y="406"/>
                    </a:cubicBezTo>
                    <a:cubicBezTo>
                      <a:pt x="81" y="427"/>
                      <a:pt x="81" y="427"/>
                      <a:pt x="81" y="427"/>
                    </a:cubicBezTo>
                    <a:cubicBezTo>
                      <a:pt x="72" y="432"/>
                      <a:pt x="60" y="429"/>
                      <a:pt x="55" y="420"/>
                    </a:cubicBezTo>
                    <a:cubicBezTo>
                      <a:pt x="49" y="411"/>
                      <a:pt x="53" y="399"/>
                      <a:pt x="62" y="394"/>
                    </a:cubicBezTo>
                    <a:cubicBezTo>
                      <a:pt x="98" y="373"/>
                      <a:pt x="98" y="373"/>
                      <a:pt x="98" y="373"/>
                    </a:cubicBezTo>
                    <a:close/>
                    <a:moveTo>
                      <a:pt x="62" y="197"/>
                    </a:moveTo>
                    <a:cubicBezTo>
                      <a:pt x="72" y="197"/>
                      <a:pt x="81" y="205"/>
                      <a:pt x="81" y="216"/>
                    </a:cubicBezTo>
                    <a:cubicBezTo>
                      <a:pt x="81" y="226"/>
                      <a:pt x="72" y="235"/>
                      <a:pt x="62" y="235"/>
                    </a:cubicBezTo>
                    <a:cubicBezTo>
                      <a:pt x="19" y="235"/>
                      <a:pt x="19" y="235"/>
                      <a:pt x="19" y="235"/>
                    </a:cubicBezTo>
                    <a:cubicBezTo>
                      <a:pt x="9" y="235"/>
                      <a:pt x="0" y="226"/>
                      <a:pt x="0" y="216"/>
                    </a:cubicBezTo>
                    <a:cubicBezTo>
                      <a:pt x="0" y="205"/>
                      <a:pt x="9" y="197"/>
                      <a:pt x="19" y="197"/>
                    </a:cubicBezTo>
                    <a:cubicBezTo>
                      <a:pt x="62" y="197"/>
                      <a:pt x="62" y="197"/>
                      <a:pt x="62" y="197"/>
                    </a:cubicBezTo>
                    <a:close/>
                  </a:path>
                </a:pathLst>
              </a:custGeom>
              <a:solidFill>
                <a:srgbClr val="84FFFF"/>
              </a:solidFill>
              <a:ln>
                <a:noFill/>
              </a:ln>
            </p:spPr>
            <p:txBody>
              <a:bodyPr vert="horz" wrap="square" lIns="91440" tIns="45720" rIns="91440" bIns="45720" numCol="1" anchor="t" anchorCtr="0" compatLnSpc="1"/>
              <a:lstStyle/>
              <a:p>
                <a:endParaRPr lang="zh-CN" altLang="en-US">
                  <a:cs typeface="+mn-ea"/>
                  <a:sym typeface="+mn-lt"/>
                </a:endParaRPr>
              </a:p>
            </p:txBody>
          </p:sp>
          <p:sp>
            <p:nvSpPr>
              <p:cNvPr id="101" name="Freeform 11"/>
              <p:cNvSpPr/>
              <p:nvPr/>
            </p:nvSpPr>
            <p:spPr bwMode="auto">
              <a:xfrm>
                <a:off x="6138773" y="612225"/>
                <a:ext cx="151574" cy="151792"/>
              </a:xfrm>
              <a:custGeom>
                <a:avLst/>
                <a:gdLst>
                  <a:gd name="T0" fmla="*/ 3 w 293"/>
                  <a:gd name="T1" fmla="*/ 38 h 293"/>
                  <a:gd name="T2" fmla="*/ 16 w 293"/>
                  <a:gd name="T3" fmla="*/ 15 h 293"/>
                  <a:gd name="T4" fmla="*/ 39 w 293"/>
                  <a:gd name="T5" fmla="*/ 28 h 293"/>
                  <a:gd name="T6" fmla="*/ 50 w 293"/>
                  <a:gd name="T7" fmla="*/ 65 h 293"/>
                  <a:gd name="T8" fmla="*/ 91 w 293"/>
                  <a:gd name="T9" fmla="*/ 53 h 293"/>
                  <a:gd name="T10" fmla="*/ 91 w 293"/>
                  <a:gd name="T11" fmla="*/ 53 h 293"/>
                  <a:gd name="T12" fmla="*/ 127 w 293"/>
                  <a:gd name="T13" fmla="*/ 48 h 293"/>
                  <a:gd name="T14" fmla="*/ 127 w 293"/>
                  <a:gd name="T15" fmla="*/ 19 h 293"/>
                  <a:gd name="T16" fmla="*/ 146 w 293"/>
                  <a:gd name="T17" fmla="*/ 0 h 293"/>
                  <a:gd name="T18" fmla="*/ 165 w 293"/>
                  <a:gd name="T19" fmla="*/ 19 h 293"/>
                  <a:gd name="T20" fmla="*/ 165 w 293"/>
                  <a:gd name="T21" fmla="*/ 48 h 293"/>
                  <a:gd name="T22" fmla="*/ 202 w 293"/>
                  <a:gd name="T23" fmla="*/ 53 h 293"/>
                  <a:gd name="T24" fmla="*/ 202 w 293"/>
                  <a:gd name="T25" fmla="*/ 53 h 293"/>
                  <a:gd name="T26" fmla="*/ 202 w 293"/>
                  <a:gd name="T27" fmla="*/ 53 h 293"/>
                  <a:gd name="T28" fmla="*/ 242 w 293"/>
                  <a:gd name="T29" fmla="*/ 65 h 293"/>
                  <a:gd name="T30" fmla="*/ 253 w 293"/>
                  <a:gd name="T31" fmla="*/ 28 h 293"/>
                  <a:gd name="T32" fmla="*/ 277 w 293"/>
                  <a:gd name="T33" fmla="*/ 15 h 293"/>
                  <a:gd name="T34" fmla="*/ 290 w 293"/>
                  <a:gd name="T35" fmla="*/ 38 h 293"/>
                  <a:gd name="T36" fmla="*/ 220 w 293"/>
                  <a:gd name="T37" fmla="*/ 278 h 293"/>
                  <a:gd name="T38" fmla="*/ 196 w 293"/>
                  <a:gd name="T39" fmla="*/ 290 h 293"/>
                  <a:gd name="T40" fmla="*/ 183 w 293"/>
                  <a:gd name="T41" fmla="*/ 267 h 293"/>
                  <a:gd name="T42" fmla="*/ 232 w 293"/>
                  <a:gd name="T43" fmla="*/ 102 h 293"/>
                  <a:gd name="T44" fmla="*/ 194 w 293"/>
                  <a:gd name="T45" fmla="*/ 90 h 293"/>
                  <a:gd name="T46" fmla="*/ 194 w 293"/>
                  <a:gd name="T47" fmla="*/ 90 h 293"/>
                  <a:gd name="T48" fmla="*/ 165 w 293"/>
                  <a:gd name="T49" fmla="*/ 86 h 293"/>
                  <a:gd name="T50" fmla="*/ 165 w 293"/>
                  <a:gd name="T51" fmla="*/ 132 h 293"/>
                  <a:gd name="T52" fmla="*/ 146 w 293"/>
                  <a:gd name="T53" fmla="*/ 151 h 293"/>
                  <a:gd name="T54" fmla="*/ 127 w 293"/>
                  <a:gd name="T55" fmla="*/ 132 h 293"/>
                  <a:gd name="T56" fmla="*/ 127 w 293"/>
                  <a:gd name="T57" fmla="*/ 86 h 293"/>
                  <a:gd name="T58" fmla="*/ 99 w 293"/>
                  <a:gd name="T59" fmla="*/ 90 h 293"/>
                  <a:gd name="T60" fmla="*/ 99 w 293"/>
                  <a:gd name="T61" fmla="*/ 90 h 293"/>
                  <a:gd name="T62" fmla="*/ 61 w 293"/>
                  <a:gd name="T63" fmla="*/ 102 h 293"/>
                  <a:gd name="T64" fmla="*/ 109 w 293"/>
                  <a:gd name="T65" fmla="*/ 267 h 293"/>
                  <a:gd name="T66" fmla="*/ 96 w 293"/>
                  <a:gd name="T67" fmla="*/ 290 h 293"/>
                  <a:gd name="T68" fmla="*/ 73 w 293"/>
                  <a:gd name="T69" fmla="*/ 278 h 293"/>
                  <a:gd name="T70" fmla="*/ 3 w 293"/>
                  <a:gd name="T71" fmla="*/ 38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3" h="293">
                    <a:moveTo>
                      <a:pt x="3" y="38"/>
                    </a:moveTo>
                    <a:cubicBezTo>
                      <a:pt x="0" y="28"/>
                      <a:pt x="6" y="18"/>
                      <a:pt x="16" y="15"/>
                    </a:cubicBezTo>
                    <a:cubicBezTo>
                      <a:pt x="26" y="12"/>
                      <a:pt x="37" y="18"/>
                      <a:pt x="39" y="28"/>
                    </a:cubicBezTo>
                    <a:cubicBezTo>
                      <a:pt x="50" y="65"/>
                      <a:pt x="50" y="65"/>
                      <a:pt x="50" y="65"/>
                    </a:cubicBezTo>
                    <a:cubicBezTo>
                      <a:pt x="63" y="60"/>
                      <a:pt x="77" y="56"/>
                      <a:pt x="91" y="53"/>
                    </a:cubicBezTo>
                    <a:cubicBezTo>
                      <a:pt x="91" y="53"/>
                      <a:pt x="91" y="53"/>
                      <a:pt x="91" y="53"/>
                    </a:cubicBezTo>
                    <a:cubicBezTo>
                      <a:pt x="103" y="50"/>
                      <a:pt x="115" y="49"/>
                      <a:pt x="127" y="48"/>
                    </a:cubicBezTo>
                    <a:cubicBezTo>
                      <a:pt x="127" y="19"/>
                      <a:pt x="127" y="19"/>
                      <a:pt x="127" y="19"/>
                    </a:cubicBezTo>
                    <a:cubicBezTo>
                      <a:pt x="127" y="8"/>
                      <a:pt x="136" y="0"/>
                      <a:pt x="146" y="0"/>
                    </a:cubicBezTo>
                    <a:cubicBezTo>
                      <a:pt x="157" y="0"/>
                      <a:pt x="165" y="8"/>
                      <a:pt x="165" y="19"/>
                    </a:cubicBezTo>
                    <a:cubicBezTo>
                      <a:pt x="165" y="48"/>
                      <a:pt x="165" y="48"/>
                      <a:pt x="165" y="48"/>
                    </a:cubicBezTo>
                    <a:cubicBezTo>
                      <a:pt x="178" y="49"/>
                      <a:pt x="190" y="50"/>
                      <a:pt x="202" y="53"/>
                    </a:cubicBezTo>
                    <a:cubicBezTo>
                      <a:pt x="202" y="53"/>
                      <a:pt x="202" y="53"/>
                      <a:pt x="202" y="53"/>
                    </a:cubicBezTo>
                    <a:cubicBezTo>
                      <a:pt x="202" y="53"/>
                      <a:pt x="202" y="53"/>
                      <a:pt x="202" y="53"/>
                    </a:cubicBezTo>
                    <a:cubicBezTo>
                      <a:pt x="216" y="56"/>
                      <a:pt x="229" y="60"/>
                      <a:pt x="242" y="65"/>
                    </a:cubicBezTo>
                    <a:cubicBezTo>
                      <a:pt x="253" y="28"/>
                      <a:pt x="253" y="28"/>
                      <a:pt x="253" y="28"/>
                    </a:cubicBezTo>
                    <a:cubicBezTo>
                      <a:pt x="256" y="18"/>
                      <a:pt x="267" y="12"/>
                      <a:pt x="277" y="15"/>
                    </a:cubicBezTo>
                    <a:cubicBezTo>
                      <a:pt x="287" y="18"/>
                      <a:pt x="293" y="28"/>
                      <a:pt x="290" y="38"/>
                    </a:cubicBezTo>
                    <a:cubicBezTo>
                      <a:pt x="220" y="278"/>
                      <a:pt x="220" y="278"/>
                      <a:pt x="220" y="278"/>
                    </a:cubicBezTo>
                    <a:cubicBezTo>
                      <a:pt x="217" y="288"/>
                      <a:pt x="206" y="293"/>
                      <a:pt x="196" y="290"/>
                    </a:cubicBezTo>
                    <a:cubicBezTo>
                      <a:pt x="186" y="288"/>
                      <a:pt x="180" y="277"/>
                      <a:pt x="183" y="267"/>
                    </a:cubicBezTo>
                    <a:cubicBezTo>
                      <a:pt x="232" y="102"/>
                      <a:pt x="232" y="102"/>
                      <a:pt x="232" y="102"/>
                    </a:cubicBezTo>
                    <a:cubicBezTo>
                      <a:pt x="220" y="97"/>
                      <a:pt x="207" y="93"/>
                      <a:pt x="194" y="90"/>
                    </a:cubicBezTo>
                    <a:cubicBezTo>
                      <a:pt x="194" y="90"/>
                      <a:pt x="194" y="90"/>
                      <a:pt x="194" y="90"/>
                    </a:cubicBezTo>
                    <a:cubicBezTo>
                      <a:pt x="185" y="88"/>
                      <a:pt x="175" y="87"/>
                      <a:pt x="165" y="86"/>
                    </a:cubicBezTo>
                    <a:cubicBezTo>
                      <a:pt x="165" y="132"/>
                      <a:pt x="165" y="132"/>
                      <a:pt x="165" y="132"/>
                    </a:cubicBezTo>
                    <a:cubicBezTo>
                      <a:pt x="165" y="143"/>
                      <a:pt x="157" y="151"/>
                      <a:pt x="146" y="151"/>
                    </a:cubicBezTo>
                    <a:cubicBezTo>
                      <a:pt x="136" y="151"/>
                      <a:pt x="127" y="143"/>
                      <a:pt x="127" y="132"/>
                    </a:cubicBezTo>
                    <a:cubicBezTo>
                      <a:pt x="127" y="86"/>
                      <a:pt x="127" y="86"/>
                      <a:pt x="127" y="86"/>
                    </a:cubicBezTo>
                    <a:cubicBezTo>
                      <a:pt x="118" y="87"/>
                      <a:pt x="108" y="88"/>
                      <a:pt x="99" y="90"/>
                    </a:cubicBezTo>
                    <a:cubicBezTo>
                      <a:pt x="99" y="90"/>
                      <a:pt x="99" y="90"/>
                      <a:pt x="99" y="90"/>
                    </a:cubicBezTo>
                    <a:cubicBezTo>
                      <a:pt x="85" y="93"/>
                      <a:pt x="73" y="97"/>
                      <a:pt x="61" y="102"/>
                    </a:cubicBezTo>
                    <a:cubicBezTo>
                      <a:pt x="109" y="267"/>
                      <a:pt x="109" y="267"/>
                      <a:pt x="109" y="267"/>
                    </a:cubicBezTo>
                    <a:cubicBezTo>
                      <a:pt x="112" y="277"/>
                      <a:pt x="106" y="288"/>
                      <a:pt x="96" y="290"/>
                    </a:cubicBezTo>
                    <a:cubicBezTo>
                      <a:pt x="86" y="293"/>
                      <a:pt x="76" y="288"/>
                      <a:pt x="73" y="278"/>
                    </a:cubicBezTo>
                    <a:cubicBezTo>
                      <a:pt x="3" y="38"/>
                      <a:pt x="3" y="38"/>
                      <a:pt x="3" y="38"/>
                    </a:cubicBezTo>
                    <a:close/>
                  </a:path>
                </a:pathLst>
              </a:custGeom>
              <a:solidFill>
                <a:srgbClr val="84FFFF"/>
              </a:solidFill>
              <a:ln>
                <a:noFill/>
              </a:ln>
            </p:spPr>
            <p:txBody>
              <a:bodyPr vert="horz" wrap="square" lIns="91440" tIns="45720" rIns="91440" bIns="45720" numCol="1" anchor="t" anchorCtr="0" compatLnSpc="1"/>
              <a:lstStyle/>
              <a:p>
                <a:endParaRPr lang="zh-CN" altLang="en-US">
                  <a:cs typeface="+mn-ea"/>
                  <a:sym typeface="+mn-lt"/>
                </a:endParaRPr>
              </a:p>
            </p:txBody>
          </p:sp>
        </p:grpSp>
        <p:sp>
          <p:nvSpPr>
            <p:cNvPr id="98" name="椭圆 97"/>
            <p:cNvSpPr/>
            <p:nvPr/>
          </p:nvSpPr>
          <p:spPr>
            <a:xfrm>
              <a:off x="3768115" y="183883"/>
              <a:ext cx="1197575" cy="1197575"/>
            </a:xfrm>
            <a:prstGeom prst="ellipse">
              <a:avLst/>
            </a:prstGeom>
            <a:noFill/>
            <a:ln w="6350">
              <a:gradFill>
                <a:gsLst>
                  <a:gs pos="0">
                    <a:srgbClr val="05DAE3"/>
                  </a:gs>
                  <a:gs pos="58000">
                    <a:srgbClr val="22B9FE"/>
                  </a:gs>
                  <a:gs pos="83000">
                    <a:srgbClr val="05DAE3"/>
                  </a:gs>
                  <a:gs pos="100000">
                    <a:srgbClr val="22B9FE">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pSp>
      <p:sp>
        <p:nvSpPr>
          <p:cNvPr id="102" name="文本框 101"/>
          <p:cNvSpPr txBox="1"/>
          <p:nvPr/>
        </p:nvSpPr>
        <p:spPr>
          <a:xfrm>
            <a:off x="7297252" y="5582634"/>
            <a:ext cx="2392393" cy="461665"/>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a:ln>
                  <a:noFill/>
                </a:ln>
                <a:solidFill>
                  <a:srgbClr val="84FFFF"/>
                </a:solidFill>
                <a:effectLst/>
                <a:uLnTx/>
                <a:uFillTx/>
                <a:cs typeface="+mn-ea"/>
                <a:sym typeface="+mn-lt"/>
              </a:rPr>
              <a:t>LOREM IPSUM </a:t>
            </a:r>
            <a:r>
              <a:rPr kumimoji="0" lang="en-US" altLang="zh-CN" sz="1200" b="0" i="0" u="none" strike="noStrike" kern="0" cap="none" spc="0" normalizeH="0" baseline="0" noProof="0" dirty="0">
                <a:ln>
                  <a:noFill/>
                </a:ln>
                <a:solidFill>
                  <a:schemeClr val="bg1">
                    <a:lumMod val="95000"/>
                  </a:schemeClr>
                </a:solidFill>
                <a:effectLst/>
                <a:uLnTx/>
                <a:uFillTx/>
                <a:cs typeface="+mn-ea"/>
                <a:sym typeface="+mn-lt"/>
              </a:rPr>
              <a:t>dolor sit </a:t>
            </a:r>
            <a:r>
              <a:rPr kumimoji="0" lang="en-US" altLang="zh-CN" sz="1200" b="0" i="0" u="none" strike="noStrike" kern="0" cap="none" spc="0" normalizeH="0" baseline="0" noProof="0" dirty="0" err="1">
                <a:ln>
                  <a:noFill/>
                </a:ln>
                <a:solidFill>
                  <a:schemeClr val="bg1">
                    <a:lumMod val="95000"/>
                  </a:schemeClr>
                </a:solidFill>
                <a:effectLst/>
                <a:uLnTx/>
                <a:uFillTx/>
                <a:cs typeface="+mn-ea"/>
                <a:sym typeface="+mn-lt"/>
              </a:rPr>
              <a:t>amet</a:t>
            </a:r>
            <a:r>
              <a:rPr kumimoji="0" lang="en-US" altLang="zh-CN" sz="1200" b="0" i="0" u="none" strike="noStrike" kern="0" cap="none" spc="0" normalizeH="0" baseline="0" noProof="0" dirty="0">
                <a:ln>
                  <a:noFill/>
                </a:ln>
                <a:solidFill>
                  <a:schemeClr val="bg1">
                    <a:lumMod val="95000"/>
                  </a:schemeClr>
                </a:solidFill>
                <a:effectLst/>
                <a:uLnTx/>
                <a:uFillTx/>
                <a:cs typeface="+mn-ea"/>
                <a:sym typeface="+mn-lt"/>
              </a:rPr>
              <a:t>, </a:t>
            </a:r>
            <a:endParaRPr kumimoji="0" lang="zh-CN" altLang="en-US" sz="1200" b="0" i="0" u="none" strike="noStrike" kern="0" cap="none" spc="0" normalizeH="0" baseline="0" noProof="0" dirty="0">
              <a:ln>
                <a:noFill/>
              </a:ln>
              <a:solidFill>
                <a:schemeClr val="bg1">
                  <a:lumMod val="95000"/>
                </a:schemeClr>
              </a:solidFill>
              <a:effectLst/>
              <a:uLnTx/>
              <a:uFillTx/>
              <a:cs typeface="+mn-ea"/>
              <a:sym typeface="+mn-lt"/>
            </a:endParaRPr>
          </a:p>
        </p:txBody>
      </p:sp>
      <p:pic>
        <p:nvPicPr>
          <p:cNvPr id="103" name="图片 102"/>
          <p:cNvPicPr>
            <a:picLocks noChangeAspect="1"/>
          </p:cNvPicPr>
          <p:nvPr/>
        </p:nvPicPr>
        <p:blipFill rotWithShape="1">
          <a:blip r:embed="rId8" cstate="screen">
            <a:clrChange>
              <a:clrFrom>
                <a:srgbClr val="000000"/>
              </a:clrFrom>
              <a:clrTo>
                <a:srgbClr val="000000">
                  <a:alpha val="0"/>
                </a:srgbClr>
              </a:clrTo>
            </a:clrChange>
          </a:blip>
          <a:srcRect/>
          <a:stretch>
            <a:fillRect/>
          </a:stretch>
        </p:blipFill>
        <p:spPr>
          <a:xfrm>
            <a:off x="9178517" y="4645883"/>
            <a:ext cx="1148064" cy="764880"/>
          </a:xfrm>
          <a:prstGeom prst="rect">
            <a:avLst/>
          </a:prstGeom>
        </p:spPr>
      </p:pic>
      <p:pic>
        <p:nvPicPr>
          <p:cNvPr id="104" name="图片 103"/>
          <p:cNvPicPr>
            <a:picLocks noChangeAspect="1"/>
          </p:cNvPicPr>
          <p:nvPr/>
        </p:nvPicPr>
        <p:blipFill rotWithShape="1">
          <a:blip r:embed="rId9" cstate="screen">
            <a:clrChange>
              <a:clrFrom>
                <a:srgbClr val="000000"/>
              </a:clrFrom>
              <a:clrTo>
                <a:srgbClr val="000000">
                  <a:alpha val="0"/>
                </a:srgbClr>
              </a:clrTo>
            </a:clrChange>
          </a:blip>
          <a:srcRect/>
          <a:stretch>
            <a:fillRect/>
          </a:stretch>
        </p:blipFill>
        <p:spPr>
          <a:xfrm>
            <a:off x="6652871" y="4645883"/>
            <a:ext cx="1127150" cy="657514"/>
          </a:xfrm>
          <a:prstGeom prst="rect">
            <a:avLst/>
          </a:prstGeom>
        </p:spPr>
      </p:pic>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智能制造</a:t>
            </a:r>
          </a:p>
        </p:txBody>
      </p:sp>
      <p:pic>
        <p:nvPicPr>
          <p:cNvPr id="5" name="2"/>
          <p:cNvPicPr>
            <a:picLocks noChangeAspect="1"/>
          </p:cNvPicPr>
          <p:nvPr/>
        </p:nvPicPr>
        <p:blipFill rotWithShape="1">
          <a:blip r:embed="rId10" cstate="screen"/>
          <a:srcRect/>
          <a:stretch>
            <a:fillRect/>
          </a:stretch>
        </p:blipFill>
        <p:spPr>
          <a:xfrm>
            <a:off x="284893" y="56713"/>
            <a:ext cx="750968" cy="1441451"/>
          </a:xfrm>
          <a:prstGeom prst="rect">
            <a:avLst/>
          </a:prstGeom>
        </p:spPr>
      </p:pic>
    </p:spTree>
  </p:cSld>
  <p:clrMapOvr>
    <a:masterClrMapping/>
  </p:clrMapOvr>
  <p:transition spd="slow" advTm="0">
    <p:push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63"/>
                                        </p:tgtEl>
                                        <p:attrNameLst>
                                          <p:attrName>style.visibility</p:attrName>
                                        </p:attrNameLst>
                                      </p:cBhvr>
                                      <p:to>
                                        <p:strVal val="visible"/>
                                      </p:to>
                                    </p:set>
                                    <p:animEffect transition="in" filter="fade">
                                      <p:cBhvr>
                                        <p:cTn id="20" dur="1000"/>
                                        <p:tgtEl>
                                          <p:spTgt spid="63"/>
                                        </p:tgtEl>
                                      </p:cBhvr>
                                    </p:animEffect>
                                    <p:anim calcmode="lin" valueType="num">
                                      <p:cBhvr>
                                        <p:cTn id="21" dur="1000" fill="hold"/>
                                        <p:tgtEl>
                                          <p:spTgt spid="63"/>
                                        </p:tgtEl>
                                        <p:attrNameLst>
                                          <p:attrName>ppt_x</p:attrName>
                                        </p:attrNameLst>
                                      </p:cBhvr>
                                      <p:tavLst>
                                        <p:tav tm="0">
                                          <p:val>
                                            <p:strVal val="#ppt_x"/>
                                          </p:val>
                                        </p:tav>
                                        <p:tav tm="100000">
                                          <p:val>
                                            <p:strVal val="#ppt_x"/>
                                          </p:val>
                                        </p:tav>
                                      </p:tavLst>
                                    </p:anim>
                                    <p:anim calcmode="lin" valueType="num">
                                      <p:cBhvr>
                                        <p:cTn id="22" dur="1000" fill="hold"/>
                                        <p:tgtEl>
                                          <p:spTgt spid="63"/>
                                        </p:tgtEl>
                                        <p:attrNameLst>
                                          <p:attrName>ppt_y</p:attrName>
                                        </p:attrNameLst>
                                      </p:cBhvr>
                                      <p:tavLst>
                                        <p:tav tm="0">
                                          <p:val>
                                            <p:strVal val="#ppt_y+.1"/>
                                          </p:val>
                                        </p:tav>
                                        <p:tav tm="100000">
                                          <p:val>
                                            <p:strVal val="#ppt_y"/>
                                          </p:val>
                                        </p:tav>
                                      </p:tavLst>
                                    </p:anim>
                                  </p:childTnLst>
                                </p:cTn>
                              </p:par>
                              <p:par>
                                <p:cTn id="23" presetID="42" presetClass="entr" presetSubtype="0" fill="hold" grpId="0" nodeType="withEffect">
                                  <p:stCondLst>
                                    <p:cond delay="800"/>
                                  </p:stCondLst>
                                  <p:childTnLst>
                                    <p:set>
                                      <p:cBhvr>
                                        <p:cTn id="24" dur="1" fill="hold">
                                          <p:stCondLst>
                                            <p:cond delay="0"/>
                                          </p:stCondLst>
                                        </p:cTn>
                                        <p:tgtEl>
                                          <p:spTgt spid="64"/>
                                        </p:tgtEl>
                                        <p:attrNameLst>
                                          <p:attrName>style.visibility</p:attrName>
                                        </p:attrNameLst>
                                      </p:cBhvr>
                                      <p:to>
                                        <p:strVal val="visible"/>
                                      </p:to>
                                    </p:set>
                                    <p:animEffect transition="in" filter="fade">
                                      <p:cBhvr>
                                        <p:cTn id="25" dur="1000"/>
                                        <p:tgtEl>
                                          <p:spTgt spid="64"/>
                                        </p:tgtEl>
                                      </p:cBhvr>
                                    </p:animEffect>
                                    <p:anim calcmode="lin" valueType="num">
                                      <p:cBhvr>
                                        <p:cTn id="26" dur="1000" fill="hold"/>
                                        <p:tgtEl>
                                          <p:spTgt spid="64"/>
                                        </p:tgtEl>
                                        <p:attrNameLst>
                                          <p:attrName>ppt_x</p:attrName>
                                        </p:attrNameLst>
                                      </p:cBhvr>
                                      <p:tavLst>
                                        <p:tav tm="0">
                                          <p:val>
                                            <p:strVal val="#ppt_x"/>
                                          </p:val>
                                        </p:tav>
                                        <p:tav tm="100000">
                                          <p:val>
                                            <p:strVal val="#ppt_x"/>
                                          </p:val>
                                        </p:tav>
                                      </p:tavLst>
                                    </p:anim>
                                    <p:anim calcmode="lin" valueType="num">
                                      <p:cBhvr>
                                        <p:cTn id="27" dur="1000" fill="hold"/>
                                        <p:tgtEl>
                                          <p:spTgt spid="64"/>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400"/>
                                  </p:stCondLst>
                                  <p:childTnLst>
                                    <p:set>
                                      <p:cBhvr>
                                        <p:cTn id="29" dur="1" fill="hold">
                                          <p:stCondLst>
                                            <p:cond delay="0"/>
                                          </p:stCondLst>
                                        </p:cTn>
                                        <p:tgtEl>
                                          <p:spTgt spid="65"/>
                                        </p:tgtEl>
                                        <p:attrNameLst>
                                          <p:attrName>style.visibility</p:attrName>
                                        </p:attrNameLst>
                                      </p:cBhvr>
                                      <p:to>
                                        <p:strVal val="visible"/>
                                      </p:to>
                                    </p:set>
                                    <p:animEffect transition="in" filter="fade">
                                      <p:cBhvr>
                                        <p:cTn id="30" dur="1100"/>
                                        <p:tgtEl>
                                          <p:spTgt spid="65"/>
                                        </p:tgtEl>
                                      </p:cBhvr>
                                    </p:animEffect>
                                    <p:anim calcmode="lin" valueType="num">
                                      <p:cBhvr>
                                        <p:cTn id="31" dur="1100" fill="hold"/>
                                        <p:tgtEl>
                                          <p:spTgt spid="65"/>
                                        </p:tgtEl>
                                        <p:attrNameLst>
                                          <p:attrName>ppt_x</p:attrName>
                                        </p:attrNameLst>
                                      </p:cBhvr>
                                      <p:tavLst>
                                        <p:tav tm="0">
                                          <p:val>
                                            <p:strVal val="#ppt_x"/>
                                          </p:val>
                                        </p:tav>
                                        <p:tav tm="100000">
                                          <p:val>
                                            <p:strVal val="#ppt_x"/>
                                          </p:val>
                                        </p:tav>
                                      </p:tavLst>
                                    </p:anim>
                                    <p:anim calcmode="lin" valueType="num">
                                      <p:cBhvr>
                                        <p:cTn id="32" dur="1100" fill="hold"/>
                                        <p:tgtEl>
                                          <p:spTgt spid="65"/>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20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600"/>
                                        <p:tgtEl>
                                          <p:spTgt spid="62"/>
                                        </p:tgtEl>
                                      </p:cBhvr>
                                    </p:animEffect>
                                    <p:anim calcmode="lin" valueType="num">
                                      <p:cBhvr>
                                        <p:cTn id="36" dur="600" fill="hold"/>
                                        <p:tgtEl>
                                          <p:spTgt spid="62"/>
                                        </p:tgtEl>
                                        <p:attrNameLst>
                                          <p:attrName>ppt_x</p:attrName>
                                        </p:attrNameLst>
                                      </p:cBhvr>
                                      <p:tavLst>
                                        <p:tav tm="0">
                                          <p:val>
                                            <p:strVal val="#ppt_x"/>
                                          </p:val>
                                        </p:tav>
                                        <p:tav tm="100000">
                                          <p:val>
                                            <p:strVal val="#ppt_x"/>
                                          </p:val>
                                        </p:tav>
                                      </p:tavLst>
                                    </p:anim>
                                    <p:anim calcmode="lin" valueType="num">
                                      <p:cBhvr>
                                        <p:cTn id="37" dur="600" fill="hold"/>
                                        <p:tgtEl>
                                          <p:spTgt spid="62"/>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700"/>
                                  </p:stCondLst>
                                  <p:childTnLst>
                                    <p:set>
                                      <p:cBhvr>
                                        <p:cTn id="39" dur="1" fill="hold">
                                          <p:stCondLst>
                                            <p:cond delay="0"/>
                                          </p:stCondLst>
                                        </p:cTn>
                                        <p:tgtEl>
                                          <p:spTgt spid="66"/>
                                        </p:tgtEl>
                                        <p:attrNameLst>
                                          <p:attrName>style.visibility</p:attrName>
                                        </p:attrNameLst>
                                      </p:cBhvr>
                                      <p:to>
                                        <p:strVal val="visible"/>
                                      </p:to>
                                    </p:set>
                                    <p:animEffect transition="in" filter="fade">
                                      <p:cBhvr>
                                        <p:cTn id="40" dur="1000"/>
                                        <p:tgtEl>
                                          <p:spTgt spid="66"/>
                                        </p:tgtEl>
                                      </p:cBhvr>
                                    </p:animEffect>
                                    <p:anim calcmode="lin" valueType="num">
                                      <p:cBhvr>
                                        <p:cTn id="41" dur="1000" fill="hold"/>
                                        <p:tgtEl>
                                          <p:spTgt spid="66"/>
                                        </p:tgtEl>
                                        <p:attrNameLst>
                                          <p:attrName>ppt_x</p:attrName>
                                        </p:attrNameLst>
                                      </p:cBhvr>
                                      <p:tavLst>
                                        <p:tav tm="0">
                                          <p:val>
                                            <p:strVal val="#ppt_x"/>
                                          </p:val>
                                        </p:tav>
                                        <p:tav tm="100000">
                                          <p:val>
                                            <p:strVal val="#ppt_x"/>
                                          </p:val>
                                        </p:tav>
                                      </p:tavLst>
                                    </p:anim>
                                    <p:anim calcmode="lin" valueType="num">
                                      <p:cBhvr>
                                        <p:cTn id="42" dur="1000" fill="hold"/>
                                        <p:tgtEl>
                                          <p:spTgt spid="66"/>
                                        </p:tgtEl>
                                        <p:attrNameLst>
                                          <p:attrName>ppt_y</p:attrName>
                                        </p:attrNameLst>
                                      </p:cBhvr>
                                      <p:tavLst>
                                        <p:tav tm="0">
                                          <p:val>
                                            <p:strVal val="#ppt_y+.1"/>
                                          </p:val>
                                        </p:tav>
                                        <p:tav tm="100000">
                                          <p:val>
                                            <p:strVal val="#ppt_y"/>
                                          </p:val>
                                        </p:tav>
                                      </p:tavLst>
                                    </p:anim>
                                  </p:childTnLst>
                                </p:cTn>
                              </p:par>
                              <p:par>
                                <p:cTn id="43" presetID="42" presetClass="entr" presetSubtype="0" fill="hold" grpId="0" nodeType="withEffect">
                                  <p:stCondLst>
                                    <p:cond delay="1100"/>
                                  </p:stCondLst>
                                  <p:childTnLst>
                                    <p:set>
                                      <p:cBhvr>
                                        <p:cTn id="44" dur="1" fill="hold">
                                          <p:stCondLst>
                                            <p:cond delay="0"/>
                                          </p:stCondLst>
                                        </p:cTn>
                                        <p:tgtEl>
                                          <p:spTgt spid="68"/>
                                        </p:tgtEl>
                                        <p:attrNameLst>
                                          <p:attrName>style.visibility</p:attrName>
                                        </p:attrNameLst>
                                      </p:cBhvr>
                                      <p:to>
                                        <p:strVal val="visible"/>
                                      </p:to>
                                    </p:set>
                                    <p:animEffect transition="in" filter="fade">
                                      <p:cBhvr>
                                        <p:cTn id="45" dur="1000"/>
                                        <p:tgtEl>
                                          <p:spTgt spid="68"/>
                                        </p:tgtEl>
                                      </p:cBhvr>
                                    </p:animEffect>
                                    <p:anim calcmode="lin" valueType="num">
                                      <p:cBhvr>
                                        <p:cTn id="46" dur="1000" fill="hold"/>
                                        <p:tgtEl>
                                          <p:spTgt spid="68"/>
                                        </p:tgtEl>
                                        <p:attrNameLst>
                                          <p:attrName>ppt_x</p:attrName>
                                        </p:attrNameLst>
                                      </p:cBhvr>
                                      <p:tavLst>
                                        <p:tav tm="0">
                                          <p:val>
                                            <p:strVal val="#ppt_x"/>
                                          </p:val>
                                        </p:tav>
                                        <p:tav tm="100000">
                                          <p:val>
                                            <p:strVal val="#ppt_x"/>
                                          </p:val>
                                        </p:tav>
                                      </p:tavLst>
                                    </p:anim>
                                    <p:anim calcmode="lin" valueType="num">
                                      <p:cBhvr>
                                        <p:cTn id="47" dur="1000" fill="hold"/>
                                        <p:tgtEl>
                                          <p:spTgt spid="68"/>
                                        </p:tgtEl>
                                        <p:attrNameLst>
                                          <p:attrName>ppt_y</p:attrName>
                                        </p:attrNameLst>
                                      </p:cBhvr>
                                      <p:tavLst>
                                        <p:tav tm="0">
                                          <p:val>
                                            <p:strVal val="#ppt_y+.1"/>
                                          </p:val>
                                        </p:tav>
                                        <p:tav tm="100000">
                                          <p:val>
                                            <p:strVal val="#ppt_y"/>
                                          </p:val>
                                        </p:tav>
                                      </p:tavLst>
                                    </p:anim>
                                  </p:childTnLst>
                                </p:cTn>
                              </p:par>
                              <p:par>
                                <p:cTn id="48" presetID="42" presetClass="entr" presetSubtype="0" fill="hold" grpId="0" nodeType="withEffect">
                                  <p:stCondLst>
                                    <p:cond delay="0"/>
                                  </p:stCondLst>
                                  <p:childTnLst>
                                    <p:set>
                                      <p:cBhvr>
                                        <p:cTn id="49" dur="1" fill="hold">
                                          <p:stCondLst>
                                            <p:cond delay="0"/>
                                          </p:stCondLst>
                                        </p:cTn>
                                        <p:tgtEl>
                                          <p:spTgt spid="67"/>
                                        </p:tgtEl>
                                        <p:attrNameLst>
                                          <p:attrName>style.visibility</p:attrName>
                                        </p:attrNameLst>
                                      </p:cBhvr>
                                      <p:to>
                                        <p:strVal val="visible"/>
                                      </p:to>
                                    </p:set>
                                    <p:animEffect transition="in" filter="fade">
                                      <p:cBhvr>
                                        <p:cTn id="50" dur="1000"/>
                                        <p:tgtEl>
                                          <p:spTgt spid="67"/>
                                        </p:tgtEl>
                                      </p:cBhvr>
                                    </p:animEffect>
                                    <p:anim calcmode="lin" valueType="num">
                                      <p:cBhvr>
                                        <p:cTn id="51" dur="1000" fill="hold"/>
                                        <p:tgtEl>
                                          <p:spTgt spid="67"/>
                                        </p:tgtEl>
                                        <p:attrNameLst>
                                          <p:attrName>ppt_x</p:attrName>
                                        </p:attrNameLst>
                                      </p:cBhvr>
                                      <p:tavLst>
                                        <p:tav tm="0">
                                          <p:val>
                                            <p:strVal val="#ppt_x"/>
                                          </p:val>
                                        </p:tav>
                                        <p:tav tm="100000">
                                          <p:val>
                                            <p:strVal val="#ppt_x"/>
                                          </p:val>
                                        </p:tav>
                                      </p:tavLst>
                                    </p:anim>
                                    <p:anim calcmode="lin" valueType="num">
                                      <p:cBhvr>
                                        <p:cTn id="52" dur="1000" fill="hold"/>
                                        <p:tgtEl>
                                          <p:spTgt spid="67"/>
                                        </p:tgtEl>
                                        <p:attrNameLst>
                                          <p:attrName>ppt_y</p:attrName>
                                        </p:attrNameLst>
                                      </p:cBhvr>
                                      <p:tavLst>
                                        <p:tav tm="0">
                                          <p:val>
                                            <p:strVal val="#ppt_y+.1"/>
                                          </p:val>
                                        </p:tav>
                                        <p:tav tm="100000">
                                          <p:val>
                                            <p:strVal val="#ppt_y"/>
                                          </p:val>
                                        </p:tav>
                                      </p:tavLst>
                                    </p:anim>
                                  </p:childTnLst>
                                </p:cTn>
                              </p:par>
                              <p:par>
                                <p:cTn id="53" presetID="21" presetClass="entr" presetSubtype="1" fill="hold" nodeType="withEffect">
                                  <p:stCondLst>
                                    <p:cond delay="0"/>
                                  </p:stCondLst>
                                  <p:childTnLst>
                                    <p:set>
                                      <p:cBhvr>
                                        <p:cTn id="54" dur="1" fill="hold">
                                          <p:stCondLst>
                                            <p:cond delay="0"/>
                                          </p:stCondLst>
                                        </p:cTn>
                                        <p:tgtEl>
                                          <p:spTgt spid="49"/>
                                        </p:tgtEl>
                                        <p:attrNameLst>
                                          <p:attrName>style.visibility</p:attrName>
                                        </p:attrNameLst>
                                      </p:cBhvr>
                                      <p:to>
                                        <p:strVal val="visible"/>
                                      </p:to>
                                    </p:set>
                                    <p:animEffect transition="in" filter="wheel(1)">
                                      <p:cBhvr>
                                        <p:cTn id="55" dur="2000"/>
                                        <p:tgtEl>
                                          <p:spTgt spid="49"/>
                                        </p:tgtEl>
                                      </p:cBhvr>
                                    </p:animEffect>
                                  </p:childTnLst>
                                </p:cTn>
                              </p:par>
                              <p:par>
                                <p:cTn id="56" presetID="49" presetClass="entr" presetSubtype="0" decel="100000" fill="hold" grpId="0" nodeType="withEffect">
                                  <p:stCondLst>
                                    <p:cond delay="0"/>
                                  </p:stCondLst>
                                  <p:iterate type="lt">
                                    <p:tmPct val="20000"/>
                                  </p:iterate>
                                  <p:childTnLst>
                                    <p:set>
                                      <p:cBhvr>
                                        <p:cTn id="57" dur="1" fill="hold">
                                          <p:stCondLst>
                                            <p:cond delay="0"/>
                                          </p:stCondLst>
                                        </p:cTn>
                                        <p:tgtEl>
                                          <p:spTgt spid="69"/>
                                        </p:tgtEl>
                                        <p:attrNameLst>
                                          <p:attrName>style.visibility</p:attrName>
                                        </p:attrNameLst>
                                      </p:cBhvr>
                                      <p:to>
                                        <p:strVal val="visible"/>
                                      </p:to>
                                    </p:set>
                                    <p:anim calcmode="lin" valueType="num">
                                      <p:cBhvr>
                                        <p:cTn id="58" dur="500" fill="hold"/>
                                        <p:tgtEl>
                                          <p:spTgt spid="69"/>
                                        </p:tgtEl>
                                        <p:attrNameLst>
                                          <p:attrName>ppt_w</p:attrName>
                                        </p:attrNameLst>
                                      </p:cBhvr>
                                      <p:tavLst>
                                        <p:tav tm="0">
                                          <p:val>
                                            <p:fltVal val="0"/>
                                          </p:val>
                                        </p:tav>
                                        <p:tav tm="100000">
                                          <p:val>
                                            <p:strVal val="#ppt_w"/>
                                          </p:val>
                                        </p:tav>
                                      </p:tavLst>
                                    </p:anim>
                                    <p:anim calcmode="lin" valueType="num">
                                      <p:cBhvr>
                                        <p:cTn id="59" dur="500" fill="hold"/>
                                        <p:tgtEl>
                                          <p:spTgt spid="69"/>
                                        </p:tgtEl>
                                        <p:attrNameLst>
                                          <p:attrName>ppt_h</p:attrName>
                                        </p:attrNameLst>
                                      </p:cBhvr>
                                      <p:tavLst>
                                        <p:tav tm="0">
                                          <p:val>
                                            <p:fltVal val="0"/>
                                          </p:val>
                                        </p:tav>
                                        <p:tav tm="100000">
                                          <p:val>
                                            <p:strVal val="#ppt_h"/>
                                          </p:val>
                                        </p:tav>
                                      </p:tavLst>
                                    </p:anim>
                                    <p:anim calcmode="lin" valueType="num">
                                      <p:cBhvr>
                                        <p:cTn id="60" dur="500" fill="hold"/>
                                        <p:tgtEl>
                                          <p:spTgt spid="69"/>
                                        </p:tgtEl>
                                        <p:attrNameLst>
                                          <p:attrName>style.rotation</p:attrName>
                                        </p:attrNameLst>
                                      </p:cBhvr>
                                      <p:tavLst>
                                        <p:tav tm="0">
                                          <p:val>
                                            <p:fltVal val="360"/>
                                          </p:val>
                                        </p:tav>
                                        <p:tav tm="100000">
                                          <p:val>
                                            <p:fltVal val="0"/>
                                          </p:val>
                                        </p:tav>
                                      </p:tavLst>
                                    </p:anim>
                                    <p:animEffect transition="in" filter="fade">
                                      <p:cBhvr>
                                        <p:cTn id="61" dur="500"/>
                                        <p:tgtEl>
                                          <p:spTgt spid="69"/>
                                        </p:tgtEl>
                                      </p:cBhvr>
                                    </p:animEffect>
                                  </p:childTnLst>
                                </p:cTn>
                              </p:par>
                              <p:par>
                                <p:cTn id="62" presetID="10" presetClass="entr" presetSubtype="0" fill="hold" grpId="0" nodeType="withEffect">
                                  <p:stCondLst>
                                    <p:cond delay="0"/>
                                  </p:stCondLst>
                                  <p:iterate type="lt">
                                    <p:tmPct val="4935"/>
                                  </p:iterate>
                                  <p:childTnLst>
                                    <p:set>
                                      <p:cBhvr>
                                        <p:cTn id="63" dur="1" fill="hold">
                                          <p:stCondLst>
                                            <p:cond delay="0"/>
                                          </p:stCondLst>
                                        </p:cTn>
                                        <p:tgtEl>
                                          <p:spTgt spid="71"/>
                                        </p:tgtEl>
                                        <p:attrNameLst>
                                          <p:attrName>style.visibility</p:attrName>
                                        </p:attrNameLst>
                                      </p:cBhvr>
                                      <p:to>
                                        <p:strVal val="visible"/>
                                      </p:to>
                                    </p:set>
                                    <p:animEffect transition="in" filter="fade">
                                      <p:cBhvr>
                                        <p:cTn id="64" dur="500"/>
                                        <p:tgtEl>
                                          <p:spTgt spid="71"/>
                                        </p:tgtEl>
                                      </p:cBhvr>
                                    </p:animEffect>
                                  </p:childTnLst>
                                </p:cTn>
                              </p:par>
                            </p:childTnLst>
                          </p:cTn>
                        </p:par>
                      </p:childTnLst>
                    </p:cTn>
                  </p:par>
                  <p:par>
                    <p:cTn id="65" fill="hold">
                      <p:stCondLst>
                        <p:cond delay="indefinite"/>
                      </p:stCondLst>
                      <p:childTnLst>
                        <p:par>
                          <p:cTn id="66" fill="hold">
                            <p:stCondLst>
                              <p:cond delay="0"/>
                            </p:stCondLst>
                            <p:childTnLst>
                              <p:par>
                                <p:cTn id="67" presetID="22" presetClass="entr" presetSubtype="2" fill="hold" nodeType="clickEffect">
                                  <p:stCondLst>
                                    <p:cond delay="0"/>
                                  </p:stCondLst>
                                  <p:childTnLst>
                                    <p:set>
                                      <p:cBhvr>
                                        <p:cTn id="68" dur="1" fill="hold">
                                          <p:stCondLst>
                                            <p:cond delay="0"/>
                                          </p:stCondLst>
                                        </p:cTn>
                                        <p:tgtEl>
                                          <p:spTgt spid="92"/>
                                        </p:tgtEl>
                                        <p:attrNameLst>
                                          <p:attrName>style.visibility</p:attrName>
                                        </p:attrNameLst>
                                      </p:cBhvr>
                                      <p:to>
                                        <p:strVal val="visible"/>
                                      </p:to>
                                    </p:set>
                                    <p:animEffect transition="in" filter="wipe(right)">
                                      <p:cBhvr>
                                        <p:cTn id="69" dur="1100"/>
                                        <p:tgtEl>
                                          <p:spTgt spid="92"/>
                                        </p:tgtEl>
                                      </p:cBhvr>
                                    </p:animEffect>
                                  </p:childTnLst>
                                </p:cTn>
                              </p:par>
                              <p:par>
                                <p:cTn id="70" presetID="49" presetClass="entr" presetSubtype="0" decel="100000" fill="hold" nodeType="withEffect">
                                  <p:stCondLst>
                                    <p:cond delay="0"/>
                                  </p:stCondLst>
                                  <p:childTnLst>
                                    <p:set>
                                      <p:cBhvr>
                                        <p:cTn id="71" dur="1" fill="hold">
                                          <p:stCondLst>
                                            <p:cond delay="0"/>
                                          </p:stCondLst>
                                        </p:cTn>
                                        <p:tgtEl>
                                          <p:spTgt spid="96"/>
                                        </p:tgtEl>
                                        <p:attrNameLst>
                                          <p:attrName>style.visibility</p:attrName>
                                        </p:attrNameLst>
                                      </p:cBhvr>
                                      <p:to>
                                        <p:strVal val="visible"/>
                                      </p:to>
                                    </p:set>
                                    <p:anim calcmode="lin" valueType="num">
                                      <p:cBhvr>
                                        <p:cTn id="72" dur="500" fill="hold"/>
                                        <p:tgtEl>
                                          <p:spTgt spid="96"/>
                                        </p:tgtEl>
                                        <p:attrNameLst>
                                          <p:attrName>ppt_w</p:attrName>
                                        </p:attrNameLst>
                                      </p:cBhvr>
                                      <p:tavLst>
                                        <p:tav tm="0">
                                          <p:val>
                                            <p:fltVal val="0"/>
                                          </p:val>
                                        </p:tav>
                                        <p:tav tm="100000">
                                          <p:val>
                                            <p:strVal val="#ppt_w"/>
                                          </p:val>
                                        </p:tav>
                                      </p:tavLst>
                                    </p:anim>
                                    <p:anim calcmode="lin" valueType="num">
                                      <p:cBhvr>
                                        <p:cTn id="73" dur="500" fill="hold"/>
                                        <p:tgtEl>
                                          <p:spTgt spid="96"/>
                                        </p:tgtEl>
                                        <p:attrNameLst>
                                          <p:attrName>ppt_h</p:attrName>
                                        </p:attrNameLst>
                                      </p:cBhvr>
                                      <p:tavLst>
                                        <p:tav tm="0">
                                          <p:val>
                                            <p:fltVal val="0"/>
                                          </p:val>
                                        </p:tav>
                                        <p:tav tm="100000">
                                          <p:val>
                                            <p:strVal val="#ppt_h"/>
                                          </p:val>
                                        </p:tav>
                                      </p:tavLst>
                                    </p:anim>
                                    <p:anim calcmode="lin" valueType="num">
                                      <p:cBhvr>
                                        <p:cTn id="74" dur="500" fill="hold"/>
                                        <p:tgtEl>
                                          <p:spTgt spid="96"/>
                                        </p:tgtEl>
                                        <p:attrNameLst>
                                          <p:attrName>style.rotation</p:attrName>
                                        </p:attrNameLst>
                                      </p:cBhvr>
                                      <p:tavLst>
                                        <p:tav tm="0">
                                          <p:val>
                                            <p:fltVal val="360"/>
                                          </p:val>
                                        </p:tav>
                                        <p:tav tm="100000">
                                          <p:val>
                                            <p:fltVal val="0"/>
                                          </p:val>
                                        </p:tav>
                                      </p:tavLst>
                                    </p:anim>
                                    <p:animEffect transition="in" filter="fade">
                                      <p:cBhvr>
                                        <p:cTn id="75" dur="500"/>
                                        <p:tgtEl>
                                          <p:spTgt spid="96"/>
                                        </p:tgtEl>
                                      </p:cBhvr>
                                    </p:animEffect>
                                  </p:childTnLst>
                                </p:cTn>
                              </p:par>
                              <p:par>
                                <p:cTn id="76" presetID="49" presetClass="entr" presetSubtype="0" decel="100000" fill="hold" grpId="0" nodeType="withEffect">
                                  <p:stCondLst>
                                    <p:cond delay="0"/>
                                  </p:stCondLst>
                                  <p:iterate type="lt">
                                    <p:tmPct val="20000"/>
                                  </p:iterate>
                                  <p:childTnLst>
                                    <p:set>
                                      <p:cBhvr>
                                        <p:cTn id="77" dur="1" fill="hold">
                                          <p:stCondLst>
                                            <p:cond delay="0"/>
                                          </p:stCondLst>
                                        </p:cTn>
                                        <p:tgtEl>
                                          <p:spTgt spid="91"/>
                                        </p:tgtEl>
                                        <p:attrNameLst>
                                          <p:attrName>style.visibility</p:attrName>
                                        </p:attrNameLst>
                                      </p:cBhvr>
                                      <p:to>
                                        <p:strVal val="visible"/>
                                      </p:to>
                                    </p:set>
                                    <p:anim calcmode="lin" valueType="num">
                                      <p:cBhvr>
                                        <p:cTn id="78" dur="750" fill="hold"/>
                                        <p:tgtEl>
                                          <p:spTgt spid="91"/>
                                        </p:tgtEl>
                                        <p:attrNameLst>
                                          <p:attrName>ppt_w</p:attrName>
                                        </p:attrNameLst>
                                      </p:cBhvr>
                                      <p:tavLst>
                                        <p:tav tm="0">
                                          <p:val>
                                            <p:fltVal val="0"/>
                                          </p:val>
                                        </p:tav>
                                        <p:tav tm="100000">
                                          <p:val>
                                            <p:strVal val="#ppt_w"/>
                                          </p:val>
                                        </p:tav>
                                      </p:tavLst>
                                    </p:anim>
                                    <p:anim calcmode="lin" valueType="num">
                                      <p:cBhvr>
                                        <p:cTn id="79" dur="750" fill="hold"/>
                                        <p:tgtEl>
                                          <p:spTgt spid="91"/>
                                        </p:tgtEl>
                                        <p:attrNameLst>
                                          <p:attrName>ppt_h</p:attrName>
                                        </p:attrNameLst>
                                      </p:cBhvr>
                                      <p:tavLst>
                                        <p:tav tm="0">
                                          <p:val>
                                            <p:fltVal val="0"/>
                                          </p:val>
                                        </p:tav>
                                        <p:tav tm="100000">
                                          <p:val>
                                            <p:strVal val="#ppt_h"/>
                                          </p:val>
                                        </p:tav>
                                      </p:tavLst>
                                    </p:anim>
                                    <p:anim calcmode="lin" valueType="num">
                                      <p:cBhvr>
                                        <p:cTn id="80" dur="750" fill="hold"/>
                                        <p:tgtEl>
                                          <p:spTgt spid="91"/>
                                        </p:tgtEl>
                                        <p:attrNameLst>
                                          <p:attrName>style.rotation</p:attrName>
                                        </p:attrNameLst>
                                      </p:cBhvr>
                                      <p:tavLst>
                                        <p:tav tm="0">
                                          <p:val>
                                            <p:fltVal val="360"/>
                                          </p:val>
                                        </p:tav>
                                        <p:tav tm="100000">
                                          <p:val>
                                            <p:fltVal val="0"/>
                                          </p:val>
                                        </p:tav>
                                      </p:tavLst>
                                    </p:anim>
                                    <p:animEffect transition="in" filter="fade">
                                      <p:cBhvr>
                                        <p:cTn id="81" dur="750"/>
                                        <p:tgtEl>
                                          <p:spTgt spid="91"/>
                                        </p:tgtEl>
                                      </p:cBhvr>
                                    </p:animEffect>
                                  </p:childTnLst>
                                </p:cTn>
                              </p:par>
                              <p:par>
                                <p:cTn id="82" presetID="10" presetClass="entr" presetSubtype="0" fill="hold" grpId="0" nodeType="withEffect">
                                  <p:stCondLst>
                                    <p:cond delay="0"/>
                                  </p:stCondLst>
                                  <p:iterate type="lt">
                                    <p:tmPct val="4935"/>
                                  </p:iterate>
                                  <p:childTnLst>
                                    <p:set>
                                      <p:cBhvr>
                                        <p:cTn id="83" dur="1" fill="hold">
                                          <p:stCondLst>
                                            <p:cond delay="0"/>
                                          </p:stCondLst>
                                        </p:cTn>
                                        <p:tgtEl>
                                          <p:spTgt spid="90"/>
                                        </p:tgtEl>
                                        <p:attrNameLst>
                                          <p:attrName>style.visibility</p:attrName>
                                        </p:attrNameLst>
                                      </p:cBhvr>
                                      <p:to>
                                        <p:strVal val="visible"/>
                                      </p:to>
                                    </p:set>
                                    <p:animEffect transition="in" filter="fade">
                                      <p:cBhvr>
                                        <p:cTn id="84" dur="750"/>
                                        <p:tgtEl>
                                          <p:spTgt spid="90"/>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8" fill="hold" nodeType="clickEffect">
                                  <p:stCondLst>
                                    <p:cond delay="0"/>
                                  </p:stCondLst>
                                  <p:childTnLst>
                                    <p:set>
                                      <p:cBhvr>
                                        <p:cTn id="88" dur="1" fill="hold">
                                          <p:stCondLst>
                                            <p:cond delay="0"/>
                                          </p:stCondLst>
                                        </p:cTn>
                                        <p:tgtEl>
                                          <p:spTgt spid="72"/>
                                        </p:tgtEl>
                                        <p:attrNameLst>
                                          <p:attrName>style.visibility</p:attrName>
                                        </p:attrNameLst>
                                      </p:cBhvr>
                                      <p:to>
                                        <p:strVal val="visible"/>
                                      </p:to>
                                    </p:set>
                                    <p:animEffect transition="in" filter="wipe(left)">
                                      <p:cBhvr>
                                        <p:cTn id="89" dur="1000"/>
                                        <p:tgtEl>
                                          <p:spTgt spid="72"/>
                                        </p:tgtEl>
                                      </p:cBhvr>
                                    </p:animEffect>
                                  </p:childTnLst>
                                </p:cTn>
                              </p:par>
                            </p:childTnLst>
                          </p:cTn>
                        </p:par>
                      </p:childTnLst>
                    </p:cTn>
                  </p:par>
                  <p:par>
                    <p:cTn id="90" fill="hold">
                      <p:stCondLst>
                        <p:cond delay="indefinite"/>
                      </p:stCondLst>
                      <p:childTnLst>
                        <p:par>
                          <p:cTn id="91" fill="hold">
                            <p:stCondLst>
                              <p:cond delay="0"/>
                            </p:stCondLst>
                            <p:childTnLst>
                              <p:par>
                                <p:cTn id="92" presetID="49" presetClass="entr" presetSubtype="0" decel="100000" fill="hold" nodeType="clickEffect">
                                  <p:stCondLst>
                                    <p:cond delay="0"/>
                                  </p:stCondLst>
                                  <p:childTnLst>
                                    <p:set>
                                      <p:cBhvr>
                                        <p:cTn id="93" dur="1" fill="hold">
                                          <p:stCondLst>
                                            <p:cond delay="0"/>
                                          </p:stCondLst>
                                        </p:cTn>
                                        <p:tgtEl>
                                          <p:spTgt spid="4"/>
                                        </p:tgtEl>
                                        <p:attrNameLst>
                                          <p:attrName>style.visibility</p:attrName>
                                        </p:attrNameLst>
                                      </p:cBhvr>
                                      <p:to>
                                        <p:strVal val="visible"/>
                                      </p:to>
                                    </p:set>
                                    <p:anim calcmode="lin" valueType="num">
                                      <p:cBhvr>
                                        <p:cTn id="94" dur="1000" fill="hold"/>
                                        <p:tgtEl>
                                          <p:spTgt spid="4"/>
                                        </p:tgtEl>
                                        <p:attrNameLst>
                                          <p:attrName>ppt_w</p:attrName>
                                        </p:attrNameLst>
                                      </p:cBhvr>
                                      <p:tavLst>
                                        <p:tav tm="0">
                                          <p:val>
                                            <p:fltVal val="0"/>
                                          </p:val>
                                        </p:tav>
                                        <p:tav tm="100000">
                                          <p:val>
                                            <p:strVal val="#ppt_w"/>
                                          </p:val>
                                        </p:tav>
                                      </p:tavLst>
                                    </p:anim>
                                    <p:anim calcmode="lin" valueType="num">
                                      <p:cBhvr>
                                        <p:cTn id="95" dur="1000" fill="hold"/>
                                        <p:tgtEl>
                                          <p:spTgt spid="4"/>
                                        </p:tgtEl>
                                        <p:attrNameLst>
                                          <p:attrName>ppt_h</p:attrName>
                                        </p:attrNameLst>
                                      </p:cBhvr>
                                      <p:tavLst>
                                        <p:tav tm="0">
                                          <p:val>
                                            <p:fltVal val="0"/>
                                          </p:val>
                                        </p:tav>
                                        <p:tav tm="100000">
                                          <p:val>
                                            <p:strVal val="#ppt_h"/>
                                          </p:val>
                                        </p:tav>
                                      </p:tavLst>
                                    </p:anim>
                                    <p:anim calcmode="lin" valueType="num">
                                      <p:cBhvr>
                                        <p:cTn id="96" dur="1000" fill="hold"/>
                                        <p:tgtEl>
                                          <p:spTgt spid="4"/>
                                        </p:tgtEl>
                                        <p:attrNameLst>
                                          <p:attrName>style.rotation</p:attrName>
                                        </p:attrNameLst>
                                      </p:cBhvr>
                                      <p:tavLst>
                                        <p:tav tm="0">
                                          <p:val>
                                            <p:fltVal val="360"/>
                                          </p:val>
                                        </p:tav>
                                        <p:tav tm="100000">
                                          <p:val>
                                            <p:fltVal val="0"/>
                                          </p:val>
                                        </p:tav>
                                      </p:tavLst>
                                    </p:anim>
                                    <p:animEffect transition="in" filter="fade">
                                      <p:cBhvr>
                                        <p:cTn id="97" dur="1000"/>
                                        <p:tgtEl>
                                          <p:spTgt spid="4"/>
                                        </p:tgtEl>
                                      </p:cBhvr>
                                    </p:animEffect>
                                  </p:childTnLst>
                                </p:cTn>
                              </p:par>
                              <p:par>
                                <p:cTn id="98" presetID="49" presetClass="entr" presetSubtype="0" decel="100000" fill="hold" nodeType="withEffect">
                                  <p:stCondLst>
                                    <p:cond delay="300"/>
                                  </p:stCondLst>
                                  <p:childTnLst>
                                    <p:set>
                                      <p:cBhvr>
                                        <p:cTn id="99" dur="1" fill="hold">
                                          <p:stCondLst>
                                            <p:cond delay="0"/>
                                          </p:stCondLst>
                                        </p:cTn>
                                        <p:tgtEl>
                                          <p:spTgt spid="6"/>
                                        </p:tgtEl>
                                        <p:attrNameLst>
                                          <p:attrName>style.visibility</p:attrName>
                                        </p:attrNameLst>
                                      </p:cBhvr>
                                      <p:to>
                                        <p:strVal val="visible"/>
                                      </p:to>
                                    </p:set>
                                    <p:anim calcmode="lin" valueType="num">
                                      <p:cBhvr>
                                        <p:cTn id="100" dur="800" fill="hold"/>
                                        <p:tgtEl>
                                          <p:spTgt spid="6"/>
                                        </p:tgtEl>
                                        <p:attrNameLst>
                                          <p:attrName>ppt_w</p:attrName>
                                        </p:attrNameLst>
                                      </p:cBhvr>
                                      <p:tavLst>
                                        <p:tav tm="0">
                                          <p:val>
                                            <p:fltVal val="0"/>
                                          </p:val>
                                        </p:tav>
                                        <p:tav tm="100000">
                                          <p:val>
                                            <p:strVal val="#ppt_w"/>
                                          </p:val>
                                        </p:tav>
                                      </p:tavLst>
                                    </p:anim>
                                    <p:anim calcmode="lin" valueType="num">
                                      <p:cBhvr>
                                        <p:cTn id="101" dur="800" fill="hold"/>
                                        <p:tgtEl>
                                          <p:spTgt spid="6"/>
                                        </p:tgtEl>
                                        <p:attrNameLst>
                                          <p:attrName>ppt_h</p:attrName>
                                        </p:attrNameLst>
                                      </p:cBhvr>
                                      <p:tavLst>
                                        <p:tav tm="0">
                                          <p:val>
                                            <p:fltVal val="0"/>
                                          </p:val>
                                        </p:tav>
                                        <p:tav tm="100000">
                                          <p:val>
                                            <p:strVal val="#ppt_h"/>
                                          </p:val>
                                        </p:tav>
                                      </p:tavLst>
                                    </p:anim>
                                    <p:anim calcmode="lin" valueType="num">
                                      <p:cBhvr>
                                        <p:cTn id="102" dur="800" fill="hold"/>
                                        <p:tgtEl>
                                          <p:spTgt spid="6"/>
                                        </p:tgtEl>
                                        <p:attrNameLst>
                                          <p:attrName>style.rotation</p:attrName>
                                        </p:attrNameLst>
                                      </p:cBhvr>
                                      <p:tavLst>
                                        <p:tav tm="0">
                                          <p:val>
                                            <p:fltVal val="360"/>
                                          </p:val>
                                        </p:tav>
                                        <p:tav tm="100000">
                                          <p:val>
                                            <p:fltVal val="0"/>
                                          </p:val>
                                        </p:tav>
                                      </p:tavLst>
                                    </p:anim>
                                    <p:animEffect transition="in" filter="fade">
                                      <p:cBhvr>
                                        <p:cTn id="103" dur="800"/>
                                        <p:tgtEl>
                                          <p:spTgt spid="6"/>
                                        </p:tgtEl>
                                      </p:cBhvr>
                                    </p:animEffect>
                                  </p:childTnLst>
                                </p:cTn>
                              </p:par>
                              <p:par>
                                <p:cTn id="104" presetID="49" presetClass="entr" presetSubtype="0" decel="100000" fill="hold" nodeType="withEffect">
                                  <p:stCondLst>
                                    <p:cond delay="1000"/>
                                  </p:stCondLst>
                                  <p:childTnLst>
                                    <p:set>
                                      <p:cBhvr>
                                        <p:cTn id="105" dur="1" fill="hold">
                                          <p:stCondLst>
                                            <p:cond delay="0"/>
                                          </p:stCondLst>
                                        </p:cTn>
                                        <p:tgtEl>
                                          <p:spTgt spid="7"/>
                                        </p:tgtEl>
                                        <p:attrNameLst>
                                          <p:attrName>style.visibility</p:attrName>
                                        </p:attrNameLst>
                                      </p:cBhvr>
                                      <p:to>
                                        <p:strVal val="visible"/>
                                      </p:to>
                                    </p:set>
                                    <p:anim calcmode="lin" valueType="num">
                                      <p:cBhvr>
                                        <p:cTn id="106" dur="800" fill="hold"/>
                                        <p:tgtEl>
                                          <p:spTgt spid="7"/>
                                        </p:tgtEl>
                                        <p:attrNameLst>
                                          <p:attrName>ppt_w</p:attrName>
                                        </p:attrNameLst>
                                      </p:cBhvr>
                                      <p:tavLst>
                                        <p:tav tm="0">
                                          <p:val>
                                            <p:fltVal val="0"/>
                                          </p:val>
                                        </p:tav>
                                        <p:tav tm="100000">
                                          <p:val>
                                            <p:strVal val="#ppt_w"/>
                                          </p:val>
                                        </p:tav>
                                      </p:tavLst>
                                    </p:anim>
                                    <p:anim calcmode="lin" valueType="num">
                                      <p:cBhvr>
                                        <p:cTn id="107" dur="800" fill="hold"/>
                                        <p:tgtEl>
                                          <p:spTgt spid="7"/>
                                        </p:tgtEl>
                                        <p:attrNameLst>
                                          <p:attrName>ppt_h</p:attrName>
                                        </p:attrNameLst>
                                      </p:cBhvr>
                                      <p:tavLst>
                                        <p:tav tm="0">
                                          <p:val>
                                            <p:fltVal val="0"/>
                                          </p:val>
                                        </p:tav>
                                        <p:tav tm="100000">
                                          <p:val>
                                            <p:strVal val="#ppt_h"/>
                                          </p:val>
                                        </p:tav>
                                      </p:tavLst>
                                    </p:anim>
                                    <p:anim calcmode="lin" valueType="num">
                                      <p:cBhvr>
                                        <p:cTn id="108" dur="800" fill="hold"/>
                                        <p:tgtEl>
                                          <p:spTgt spid="7"/>
                                        </p:tgtEl>
                                        <p:attrNameLst>
                                          <p:attrName>style.rotation</p:attrName>
                                        </p:attrNameLst>
                                      </p:cBhvr>
                                      <p:tavLst>
                                        <p:tav tm="0">
                                          <p:val>
                                            <p:fltVal val="360"/>
                                          </p:val>
                                        </p:tav>
                                        <p:tav tm="100000">
                                          <p:val>
                                            <p:fltVal val="0"/>
                                          </p:val>
                                        </p:tav>
                                      </p:tavLst>
                                    </p:anim>
                                    <p:animEffect transition="in" filter="fade">
                                      <p:cBhvr>
                                        <p:cTn id="109" dur="800"/>
                                        <p:tgtEl>
                                          <p:spTgt spid="7"/>
                                        </p:tgtEl>
                                      </p:cBhvr>
                                    </p:animEffect>
                                  </p:childTnLst>
                                </p:cTn>
                              </p:par>
                              <p:par>
                                <p:cTn id="110" presetID="49" presetClass="entr" presetSubtype="0" decel="100000" fill="hold" nodeType="withEffect">
                                  <p:stCondLst>
                                    <p:cond delay="300"/>
                                  </p:stCondLst>
                                  <p:childTnLst>
                                    <p:set>
                                      <p:cBhvr>
                                        <p:cTn id="111" dur="1" fill="hold">
                                          <p:stCondLst>
                                            <p:cond delay="0"/>
                                          </p:stCondLst>
                                        </p:cTn>
                                        <p:tgtEl>
                                          <p:spTgt spid="9"/>
                                        </p:tgtEl>
                                        <p:attrNameLst>
                                          <p:attrName>style.visibility</p:attrName>
                                        </p:attrNameLst>
                                      </p:cBhvr>
                                      <p:to>
                                        <p:strVal val="visible"/>
                                      </p:to>
                                    </p:set>
                                    <p:anim calcmode="lin" valueType="num">
                                      <p:cBhvr>
                                        <p:cTn id="112" dur="1100" fill="hold"/>
                                        <p:tgtEl>
                                          <p:spTgt spid="9"/>
                                        </p:tgtEl>
                                        <p:attrNameLst>
                                          <p:attrName>ppt_w</p:attrName>
                                        </p:attrNameLst>
                                      </p:cBhvr>
                                      <p:tavLst>
                                        <p:tav tm="0">
                                          <p:val>
                                            <p:fltVal val="0"/>
                                          </p:val>
                                        </p:tav>
                                        <p:tav tm="100000">
                                          <p:val>
                                            <p:strVal val="#ppt_w"/>
                                          </p:val>
                                        </p:tav>
                                      </p:tavLst>
                                    </p:anim>
                                    <p:anim calcmode="lin" valueType="num">
                                      <p:cBhvr>
                                        <p:cTn id="113" dur="1100" fill="hold"/>
                                        <p:tgtEl>
                                          <p:spTgt spid="9"/>
                                        </p:tgtEl>
                                        <p:attrNameLst>
                                          <p:attrName>ppt_h</p:attrName>
                                        </p:attrNameLst>
                                      </p:cBhvr>
                                      <p:tavLst>
                                        <p:tav tm="0">
                                          <p:val>
                                            <p:fltVal val="0"/>
                                          </p:val>
                                        </p:tav>
                                        <p:tav tm="100000">
                                          <p:val>
                                            <p:strVal val="#ppt_h"/>
                                          </p:val>
                                        </p:tav>
                                      </p:tavLst>
                                    </p:anim>
                                    <p:anim calcmode="lin" valueType="num">
                                      <p:cBhvr>
                                        <p:cTn id="114" dur="1100" fill="hold"/>
                                        <p:tgtEl>
                                          <p:spTgt spid="9"/>
                                        </p:tgtEl>
                                        <p:attrNameLst>
                                          <p:attrName>style.rotation</p:attrName>
                                        </p:attrNameLst>
                                      </p:cBhvr>
                                      <p:tavLst>
                                        <p:tav tm="0">
                                          <p:val>
                                            <p:fltVal val="360"/>
                                          </p:val>
                                        </p:tav>
                                        <p:tav tm="100000">
                                          <p:val>
                                            <p:fltVal val="0"/>
                                          </p:val>
                                        </p:tav>
                                      </p:tavLst>
                                    </p:anim>
                                    <p:animEffect transition="in" filter="fade">
                                      <p:cBhvr>
                                        <p:cTn id="115" dur="1100"/>
                                        <p:tgtEl>
                                          <p:spTgt spid="9"/>
                                        </p:tgtEl>
                                      </p:cBhvr>
                                    </p:animEffect>
                                  </p:childTnLst>
                                </p:cTn>
                              </p:par>
                              <p:par>
                                <p:cTn id="116" presetID="49" presetClass="entr" presetSubtype="0" decel="100000" fill="hold" nodeType="withEffect">
                                  <p:stCondLst>
                                    <p:cond delay="600"/>
                                  </p:stCondLst>
                                  <p:childTnLst>
                                    <p:set>
                                      <p:cBhvr>
                                        <p:cTn id="117" dur="1" fill="hold">
                                          <p:stCondLst>
                                            <p:cond delay="0"/>
                                          </p:stCondLst>
                                        </p:cTn>
                                        <p:tgtEl>
                                          <p:spTgt spid="8"/>
                                        </p:tgtEl>
                                        <p:attrNameLst>
                                          <p:attrName>style.visibility</p:attrName>
                                        </p:attrNameLst>
                                      </p:cBhvr>
                                      <p:to>
                                        <p:strVal val="visible"/>
                                      </p:to>
                                    </p:set>
                                    <p:anim calcmode="lin" valueType="num">
                                      <p:cBhvr>
                                        <p:cTn id="118" dur="900" fill="hold"/>
                                        <p:tgtEl>
                                          <p:spTgt spid="8"/>
                                        </p:tgtEl>
                                        <p:attrNameLst>
                                          <p:attrName>ppt_w</p:attrName>
                                        </p:attrNameLst>
                                      </p:cBhvr>
                                      <p:tavLst>
                                        <p:tav tm="0">
                                          <p:val>
                                            <p:fltVal val="0"/>
                                          </p:val>
                                        </p:tav>
                                        <p:tav tm="100000">
                                          <p:val>
                                            <p:strVal val="#ppt_w"/>
                                          </p:val>
                                        </p:tav>
                                      </p:tavLst>
                                    </p:anim>
                                    <p:anim calcmode="lin" valueType="num">
                                      <p:cBhvr>
                                        <p:cTn id="119" dur="900" fill="hold"/>
                                        <p:tgtEl>
                                          <p:spTgt spid="8"/>
                                        </p:tgtEl>
                                        <p:attrNameLst>
                                          <p:attrName>ppt_h</p:attrName>
                                        </p:attrNameLst>
                                      </p:cBhvr>
                                      <p:tavLst>
                                        <p:tav tm="0">
                                          <p:val>
                                            <p:fltVal val="0"/>
                                          </p:val>
                                        </p:tav>
                                        <p:tav tm="100000">
                                          <p:val>
                                            <p:strVal val="#ppt_h"/>
                                          </p:val>
                                        </p:tav>
                                      </p:tavLst>
                                    </p:anim>
                                    <p:anim calcmode="lin" valueType="num">
                                      <p:cBhvr>
                                        <p:cTn id="120" dur="900" fill="hold"/>
                                        <p:tgtEl>
                                          <p:spTgt spid="8"/>
                                        </p:tgtEl>
                                        <p:attrNameLst>
                                          <p:attrName>style.rotation</p:attrName>
                                        </p:attrNameLst>
                                      </p:cBhvr>
                                      <p:tavLst>
                                        <p:tav tm="0">
                                          <p:val>
                                            <p:fltVal val="360"/>
                                          </p:val>
                                        </p:tav>
                                        <p:tav tm="100000">
                                          <p:val>
                                            <p:fltVal val="0"/>
                                          </p:val>
                                        </p:tav>
                                      </p:tavLst>
                                    </p:anim>
                                    <p:animEffect transition="in" filter="fade">
                                      <p:cBhvr>
                                        <p:cTn id="121" dur="900"/>
                                        <p:tgtEl>
                                          <p:spTgt spid="8"/>
                                        </p:tgtEl>
                                      </p:cBhvr>
                                    </p:animEffect>
                                  </p:childTnLst>
                                </p:cTn>
                              </p:par>
                              <p:par>
                                <p:cTn id="122" presetID="49" presetClass="entr" presetSubtype="0" decel="100000" fill="hold" nodeType="withEffect">
                                  <p:stCondLst>
                                    <p:cond delay="400"/>
                                  </p:stCondLst>
                                  <p:childTnLst>
                                    <p:set>
                                      <p:cBhvr>
                                        <p:cTn id="123" dur="1" fill="hold">
                                          <p:stCondLst>
                                            <p:cond delay="0"/>
                                          </p:stCondLst>
                                        </p:cTn>
                                        <p:tgtEl>
                                          <p:spTgt spid="104"/>
                                        </p:tgtEl>
                                        <p:attrNameLst>
                                          <p:attrName>style.visibility</p:attrName>
                                        </p:attrNameLst>
                                      </p:cBhvr>
                                      <p:to>
                                        <p:strVal val="visible"/>
                                      </p:to>
                                    </p:set>
                                    <p:anim calcmode="lin" valueType="num">
                                      <p:cBhvr>
                                        <p:cTn id="124" dur="700" fill="hold"/>
                                        <p:tgtEl>
                                          <p:spTgt spid="104"/>
                                        </p:tgtEl>
                                        <p:attrNameLst>
                                          <p:attrName>ppt_w</p:attrName>
                                        </p:attrNameLst>
                                      </p:cBhvr>
                                      <p:tavLst>
                                        <p:tav tm="0">
                                          <p:val>
                                            <p:fltVal val="0"/>
                                          </p:val>
                                        </p:tav>
                                        <p:tav tm="100000">
                                          <p:val>
                                            <p:strVal val="#ppt_w"/>
                                          </p:val>
                                        </p:tav>
                                      </p:tavLst>
                                    </p:anim>
                                    <p:anim calcmode="lin" valueType="num">
                                      <p:cBhvr>
                                        <p:cTn id="125" dur="700" fill="hold"/>
                                        <p:tgtEl>
                                          <p:spTgt spid="104"/>
                                        </p:tgtEl>
                                        <p:attrNameLst>
                                          <p:attrName>ppt_h</p:attrName>
                                        </p:attrNameLst>
                                      </p:cBhvr>
                                      <p:tavLst>
                                        <p:tav tm="0">
                                          <p:val>
                                            <p:fltVal val="0"/>
                                          </p:val>
                                        </p:tav>
                                        <p:tav tm="100000">
                                          <p:val>
                                            <p:strVal val="#ppt_h"/>
                                          </p:val>
                                        </p:tav>
                                      </p:tavLst>
                                    </p:anim>
                                    <p:anim calcmode="lin" valueType="num">
                                      <p:cBhvr>
                                        <p:cTn id="126" dur="700" fill="hold"/>
                                        <p:tgtEl>
                                          <p:spTgt spid="104"/>
                                        </p:tgtEl>
                                        <p:attrNameLst>
                                          <p:attrName>style.rotation</p:attrName>
                                        </p:attrNameLst>
                                      </p:cBhvr>
                                      <p:tavLst>
                                        <p:tav tm="0">
                                          <p:val>
                                            <p:fltVal val="360"/>
                                          </p:val>
                                        </p:tav>
                                        <p:tav tm="100000">
                                          <p:val>
                                            <p:fltVal val="0"/>
                                          </p:val>
                                        </p:tav>
                                      </p:tavLst>
                                    </p:anim>
                                    <p:animEffect transition="in" filter="fade">
                                      <p:cBhvr>
                                        <p:cTn id="127" dur="700"/>
                                        <p:tgtEl>
                                          <p:spTgt spid="104"/>
                                        </p:tgtEl>
                                      </p:cBhvr>
                                    </p:animEffect>
                                  </p:childTnLst>
                                </p:cTn>
                              </p:par>
                              <p:par>
                                <p:cTn id="128" presetID="49" presetClass="entr" presetSubtype="0" decel="100000" fill="hold" nodeType="withEffect">
                                  <p:stCondLst>
                                    <p:cond delay="100"/>
                                  </p:stCondLst>
                                  <p:childTnLst>
                                    <p:set>
                                      <p:cBhvr>
                                        <p:cTn id="129" dur="1" fill="hold">
                                          <p:stCondLst>
                                            <p:cond delay="0"/>
                                          </p:stCondLst>
                                        </p:cTn>
                                        <p:tgtEl>
                                          <p:spTgt spid="103"/>
                                        </p:tgtEl>
                                        <p:attrNameLst>
                                          <p:attrName>style.visibility</p:attrName>
                                        </p:attrNameLst>
                                      </p:cBhvr>
                                      <p:to>
                                        <p:strVal val="visible"/>
                                      </p:to>
                                    </p:set>
                                    <p:anim calcmode="lin" valueType="num">
                                      <p:cBhvr>
                                        <p:cTn id="130" dur="1000" fill="hold"/>
                                        <p:tgtEl>
                                          <p:spTgt spid="103"/>
                                        </p:tgtEl>
                                        <p:attrNameLst>
                                          <p:attrName>ppt_w</p:attrName>
                                        </p:attrNameLst>
                                      </p:cBhvr>
                                      <p:tavLst>
                                        <p:tav tm="0">
                                          <p:val>
                                            <p:fltVal val="0"/>
                                          </p:val>
                                        </p:tav>
                                        <p:tav tm="100000">
                                          <p:val>
                                            <p:strVal val="#ppt_w"/>
                                          </p:val>
                                        </p:tav>
                                      </p:tavLst>
                                    </p:anim>
                                    <p:anim calcmode="lin" valueType="num">
                                      <p:cBhvr>
                                        <p:cTn id="131" dur="1000" fill="hold"/>
                                        <p:tgtEl>
                                          <p:spTgt spid="103"/>
                                        </p:tgtEl>
                                        <p:attrNameLst>
                                          <p:attrName>ppt_h</p:attrName>
                                        </p:attrNameLst>
                                      </p:cBhvr>
                                      <p:tavLst>
                                        <p:tav tm="0">
                                          <p:val>
                                            <p:fltVal val="0"/>
                                          </p:val>
                                        </p:tav>
                                        <p:tav tm="100000">
                                          <p:val>
                                            <p:strVal val="#ppt_h"/>
                                          </p:val>
                                        </p:tav>
                                      </p:tavLst>
                                    </p:anim>
                                    <p:anim calcmode="lin" valueType="num">
                                      <p:cBhvr>
                                        <p:cTn id="132" dur="1000" fill="hold"/>
                                        <p:tgtEl>
                                          <p:spTgt spid="103"/>
                                        </p:tgtEl>
                                        <p:attrNameLst>
                                          <p:attrName>style.rotation</p:attrName>
                                        </p:attrNameLst>
                                      </p:cBhvr>
                                      <p:tavLst>
                                        <p:tav tm="0">
                                          <p:val>
                                            <p:fltVal val="360"/>
                                          </p:val>
                                        </p:tav>
                                        <p:tav tm="100000">
                                          <p:val>
                                            <p:fltVal val="0"/>
                                          </p:val>
                                        </p:tav>
                                      </p:tavLst>
                                    </p:anim>
                                    <p:animEffect transition="in" filter="fade">
                                      <p:cBhvr>
                                        <p:cTn id="133" dur="1000"/>
                                        <p:tgtEl>
                                          <p:spTgt spid="103"/>
                                        </p:tgtEl>
                                      </p:cBhvr>
                                    </p:animEffect>
                                  </p:childTnLst>
                                </p:cTn>
                              </p:par>
                              <p:par>
                                <p:cTn id="134" presetID="10" presetClass="entr" presetSubtype="0" fill="hold" grpId="0" nodeType="withEffect">
                                  <p:stCondLst>
                                    <p:cond delay="100"/>
                                  </p:stCondLst>
                                  <p:iterate type="lt">
                                    <p:tmPct val="4935"/>
                                  </p:iterate>
                                  <p:childTnLst>
                                    <p:set>
                                      <p:cBhvr>
                                        <p:cTn id="135" dur="1" fill="hold">
                                          <p:stCondLst>
                                            <p:cond delay="0"/>
                                          </p:stCondLst>
                                        </p:cTn>
                                        <p:tgtEl>
                                          <p:spTgt spid="102"/>
                                        </p:tgtEl>
                                        <p:attrNameLst>
                                          <p:attrName>style.visibility</p:attrName>
                                        </p:attrNameLst>
                                      </p:cBhvr>
                                      <p:to>
                                        <p:strVal val="visible"/>
                                      </p:to>
                                    </p:set>
                                    <p:animEffect transition="in" filter="fade">
                                      <p:cBhvr>
                                        <p:cTn id="136" dur="500"/>
                                        <p:tgtEl>
                                          <p:spTgt spid="102"/>
                                        </p:tgtEl>
                                      </p:cBhvr>
                                    </p:animEffect>
                                  </p:childTnLst>
                                </p:cTn>
                              </p:par>
                              <p:par>
                                <p:cTn id="137" presetID="10" presetClass="entr" presetSubtype="0" fill="hold" grpId="0" nodeType="withEffect">
                                  <p:stCondLst>
                                    <p:cond delay="100"/>
                                  </p:stCondLst>
                                  <p:iterate type="lt">
                                    <p:tmPct val="4935"/>
                                  </p:iterate>
                                  <p:childTnLst>
                                    <p:set>
                                      <p:cBhvr>
                                        <p:cTn id="138" dur="1" fill="hold">
                                          <p:stCondLst>
                                            <p:cond delay="0"/>
                                          </p:stCondLst>
                                        </p:cTn>
                                        <p:tgtEl>
                                          <p:spTgt spid="95"/>
                                        </p:tgtEl>
                                        <p:attrNameLst>
                                          <p:attrName>style.visibility</p:attrName>
                                        </p:attrNameLst>
                                      </p:cBhvr>
                                      <p:to>
                                        <p:strVal val="visible"/>
                                      </p:to>
                                    </p:set>
                                    <p:animEffect transition="in" filter="fade">
                                      <p:cBhvr>
                                        <p:cTn id="139" dur="500"/>
                                        <p:tgtEl>
                                          <p:spTgt spid="95"/>
                                        </p:tgtEl>
                                      </p:cBhvr>
                                    </p:animEffect>
                                  </p:childTnLst>
                                </p:cTn>
                              </p:par>
                              <p:par>
                                <p:cTn id="140" presetID="21" presetClass="entr" presetSubtype="1" fill="hold" nodeType="withEffect">
                                  <p:stCondLst>
                                    <p:cond delay="100"/>
                                  </p:stCondLst>
                                  <p:childTnLst>
                                    <p:set>
                                      <p:cBhvr>
                                        <p:cTn id="141" dur="1" fill="hold">
                                          <p:stCondLst>
                                            <p:cond delay="0"/>
                                          </p:stCondLst>
                                        </p:cTn>
                                        <p:tgtEl>
                                          <p:spTgt spid="77"/>
                                        </p:tgtEl>
                                        <p:attrNameLst>
                                          <p:attrName>style.visibility</p:attrName>
                                        </p:attrNameLst>
                                      </p:cBhvr>
                                      <p:to>
                                        <p:strVal val="visible"/>
                                      </p:to>
                                    </p:set>
                                    <p:animEffect transition="in" filter="wheel(1)">
                                      <p:cBhvr>
                                        <p:cTn id="142" dur="2000"/>
                                        <p:tgtEl>
                                          <p:spTgt spid="77"/>
                                        </p:tgtEl>
                                      </p:cBhvr>
                                    </p:animEffect>
                                  </p:childTnLst>
                                </p:cTn>
                              </p:par>
                            </p:childTnLst>
                          </p:cTn>
                        </p:par>
                      </p:childTnLst>
                    </p:cTn>
                  </p:par>
                  <p:par>
                    <p:cTn id="143" fill="hold">
                      <p:stCondLst>
                        <p:cond delay="indefinite"/>
                      </p:stCondLst>
                      <p:childTnLst>
                        <p:par>
                          <p:cTn id="144" fill="hold">
                            <p:stCondLst>
                              <p:cond delay="0"/>
                            </p:stCondLst>
                            <p:childTnLst>
                              <p:par>
                                <p:cTn id="145" presetID="10" presetClass="entr" presetSubtype="0" fill="hold" grpId="0" nodeType="clickEffect">
                                  <p:stCondLst>
                                    <p:cond delay="0"/>
                                  </p:stCondLst>
                                  <p:iterate type="lt">
                                    <p:tmPct val="4935"/>
                                  </p:iterate>
                                  <p:childTnLst>
                                    <p:set>
                                      <p:cBhvr>
                                        <p:cTn id="146" dur="1" fill="hold">
                                          <p:stCondLst>
                                            <p:cond delay="0"/>
                                          </p:stCondLst>
                                        </p:cTn>
                                        <p:tgtEl>
                                          <p:spTgt spid="73"/>
                                        </p:tgtEl>
                                        <p:attrNameLst>
                                          <p:attrName>style.visibility</p:attrName>
                                        </p:attrNameLst>
                                      </p:cBhvr>
                                      <p:to>
                                        <p:strVal val="visible"/>
                                      </p:to>
                                    </p:set>
                                    <p:animEffect transition="in" filter="fade">
                                      <p:cBhvr>
                                        <p:cTn id="147"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64" grpId="0"/>
      <p:bldP spid="65" grpId="0"/>
      <p:bldP spid="66" grpId="0"/>
      <p:bldP spid="67" grpId="0"/>
      <p:bldP spid="68" grpId="0"/>
      <p:bldP spid="69" grpId="0"/>
      <p:bldP spid="71" grpId="0"/>
      <p:bldP spid="73" grpId="0"/>
      <p:bldP spid="90" grpId="0"/>
      <p:bldP spid="91" grpId="0"/>
      <p:bldP spid="95" grpId="0"/>
      <p:bldP spid="102" grpId="0"/>
      <p:bldP spid="3" grpId="0"/>
      <p:bldP spid="3"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智能制造</a:t>
            </a:r>
          </a:p>
        </p:txBody>
      </p:sp>
      <p:pic>
        <p:nvPicPr>
          <p:cNvPr id="5" name="2"/>
          <p:cNvPicPr>
            <a:picLocks noChangeAspect="1"/>
          </p:cNvPicPr>
          <p:nvPr/>
        </p:nvPicPr>
        <p:blipFill rotWithShape="1">
          <a:blip r:embed="rId2" cstate="screen"/>
          <a:srcRect/>
          <a:stretch>
            <a:fillRect/>
          </a:stretch>
        </p:blipFill>
        <p:spPr>
          <a:xfrm>
            <a:off x="284893" y="56713"/>
            <a:ext cx="750968" cy="1441451"/>
          </a:xfrm>
          <a:prstGeom prst="rect">
            <a:avLst/>
          </a:prstGeom>
        </p:spPr>
      </p:pic>
      <p:grpSp>
        <p:nvGrpSpPr>
          <p:cNvPr id="80" name="Group 4" descr="e7d195523061f1c0205959036996ad55c215b892a7aac5c0B9ADEF7896FB48F2EF97163A2DE1401E1875DEDC438B7864AD24CA23553DBBBD975DAF4CAD4A2592689FFB6CEE59FFA55B2702D0E5EE29CD908F8B157BF8F8399D08F01223CB0B1EBC5650C3AFE340F4E4722CA93B5E940EF49FBB9E99B7DC58FDDEFD6852FB47095B54E1558E4D4F7E"/>
          <p:cNvGrpSpPr>
            <a:grpSpLocks noChangeAspect="1"/>
          </p:cNvGrpSpPr>
          <p:nvPr/>
        </p:nvGrpSpPr>
        <p:grpSpPr bwMode="auto">
          <a:xfrm>
            <a:off x="4933950" y="1923393"/>
            <a:ext cx="2930491" cy="5132730"/>
            <a:chOff x="2873" y="904"/>
            <a:chExt cx="1934" cy="2512"/>
          </a:xfrm>
          <a:solidFill>
            <a:srgbClr val="62FDFE">
              <a:alpha val="20000"/>
            </a:srgbClr>
          </a:solidFill>
        </p:grpSpPr>
        <p:sp>
          <p:nvSpPr>
            <p:cNvPr id="81" name="Freeform 5"/>
            <p:cNvSpPr/>
            <p:nvPr/>
          </p:nvSpPr>
          <p:spPr bwMode="auto">
            <a:xfrm>
              <a:off x="2882" y="1240"/>
              <a:ext cx="1915" cy="2176"/>
            </a:xfrm>
            <a:custGeom>
              <a:avLst/>
              <a:gdLst>
                <a:gd name="T0" fmla="*/ 1915 w 1915"/>
                <a:gd name="T1" fmla="*/ 1873 h 2176"/>
                <a:gd name="T2" fmla="*/ 1915 w 1915"/>
                <a:gd name="T3" fmla="*/ 0 h 2176"/>
                <a:gd name="T4" fmla="*/ 0 w 1915"/>
                <a:gd name="T5" fmla="*/ 0 h 2176"/>
                <a:gd name="T6" fmla="*/ 0 w 1915"/>
                <a:gd name="T7" fmla="*/ 1911 h 2176"/>
                <a:gd name="T8" fmla="*/ 0 w 1915"/>
                <a:gd name="T9" fmla="*/ 1996 h 2176"/>
                <a:gd name="T10" fmla="*/ 0 w 1915"/>
                <a:gd name="T11" fmla="*/ 2176 h 2176"/>
                <a:gd name="T12" fmla="*/ 1915 w 1915"/>
                <a:gd name="T13" fmla="*/ 2176 h 2176"/>
                <a:gd name="T14" fmla="*/ 1915 w 1915"/>
                <a:gd name="T15" fmla="*/ 1996 h 2176"/>
                <a:gd name="T16" fmla="*/ 1915 w 1915"/>
                <a:gd name="T17" fmla="*/ 1873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5" h="2176">
                  <a:moveTo>
                    <a:pt x="1915" y="1873"/>
                  </a:moveTo>
                  <a:lnTo>
                    <a:pt x="1915" y="0"/>
                  </a:lnTo>
                  <a:lnTo>
                    <a:pt x="0" y="0"/>
                  </a:lnTo>
                  <a:lnTo>
                    <a:pt x="0" y="1911"/>
                  </a:lnTo>
                  <a:lnTo>
                    <a:pt x="0" y="1996"/>
                  </a:lnTo>
                  <a:lnTo>
                    <a:pt x="0" y="2176"/>
                  </a:lnTo>
                  <a:lnTo>
                    <a:pt x="1915" y="2176"/>
                  </a:lnTo>
                  <a:lnTo>
                    <a:pt x="1915" y="1996"/>
                  </a:lnTo>
                  <a:lnTo>
                    <a:pt x="1915" y="1873"/>
                  </a:lnTo>
                  <a:close/>
                </a:path>
              </a:pathLst>
            </a:custGeom>
            <a:grpFill/>
            <a:ln w="9525">
              <a:solidFill>
                <a:srgbClr val="62FDFE">
                  <a:alpha val="37000"/>
                </a:srgbClr>
              </a:solidFill>
              <a:round/>
            </a:ln>
          </p:spPr>
          <p:txBody>
            <a:bodyPr vert="horz" wrap="square" lIns="91440" tIns="45720" rIns="91440" bIns="45720" numCol="1" anchor="t" anchorCtr="0" compatLnSpc="1"/>
            <a:lstStyle/>
            <a:p>
              <a:endParaRPr lang="zh-CN" altLang="en-US">
                <a:solidFill>
                  <a:srgbClr val="A0DAE4"/>
                </a:solidFill>
                <a:cs typeface="+mn-ea"/>
                <a:sym typeface="+mn-lt"/>
              </a:endParaRPr>
            </a:p>
          </p:txBody>
        </p:sp>
        <p:sp>
          <p:nvSpPr>
            <p:cNvPr id="82" name="Freeform 6"/>
            <p:cNvSpPr>
              <a:spLocks noEditPoints="1"/>
            </p:cNvSpPr>
            <p:nvPr/>
          </p:nvSpPr>
          <p:spPr bwMode="auto">
            <a:xfrm>
              <a:off x="2882" y="913"/>
              <a:ext cx="1915" cy="317"/>
            </a:xfrm>
            <a:custGeom>
              <a:avLst/>
              <a:gdLst>
                <a:gd name="T0" fmla="*/ 758 w 808"/>
                <a:gd name="T1" fmla="*/ 0 h 134"/>
                <a:gd name="T2" fmla="*/ 50 w 808"/>
                <a:gd name="T3" fmla="*/ 0 h 134"/>
                <a:gd name="T4" fmla="*/ 0 w 808"/>
                <a:gd name="T5" fmla="*/ 50 h 134"/>
                <a:gd name="T6" fmla="*/ 0 w 808"/>
                <a:gd name="T7" fmla="*/ 134 h 134"/>
                <a:gd name="T8" fmla="*/ 808 w 808"/>
                <a:gd name="T9" fmla="*/ 134 h 134"/>
                <a:gd name="T10" fmla="*/ 808 w 808"/>
                <a:gd name="T11" fmla="*/ 50 h 134"/>
                <a:gd name="T12" fmla="*/ 758 w 808"/>
                <a:gd name="T13" fmla="*/ 0 h 134"/>
                <a:gd name="T14" fmla="*/ 471 w 808"/>
                <a:gd name="T15" fmla="*/ 74 h 134"/>
                <a:gd name="T16" fmla="*/ 337 w 808"/>
                <a:gd name="T17" fmla="*/ 74 h 134"/>
                <a:gd name="T18" fmla="*/ 327 w 808"/>
                <a:gd name="T19" fmla="*/ 63 h 134"/>
                <a:gd name="T20" fmla="*/ 337 w 808"/>
                <a:gd name="T21" fmla="*/ 53 h 134"/>
                <a:gd name="T22" fmla="*/ 471 w 808"/>
                <a:gd name="T23" fmla="*/ 53 h 134"/>
                <a:gd name="T24" fmla="*/ 482 w 808"/>
                <a:gd name="T25" fmla="*/ 63 h 134"/>
                <a:gd name="T26" fmla="*/ 471 w 808"/>
                <a:gd name="T27" fmla="*/ 7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08" h="134">
                  <a:moveTo>
                    <a:pt x="758" y="0"/>
                  </a:moveTo>
                  <a:cubicBezTo>
                    <a:pt x="50" y="0"/>
                    <a:pt x="50" y="0"/>
                    <a:pt x="50" y="0"/>
                  </a:cubicBezTo>
                  <a:cubicBezTo>
                    <a:pt x="22" y="0"/>
                    <a:pt x="0" y="22"/>
                    <a:pt x="0" y="50"/>
                  </a:cubicBezTo>
                  <a:cubicBezTo>
                    <a:pt x="0" y="134"/>
                    <a:pt x="0" y="134"/>
                    <a:pt x="0" y="134"/>
                  </a:cubicBezTo>
                  <a:cubicBezTo>
                    <a:pt x="808" y="134"/>
                    <a:pt x="808" y="134"/>
                    <a:pt x="808" y="134"/>
                  </a:cubicBezTo>
                  <a:cubicBezTo>
                    <a:pt x="808" y="50"/>
                    <a:pt x="808" y="50"/>
                    <a:pt x="808" y="50"/>
                  </a:cubicBezTo>
                  <a:cubicBezTo>
                    <a:pt x="808" y="22"/>
                    <a:pt x="786" y="0"/>
                    <a:pt x="758" y="0"/>
                  </a:cubicBezTo>
                  <a:close/>
                  <a:moveTo>
                    <a:pt x="471" y="74"/>
                  </a:moveTo>
                  <a:cubicBezTo>
                    <a:pt x="337" y="74"/>
                    <a:pt x="337" y="74"/>
                    <a:pt x="337" y="74"/>
                  </a:cubicBezTo>
                  <a:cubicBezTo>
                    <a:pt x="331" y="74"/>
                    <a:pt x="327" y="69"/>
                    <a:pt x="327" y="63"/>
                  </a:cubicBezTo>
                  <a:cubicBezTo>
                    <a:pt x="327" y="57"/>
                    <a:pt x="331" y="53"/>
                    <a:pt x="337" y="53"/>
                  </a:cubicBezTo>
                  <a:cubicBezTo>
                    <a:pt x="471" y="53"/>
                    <a:pt x="471" y="53"/>
                    <a:pt x="471" y="53"/>
                  </a:cubicBezTo>
                  <a:cubicBezTo>
                    <a:pt x="477" y="53"/>
                    <a:pt x="482" y="57"/>
                    <a:pt x="482" y="63"/>
                  </a:cubicBezTo>
                  <a:cubicBezTo>
                    <a:pt x="482" y="69"/>
                    <a:pt x="477" y="74"/>
                    <a:pt x="471" y="74"/>
                  </a:cubicBezTo>
                  <a:close/>
                </a:path>
              </a:pathLst>
            </a:custGeom>
            <a:grpFill/>
            <a:ln w="9525">
              <a:solidFill>
                <a:srgbClr val="62FDFE">
                  <a:alpha val="37000"/>
                </a:srgbClr>
              </a:solidFill>
              <a:round/>
            </a:ln>
          </p:spPr>
          <p:txBody>
            <a:bodyPr vert="horz" wrap="square" lIns="91440" tIns="45720" rIns="91440" bIns="45720" numCol="1" anchor="t" anchorCtr="0" compatLnSpc="1"/>
            <a:lstStyle/>
            <a:p>
              <a:endParaRPr lang="zh-CN" altLang="en-US">
                <a:solidFill>
                  <a:srgbClr val="A0DAE4"/>
                </a:solidFill>
                <a:cs typeface="+mn-ea"/>
                <a:sym typeface="+mn-lt"/>
              </a:endParaRPr>
            </a:p>
          </p:txBody>
        </p:sp>
        <p:sp>
          <p:nvSpPr>
            <p:cNvPr id="83" name="Freeform 7"/>
            <p:cNvSpPr/>
            <p:nvPr/>
          </p:nvSpPr>
          <p:spPr bwMode="auto">
            <a:xfrm>
              <a:off x="3657" y="1039"/>
              <a:ext cx="368" cy="49"/>
            </a:xfrm>
            <a:custGeom>
              <a:avLst/>
              <a:gdLst>
                <a:gd name="T0" fmla="*/ 144 w 155"/>
                <a:gd name="T1" fmla="*/ 0 h 21"/>
                <a:gd name="T2" fmla="*/ 10 w 155"/>
                <a:gd name="T3" fmla="*/ 0 h 21"/>
                <a:gd name="T4" fmla="*/ 0 w 155"/>
                <a:gd name="T5" fmla="*/ 10 h 21"/>
                <a:gd name="T6" fmla="*/ 10 w 155"/>
                <a:gd name="T7" fmla="*/ 21 h 21"/>
                <a:gd name="T8" fmla="*/ 144 w 155"/>
                <a:gd name="T9" fmla="*/ 21 h 21"/>
                <a:gd name="T10" fmla="*/ 155 w 155"/>
                <a:gd name="T11" fmla="*/ 10 h 21"/>
                <a:gd name="T12" fmla="*/ 144 w 155"/>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55" h="21">
                  <a:moveTo>
                    <a:pt x="144" y="0"/>
                  </a:moveTo>
                  <a:cubicBezTo>
                    <a:pt x="10" y="0"/>
                    <a:pt x="10" y="0"/>
                    <a:pt x="10" y="0"/>
                  </a:cubicBezTo>
                  <a:cubicBezTo>
                    <a:pt x="4" y="0"/>
                    <a:pt x="0" y="4"/>
                    <a:pt x="0" y="10"/>
                  </a:cubicBezTo>
                  <a:cubicBezTo>
                    <a:pt x="0" y="16"/>
                    <a:pt x="4" y="21"/>
                    <a:pt x="10" y="21"/>
                  </a:cubicBezTo>
                  <a:cubicBezTo>
                    <a:pt x="144" y="21"/>
                    <a:pt x="144" y="21"/>
                    <a:pt x="144" y="21"/>
                  </a:cubicBezTo>
                  <a:cubicBezTo>
                    <a:pt x="150" y="21"/>
                    <a:pt x="155" y="16"/>
                    <a:pt x="155" y="10"/>
                  </a:cubicBezTo>
                  <a:cubicBezTo>
                    <a:pt x="155" y="4"/>
                    <a:pt x="150" y="0"/>
                    <a:pt x="144" y="0"/>
                  </a:cubicBezTo>
                  <a:close/>
                </a:path>
              </a:pathLst>
            </a:custGeom>
            <a:grpFill/>
            <a:ln w="9525">
              <a:solidFill>
                <a:srgbClr val="62FDFE">
                  <a:alpha val="37000"/>
                </a:srgbClr>
              </a:solidFill>
              <a:round/>
            </a:ln>
          </p:spPr>
          <p:txBody>
            <a:bodyPr vert="horz" wrap="square" lIns="91440" tIns="45720" rIns="91440" bIns="45720" numCol="1" anchor="t" anchorCtr="0" compatLnSpc="1"/>
            <a:lstStyle/>
            <a:p>
              <a:endParaRPr lang="zh-CN" altLang="en-US">
                <a:solidFill>
                  <a:srgbClr val="A0DAE4"/>
                </a:solidFill>
                <a:cs typeface="+mn-ea"/>
                <a:sym typeface="+mn-lt"/>
              </a:endParaRPr>
            </a:p>
          </p:txBody>
        </p:sp>
        <p:sp>
          <p:nvSpPr>
            <p:cNvPr id="84" name="Freeform 8"/>
            <p:cNvSpPr>
              <a:spLocks noEditPoints="1"/>
            </p:cNvSpPr>
            <p:nvPr/>
          </p:nvSpPr>
          <p:spPr bwMode="auto">
            <a:xfrm>
              <a:off x="2873" y="904"/>
              <a:ext cx="1934" cy="2512"/>
            </a:xfrm>
            <a:custGeom>
              <a:avLst/>
              <a:gdLst>
                <a:gd name="T0" fmla="*/ 762 w 816"/>
                <a:gd name="T1" fmla="*/ 0 h 1061"/>
                <a:gd name="T2" fmla="*/ 54 w 816"/>
                <a:gd name="T3" fmla="*/ 0 h 1061"/>
                <a:gd name="T4" fmla="*/ 0 w 816"/>
                <a:gd name="T5" fmla="*/ 54 h 1061"/>
                <a:gd name="T6" fmla="*/ 0 w 816"/>
                <a:gd name="T7" fmla="*/ 138 h 1061"/>
                <a:gd name="T8" fmla="*/ 0 w 816"/>
                <a:gd name="T9" fmla="*/ 142 h 1061"/>
                <a:gd name="T10" fmla="*/ 0 w 816"/>
                <a:gd name="T11" fmla="*/ 985 h 1061"/>
                <a:gd name="T12" fmla="*/ 0 w 816"/>
                <a:gd name="T13" fmla="*/ 1061 h 1061"/>
                <a:gd name="T14" fmla="*/ 4 w 816"/>
                <a:gd name="T15" fmla="*/ 1061 h 1061"/>
                <a:gd name="T16" fmla="*/ 4 w 816"/>
                <a:gd name="T17" fmla="*/ 985 h 1061"/>
                <a:gd name="T18" fmla="*/ 4 w 816"/>
                <a:gd name="T19" fmla="*/ 949 h 1061"/>
                <a:gd name="T20" fmla="*/ 4 w 816"/>
                <a:gd name="T21" fmla="*/ 142 h 1061"/>
                <a:gd name="T22" fmla="*/ 812 w 816"/>
                <a:gd name="T23" fmla="*/ 142 h 1061"/>
                <a:gd name="T24" fmla="*/ 812 w 816"/>
                <a:gd name="T25" fmla="*/ 933 h 1061"/>
                <a:gd name="T26" fmla="*/ 812 w 816"/>
                <a:gd name="T27" fmla="*/ 985 h 1061"/>
                <a:gd name="T28" fmla="*/ 812 w 816"/>
                <a:gd name="T29" fmla="*/ 1061 h 1061"/>
                <a:gd name="T30" fmla="*/ 816 w 816"/>
                <a:gd name="T31" fmla="*/ 1061 h 1061"/>
                <a:gd name="T32" fmla="*/ 816 w 816"/>
                <a:gd name="T33" fmla="*/ 985 h 1061"/>
                <a:gd name="T34" fmla="*/ 816 w 816"/>
                <a:gd name="T35" fmla="*/ 142 h 1061"/>
                <a:gd name="T36" fmla="*/ 816 w 816"/>
                <a:gd name="T37" fmla="*/ 138 h 1061"/>
                <a:gd name="T38" fmla="*/ 816 w 816"/>
                <a:gd name="T39" fmla="*/ 54 h 1061"/>
                <a:gd name="T40" fmla="*/ 762 w 816"/>
                <a:gd name="T41" fmla="*/ 0 h 1061"/>
                <a:gd name="T42" fmla="*/ 812 w 816"/>
                <a:gd name="T43" fmla="*/ 138 h 1061"/>
                <a:gd name="T44" fmla="*/ 4 w 816"/>
                <a:gd name="T45" fmla="*/ 138 h 1061"/>
                <a:gd name="T46" fmla="*/ 4 w 816"/>
                <a:gd name="T47" fmla="*/ 54 h 1061"/>
                <a:gd name="T48" fmla="*/ 54 w 816"/>
                <a:gd name="T49" fmla="*/ 4 h 1061"/>
                <a:gd name="T50" fmla="*/ 762 w 816"/>
                <a:gd name="T51" fmla="*/ 4 h 1061"/>
                <a:gd name="T52" fmla="*/ 812 w 816"/>
                <a:gd name="T53" fmla="*/ 54 h 1061"/>
                <a:gd name="T54" fmla="*/ 812 w 816"/>
                <a:gd name="T55" fmla="*/ 138 h 10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16" h="1061">
                  <a:moveTo>
                    <a:pt x="762" y="0"/>
                  </a:moveTo>
                  <a:cubicBezTo>
                    <a:pt x="54" y="0"/>
                    <a:pt x="54" y="0"/>
                    <a:pt x="54" y="0"/>
                  </a:cubicBezTo>
                  <a:cubicBezTo>
                    <a:pt x="24" y="0"/>
                    <a:pt x="0" y="24"/>
                    <a:pt x="0" y="54"/>
                  </a:cubicBezTo>
                  <a:cubicBezTo>
                    <a:pt x="0" y="138"/>
                    <a:pt x="0" y="138"/>
                    <a:pt x="0" y="138"/>
                  </a:cubicBezTo>
                  <a:cubicBezTo>
                    <a:pt x="0" y="142"/>
                    <a:pt x="0" y="142"/>
                    <a:pt x="0" y="142"/>
                  </a:cubicBezTo>
                  <a:cubicBezTo>
                    <a:pt x="0" y="985"/>
                    <a:pt x="0" y="985"/>
                    <a:pt x="0" y="985"/>
                  </a:cubicBezTo>
                  <a:cubicBezTo>
                    <a:pt x="0" y="1061"/>
                    <a:pt x="0" y="1061"/>
                    <a:pt x="0" y="1061"/>
                  </a:cubicBezTo>
                  <a:cubicBezTo>
                    <a:pt x="4" y="1061"/>
                    <a:pt x="4" y="1061"/>
                    <a:pt x="4" y="1061"/>
                  </a:cubicBezTo>
                  <a:cubicBezTo>
                    <a:pt x="4" y="985"/>
                    <a:pt x="4" y="985"/>
                    <a:pt x="4" y="985"/>
                  </a:cubicBezTo>
                  <a:cubicBezTo>
                    <a:pt x="4" y="949"/>
                    <a:pt x="4" y="949"/>
                    <a:pt x="4" y="949"/>
                  </a:cubicBezTo>
                  <a:cubicBezTo>
                    <a:pt x="4" y="142"/>
                    <a:pt x="4" y="142"/>
                    <a:pt x="4" y="142"/>
                  </a:cubicBezTo>
                  <a:cubicBezTo>
                    <a:pt x="812" y="142"/>
                    <a:pt x="812" y="142"/>
                    <a:pt x="812" y="142"/>
                  </a:cubicBezTo>
                  <a:cubicBezTo>
                    <a:pt x="812" y="933"/>
                    <a:pt x="812" y="933"/>
                    <a:pt x="812" y="933"/>
                  </a:cubicBezTo>
                  <a:cubicBezTo>
                    <a:pt x="812" y="985"/>
                    <a:pt x="812" y="985"/>
                    <a:pt x="812" y="985"/>
                  </a:cubicBezTo>
                  <a:cubicBezTo>
                    <a:pt x="812" y="1061"/>
                    <a:pt x="812" y="1061"/>
                    <a:pt x="812" y="1061"/>
                  </a:cubicBezTo>
                  <a:cubicBezTo>
                    <a:pt x="816" y="1061"/>
                    <a:pt x="816" y="1061"/>
                    <a:pt x="816" y="1061"/>
                  </a:cubicBezTo>
                  <a:cubicBezTo>
                    <a:pt x="816" y="985"/>
                    <a:pt x="816" y="985"/>
                    <a:pt x="816" y="985"/>
                  </a:cubicBezTo>
                  <a:cubicBezTo>
                    <a:pt x="816" y="142"/>
                    <a:pt x="816" y="142"/>
                    <a:pt x="816" y="142"/>
                  </a:cubicBezTo>
                  <a:cubicBezTo>
                    <a:pt x="816" y="138"/>
                    <a:pt x="816" y="138"/>
                    <a:pt x="816" y="138"/>
                  </a:cubicBezTo>
                  <a:cubicBezTo>
                    <a:pt x="816" y="54"/>
                    <a:pt x="816" y="54"/>
                    <a:pt x="816" y="54"/>
                  </a:cubicBezTo>
                  <a:cubicBezTo>
                    <a:pt x="816" y="24"/>
                    <a:pt x="792" y="0"/>
                    <a:pt x="762" y="0"/>
                  </a:cubicBezTo>
                  <a:close/>
                  <a:moveTo>
                    <a:pt x="812" y="138"/>
                  </a:moveTo>
                  <a:cubicBezTo>
                    <a:pt x="4" y="138"/>
                    <a:pt x="4" y="138"/>
                    <a:pt x="4" y="138"/>
                  </a:cubicBezTo>
                  <a:cubicBezTo>
                    <a:pt x="4" y="54"/>
                    <a:pt x="4" y="54"/>
                    <a:pt x="4" y="54"/>
                  </a:cubicBezTo>
                  <a:cubicBezTo>
                    <a:pt x="4" y="26"/>
                    <a:pt x="26" y="4"/>
                    <a:pt x="54" y="4"/>
                  </a:cubicBezTo>
                  <a:cubicBezTo>
                    <a:pt x="762" y="4"/>
                    <a:pt x="762" y="4"/>
                    <a:pt x="762" y="4"/>
                  </a:cubicBezTo>
                  <a:cubicBezTo>
                    <a:pt x="790" y="4"/>
                    <a:pt x="812" y="26"/>
                    <a:pt x="812" y="54"/>
                  </a:cubicBezTo>
                  <a:lnTo>
                    <a:pt x="812" y="138"/>
                  </a:lnTo>
                  <a:close/>
                </a:path>
              </a:pathLst>
            </a:custGeom>
            <a:grpFill/>
            <a:ln w="9525">
              <a:solidFill>
                <a:srgbClr val="62FDFE">
                  <a:alpha val="37000"/>
                </a:srgbClr>
              </a:solidFill>
              <a:round/>
            </a:ln>
          </p:spPr>
          <p:txBody>
            <a:bodyPr vert="horz" wrap="square" lIns="91440" tIns="45720" rIns="91440" bIns="45720" numCol="1" anchor="t" anchorCtr="0" compatLnSpc="1"/>
            <a:lstStyle/>
            <a:p>
              <a:endParaRPr lang="zh-CN" altLang="en-US">
                <a:solidFill>
                  <a:srgbClr val="A0DAE4"/>
                </a:solidFill>
                <a:cs typeface="+mn-ea"/>
                <a:sym typeface="+mn-lt"/>
              </a:endParaRPr>
            </a:p>
          </p:txBody>
        </p:sp>
        <p:sp>
          <p:nvSpPr>
            <p:cNvPr id="85" name="Freeform 9"/>
            <p:cNvSpPr/>
            <p:nvPr/>
          </p:nvSpPr>
          <p:spPr bwMode="auto">
            <a:xfrm>
              <a:off x="2961" y="1306"/>
              <a:ext cx="1758" cy="1869"/>
            </a:xfrm>
            <a:custGeom>
              <a:avLst/>
              <a:gdLst>
                <a:gd name="T0" fmla="*/ 0 w 742"/>
                <a:gd name="T1" fmla="*/ 778 h 789"/>
                <a:gd name="T2" fmla="*/ 11 w 742"/>
                <a:gd name="T3" fmla="*/ 789 h 789"/>
                <a:gd name="T4" fmla="*/ 730 w 742"/>
                <a:gd name="T5" fmla="*/ 789 h 789"/>
                <a:gd name="T6" fmla="*/ 742 w 742"/>
                <a:gd name="T7" fmla="*/ 778 h 789"/>
                <a:gd name="T8" fmla="*/ 742 w 742"/>
                <a:gd name="T9" fmla="*/ 11 h 789"/>
                <a:gd name="T10" fmla="*/ 730 w 742"/>
                <a:gd name="T11" fmla="*/ 0 h 789"/>
                <a:gd name="T12" fmla="*/ 11 w 742"/>
                <a:gd name="T13" fmla="*/ 0 h 789"/>
                <a:gd name="T14" fmla="*/ 0 w 742"/>
                <a:gd name="T15" fmla="*/ 11 h 789"/>
                <a:gd name="T16" fmla="*/ 0 w 742"/>
                <a:gd name="T17" fmla="*/ 778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2" h="789">
                  <a:moveTo>
                    <a:pt x="0" y="778"/>
                  </a:moveTo>
                  <a:cubicBezTo>
                    <a:pt x="0" y="784"/>
                    <a:pt x="5" y="789"/>
                    <a:pt x="11" y="789"/>
                  </a:cubicBezTo>
                  <a:cubicBezTo>
                    <a:pt x="730" y="789"/>
                    <a:pt x="730" y="789"/>
                    <a:pt x="730" y="789"/>
                  </a:cubicBezTo>
                  <a:cubicBezTo>
                    <a:pt x="737" y="789"/>
                    <a:pt x="742" y="784"/>
                    <a:pt x="742" y="778"/>
                  </a:cubicBezTo>
                  <a:cubicBezTo>
                    <a:pt x="742" y="11"/>
                    <a:pt x="742" y="11"/>
                    <a:pt x="742" y="11"/>
                  </a:cubicBezTo>
                  <a:cubicBezTo>
                    <a:pt x="742" y="5"/>
                    <a:pt x="737" y="0"/>
                    <a:pt x="730" y="0"/>
                  </a:cubicBezTo>
                  <a:cubicBezTo>
                    <a:pt x="11" y="0"/>
                    <a:pt x="11" y="0"/>
                    <a:pt x="11" y="0"/>
                  </a:cubicBezTo>
                  <a:cubicBezTo>
                    <a:pt x="5" y="0"/>
                    <a:pt x="0" y="5"/>
                    <a:pt x="0" y="11"/>
                  </a:cubicBezTo>
                  <a:lnTo>
                    <a:pt x="0" y="778"/>
                  </a:lnTo>
                  <a:close/>
                </a:path>
              </a:pathLst>
            </a:custGeom>
            <a:blipFill dpi="0" rotWithShape="1">
              <a:blip r:embed="rId3" cstate="screen"/>
              <a:srcRect/>
              <a:stretch>
                <a:fillRect/>
              </a:stretch>
            </a:blipFill>
            <a:ln w="9525">
              <a:solidFill>
                <a:srgbClr val="62FDFE">
                  <a:alpha val="37000"/>
                </a:srgbClr>
              </a:solidFill>
              <a:round/>
            </a:ln>
          </p:spPr>
          <p:txBody>
            <a:bodyPr vert="horz" wrap="square" lIns="91440" tIns="45720" rIns="91440" bIns="45720" numCol="1" anchor="t" anchorCtr="0" compatLnSpc="1"/>
            <a:lstStyle/>
            <a:p>
              <a:endParaRPr lang="zh-CN" altLang="en-US">
                <a:solidFill>
                  <a:srgbClr val="A0DAE4"/>
                </a:solidFill>
                <a:cs typeface="+mn-ea"/>
                <a:sym typeface="+mn-lt"/>
              </a:endParaRPr>
            </a:p>
          </p:txBody>
        </p:sp>
      </p:grpSp>
      <p:grpSp>
        <p:nvGrpSpPr>
          <p:cNvPr id="89" name="组合 88"/>
          <p:cNvGrpSpPr/>
          <p:nvPr/>
        </p:nvGrpSpPr>
        <p:grpSpPr>
          <a:xfrm flipV="1">
            <a:off x="7151670" y="4490236"/>
            <a:ext cx="1158858" cy="596655"/>
            <a:chOff x="6381771" y="328046"/>
            <a:chExt cx="1158858" cy="596655"/>
          </a:xfrm>
        </p:grpSpPr>
        <p:cxnSp>
          <p:nvCxnSpPr>
            <p:cNvPr id="90" name="直接箭头连接符 89"/>
            <p:cNvCxnSpPr/>
            <p:nvPr/>
          </p:nvCxnSpPr>
          <p:spPr>
            <a:xfrm flipH="1" flipV="1">
              <a:off x="6381771" y="328046"/>
              <a:ext cx="496979" cy="537016"/>
            </a:xfrm>
            <a:prstGeom prst="straightConnector1">
              <a:avLst/>
            </a:prstGeom>
            <a:ln w="25400">
              <a:solidFill>
                <a:srgbClr val="53D2FF"/>
              </a:solidFill>
              <a:tailEnd type="none"/>
            </a:ln>
          </p:spPr>
          <p:style>
            <a:lnRef idx="1">
              <a:schemeClr val="accent1"/>
            </a:lnRef>
            <a:fillRef idx="0">
              <a:schemeClr val="accent1"/>
            </a:fillRef>
            <a:effectRef idx="0">
              <a:schemeClr val="accent1"/>
            </a:effectRef>
            <a:fontRef idx="minor">
              <a:schemeClr val="tx1"/>
            </a:fontRef>
          </p:style>
        </p:cxnSp>
        <p:grpSp>
          <p:nvGrpSpPr>
            <p:cNvPr id="91" name="组合 90"/>
            <p:cNvGrpSpPr/>
            <p:nvPr/>
          </p:nvGrpSpPr>
          <p:grpSpPr>
            <a:xfrm flipH="1">
              <a:off x="6878749" y="810401"/>
              <a:ext cx="661880" cy="114300"/>
              <a:chOff x="7619707" y="3337114"/>
              <a:chExt cx="661880" cy="114300"/>
            </a:xfrm>
          </p:grpSpPr>
          <p:cxnSp>
            <p:nvCxnSpPr>
              <p:cNvPr id="92" name="直接箭头连接符 91"/>
              <p:cNvCxnSpPr/>
              <p:nvPr/>
            </p:nvCxnSpPr>
            <p:spPr>
              <a:xfrm flipV="1">
                <a:off x="7740245" y="3391775"/>
                <a:ext cx="541342" cy="0"/>
              </a:xfrm>
              <a:prstGeom prst="straightConnector1">
                <a:avLst/>
              </a:prstGeom>
              <a:ln w="25400">
                <a:solidFill>
                  <a:srgbClr val="53D2FF"/>
                </a:solidFill>
                <a:tailEnd type="none"/>
              </a:ln>
            </p:spPr>
            <p:style>
              <a:lnRef idx="1">
                <a:schemeClr val="accent1"/>
              </a:lnRef>
              <a:fillRef idx="0">
                <a:schemeClr val="accent1"/>
              </a:fillRef>
              <a:effectRef idx="0">
                <a:schemeClr val="accent1"/>
              </a:effectRef>
              <a:fontRef idx="minor">
                <a:schemeClr val="tx1"/>
              </a:fontRef>
            </p:style>
          </p:cxnSp>
          <p:sp>
            <p:nvSpPr>
              <p:cNvPr id="93" name="椭圆 92"/>
              <p:cNvSpPr/>
              <p:nvPr/>
            </p:nvSpPr>
            <p:spPr>
              <a:xfrm>
                <a:off x="7619707" y="3337114"/>
                <a:ext cx="114300" cy="114300"/>
              </a:xfrm>
              <a:prstGeom prst="ellipse">
                <a:avLst/>
              </a:prstGeom>
              <a:noFill/>
              <a:ln w="25400">
                <a:solidFill>
                  <a:srgbClr val="53D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grpSp>
      </p:grpSp>
      <p:grpSp>
        <p:nvGrpSpPr>
          <p:cNvPr id="97" name="组合 96"/>
          <p:cNvGrpSpPr/>
          <p:nvPr/>
        </p:nvGrpSpPr>
        <p:grpSpPr>
          <a:xfrm flipH="1" flipV="1">
            <a:off x="3316528" y="2685154"/>
            <a:ext cx="1839736" cy="1171540"/>
            <a:chOff x="5700893" y="-246839"/>
            <a:chExt cx="1839736" cy="1171540"/>
          </a:xfrm>
        </p:grpSpPr>
        <p:cxnSp>
          <p:nvCxnSpPr>
            <p:cNvPr id="98" name="直接箭头连接符 97"/>
            <p:cNvCxnSpPr/>
            <p:nvPr/>
          </p:nvCxnSpPr>
          <p:spPr>
            <a:xfrm flipH="1" flipV="1">
              <a:off x="5700893" y="-246839"/>
              <a:ext cx="1177857" cy="1111901"/>
            </a:xfrm>
            <a:prstGeom prst="straightConnector1">
              <a:avLst/>
            </a:prstGeom>
            <a:ln w="25400">
              <a:solidFill>
                <a:srgbClr val="53D2FF"/>
              </a:solidFill>
              <a:tailEnd type="none"/>
            </a:ln>
          </p:spPr>
          <p:style>
            <a:lnRef idx="1">
              <a:schemeClr val="accent1"/>
            </a:lnRef>
            <a:fillRef idx="0">
              <a:schemeClr val="accent1"/>
            </a:fillRef>
            <a:effectRef idx="0">
              <a:schemeClr val="accent1"/>
            </a:effectRef>
            <a:fontRef idx="minor">
              <a:schemeClr val="tx1"/>
            </a:fontRef>
          </p:style>
        </p:cxnSp>
        <p:grpSp>
          <p:nvGrpSpPr>
            <p:cNvPr id="99" name="组合 98"/>
            <p:cNvGrpSpPr/>
            <p:nvPr/>
          </p:nvGrpSpPr>
          <p:grpSpPr>
            <a:xfrm flipH="1">
              <a:off x="6878749" y="810401"/>
              <a:ext cx="661880" cy="114300"/>
              <a:chOff x="7619707" y="3337114"/>
              <a:chExt cx="661880" cy="114300"/>
            </a:xfrm>
          </p:grpSpPr>
          <p:cxnSp>
            <p:nvCxnSpPr>
              <p:cNvPr id="100" name="直接箭头连接符 99"/>
              <p:cNvCxnSpPr/>
              <p:nvPr/>
            </p:nvCxnSpPr>
            <p:spPr>
              <a:xfrm flipV="1">
                <a:off x="7740245" y="3391775"/>
                <a:ext cx="541342" cy="0"/>
              </a:xfrm>
              <a:prstGeom prst="straightConnector1">
                <a:avLst/>
              </a:prstGeom>
              <a:ln w="25400">
                <a:solidFill>
                  <a:srgbClr val="53D2FF"/>
                </a:solidFill>
                <a:tailEnd type="none"/>
              </a:ln>
            </p:spPr>
            <p:style>
              <a:lnRef idx="1">
                <a:schemeClr val="accent1"/>
              </a:lnRef>
              <a:fillRef idx="0">
                <a:schemeClr val="accent1"/>
              </a:fillRef>
              <a:effectRef idx="0">
                <a:schemeClr val="accent1"/>
              </a:effectRef>
              <a:fontRef idx="minor">
                <a:schemeClr val="tx1"/>
              </a:fontRef>
            </p:style>
          </p:cxnSp>
          <p:sp>
            <p:nvSpPr>
              <p:cNvPr id="101" name="椭圆 100"/>
              <p:cNvSpPr/>
              <p:nvPr/>
            </p:nvSpPr>
            <p:spPr>
              <a:xfrm>
                <a:off x="7619707" y="3337114"/>
                <a:ext cx="114300" cy="114300"/>
              </a:xfrm>
              <a:prstGeom prst="ellipse">
                <a:avLst/>
              </a:prstGeom>
              <a:noFill/>
              <a:ln w="25400">
                <a:solidFill>
                  <a:srgbClr val="53D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cs typeface="+mn-ea"/>
                  <a:sym typeface="+mn-lt"/>
                </a:endParaRPr>
              </a:p>
            </p:txBody>
          </p:sp>
        </p:grpSp>
      </p:grpSp>
      <p:sp>
        <p:nvSpPr>
          <p:cNvPr id="158" name="矩形 157"/>
          <p:cNvSpPr/>
          <p:nvPr/>
        </p:nvSpPr>
        <p:spPr>
          <a:xfrm>
            <a:off x="8549607" y="4799279"/>
            <a:ext cx="2817374" cy="1200329"/>
          </a:xfrm>
          <a:prstGeom prst="rect">
            <a:avLst/>
          </a:prstGeom>
        </p:spPr>
        <p:txBody>
          <a:bodyPr wrap="square">
            <a:spAutoFit/>
          </a:bodyPr>
          <a:lstStyle/>
          <a:p>
            <a:pPr>
              <a:lnSpc>
                <a:spcPct val="150000"/>
              </a:lnSpc>
              <a:buClr>
                <a:srgbClr val="E24848"/>
              </a:buClr>
            </a:pPr>
            <a:r>
              <a:rPr lang="zh-CN" altLang="en-US" sz="1200" noProof="1">
                <a:solidFill>
                  <a:schemeClr val="bg1">
                    <a:lumMod val="85000"/>
                  </a:schemeClr>
                </a:solidFill>
                <a:cs typeface="+mn-ea"/>
                <a:sym typeface="+mn-lt"/>
              </a:rPr>
              <a:t>请替换文字内容，修改文字内容，也可以直接复制你的内容到此。请替换文字内容，修改文字内容，也可以直接复制你的内容到此。</a:t>
            </a:r>
          </a:p>
        </p:txBody>
      </p:sp>
      <p:sp>
        <p:nvSpPr>
          <p:cNvPr id="159" name="Rounded Rectangle 48"/>
          <p:cNvSpPr/>
          <p:nvPr/>
        </p:nvSpPr>
        <p:spPr>
          <a:xfrm>
            <a:off x="8549606" y="4290522"/>
            <a:ext cx="2284292" cy="404023"/>
          </a:xfrm>
          <a:prstGeom prst="roundRect">
            <a:avLst/>
          </a:prstGeom>
          <a:gradFill>
            <a:gsLst>
              <a:gs pos="14000">
                <a:srgbClr val="00B0F0"/>
              </a:gs>
              <a:gs pos="64000">
                <a:srgbClr val="0BB0AD"/>
              </a:gs>
              <a:gs pos="42000">
                <a:srgbClr val="13FFEC"/>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cs typeface="+mn-ea"/>
                <a:sym typeface="+mn-lt"/>
              </a:rPr>
              <a:t>替换文字内容</a:t>
            </a:r>
          </a:p>
        </p:txBody>
      </p:sp>
      <p:sp>
        <p:nvSpPr>
          <p:cNvPr id="160" name="矩形 159"/>
          <p:cNvSpPr/>
          <p:nvPr/>
        </p:nvSpPr>
        <p:spPr>
          <a:xfrm>
            <a:off x="416008" y="3051538"/>
            <a:ext cx="2817374" cy="1200329"/>
          </a:xfrm>
          <a:prstGeom prst="rect">
            <a:avLst/>
          </a:prstGeom>
        </p:spPr>
        <p:txBody>
          <a:bodyPr wrap="square">
            <a:spAutoFit/>
          </a:bodyPr>
          <a:lstStyle/>
          <a:p>
            <a:pPr algn="r">
              <a:lnSpc>
                <a:spcPct val="150000"/>
              </a:lnSpc>
              <a:buClr>
                <a:srgbClr val="E24848"/>
              </a:buClr>
            </a:pPr>
            <a:r>
              <a:rPr lang="zh-CN" altLang="en-US" sz="1200" noProof="1">
                <a:solidFill>
                  <a:schemeClr val="bg1">
                    <a:lumMod val="85000"/>
                  </a:schemeClr>
                </a:solidFill>
                <a:cs typeface="+mn-ea"/>
                <a:sym typeface="+mn-lt"/>
              </a:rPr>
              <a:t>请替换文字内容，修改文字内容，也可以直接复制你的内容到此。请替换文字内容，修改文字内容，也可以直接复制你的内容到此。</a:t>
            </a:r>
          </a:p>
        </p:txBody>
      </p:sp>
      <p:sp>
        <p:nvSpPr>
          <p:cNvPr id="161" name="Rounded Rectangle 48"/>
          <p:cNvSpPr/>
          <p:nvPr/>
        </p:nvSpPr>
        <p:spPr>
          <a:xfrm>
            <a:off x="949090" y="2542781"/>
            <a:ext cx="2284292" cy="404023"/>
          </a:xfrm>
          <a:prstGeom prst="roundRect">
            <a:avLst/>
          </a:prstGeom>
          <a:gradFill>
            <a:gsLst>
              <a:gs pos="14000">
                <a:srgbClr val="00B0F0"/>
              </a:gs>
              <a:gs pos="64000">
                <a:srgbClr val="0BB0AD"/>
              </a:gs>
              <a:gs pos="42000">
                <a:srgbClr val="13FFEC"/>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tx1"/>
                </a:solidFill>
                <a:cs typeface="+mn-ea"/>
                <a:sym typeface="+mn-lt"/>
              </a:rPr>
              <a:t>替换文字内容</a:t>
            </a:r>
          </a:p>
        </p:txBody>
      </p:sp>
      <p:pic>
        <p:nvPicPr>
          <p:cNvPr id="182" name="图片 181"/>
          <p:cNvPicPr>
            <a:picLocks noChangeAspect="1"/>
          </p:cNvPicPr>
          <p:nvPr/>
        </p:nvPicPr>
        <p:blipFill rotWithShape="1">
          <a:blip r:embed="rId4" cstate="screen">
            <a:extLst>
              <a:ext uri="{BEBA8EAE-BF5A-486C-A8C5-ECC9F3942E4B}">
                <a14:imgProps xmlns:a14="http://schemas.microsoft.com/office/drawing/2010/main">
                  <a14:imgLayer r:embed="rId5">
                    <a14:imgEffect>
                      <a14:backgroundRemoval t="0" b="100000" l="0" r="98663">
                        <a14:foregroundMark x1="45765" y1="21175" x2="59584" y2="81762"/>
                        <a14:foregroundMark x1="76672" y1="27975" x2="52452" y2="61515"/>
                        <a14:foregroundMark x1="82615" y1="48377" x2="40862" y2="63524"/>
                        <a14:foregroundMark x1="70877" y1="57496" x2="47994" y2="54869"/>
                        <a14:backgroundMark x1="29866" y1="0" x2="28975" y2="2628"/>
                      </a14:backgroundRemoval>
                    </a14:imgEffect>
                  </a14:imgLayer>
                </a14:imgProps>
              </a:ext>
            </a:extLst>
          </a:blip>
          <a:srcRect/>
          <a:stretch>
            <a:fillRect/>
          </a:stretch>
        </p:blipFill>
        <p:spPr>
          <a:xfrm flipH="1">
            <a:off x="9565009" y="355929"/>
            <a:ext cx="1919941" cy="1843307"/>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14" presetClass="entr" presetSubtype="10" fill="hold" nodeType="withEffect">
                                  <p:stCondLst>
                                    <p:cond delay="1250"/>
                                  </p:stCondLst>
                                  <p:childTnLst>
                                    <p:set>
                                      <p:cBhvr>
                                        <p:cTn id="17" dur="1" fill="hold">
                                          <p:stCondLst>
                                            <p:cond delay="0"/>
                                          </p:stCondLst>
                                        </p:cTn>
                                        <p:tgtEl>
                                          <p:spTgt spid="80"/>
                                        </p:tgtEl>
                                        <p:attrNameLst>
                                          <p:attrName>style.visibility</p:attrName>
                                        </p:attrNameLst>
                                      </p:cBhvr>
                                      <p:to>
                                        <p:strVal val="visible"/>
                                      </p:to>
                                    </p:set>
                                    <p:animEffect transition="in" filter="randombar(horizontal)">
                                      <p:cBhvr>
                                        <p:cTn id="18" dur="1000"/>
                                        <p:tgtEl>
                                          <p:spTgt spid="80"/>
                                        </p:tgtEl>
                                      </p:cBhvr>
                                    </p:animEffect>
                                  </p:childTnLst>
                                </p:cTn>
                              </p:par>
                              <p:par>
                                <p:cTn id="19" presetID="22" presetClass="entr" presetSubtype="8" fill="hold" nodeType="withEffect">
                                  <p:stCondLst>
                                    <p:cond delay="1250"/>
                                  </p:stCondLst>
                                  <p:childTnLst>
                                    <p:set>
                                      <p:cBhvr>
                                        <p:cTn id="20" dur="1" fill="hold">
                                          <p:stCondLst>
                                            <p:cond delay="0"/>
                                          </p:stCondLst>
                                        </p:cTn>
                                        <p:tgtEl>
                                          <p:spTgt spid="89"/>
                                        </p:tgtEl>
                                        <p:attrNameLst>
                                          <p:attrName>style.visibility</p:attrName>
                                        </p:attrNameLst>
                                      </p:cBhvr>
                                      <p:to>
                                        <p:strVal val="visible"/>
                                      </p:to>
                                    </p:set>
                                    <p:animEffect transition="in" filter="wipe(left)">
                                      <p:cBhvr>
                                        <p:cTn id="21" dur="500"/>
                                        <p:tgtEl>
                                          <p:spTgt spid="89"/>
                                        </p:tgtEl>
                                      </p:cBhvr>
                                    </p:animEffect>
                                  </p:childTnLst>
                                </p:cTn>
                              </p:par>
                              <p:par>
                                <p:cTn id="22" presetID="22" presetClass="entr" presetSubtype="8" fill="hold" nodeType="withEffect">
                                  <p:stCondLst>
                                    <p:cond delay="1250"/>
                                  </p:stCondLst>
                                  <p:childTnLst>
                                    <p:set>
                                      <p:cBhvr>
                                        <p:cTn id="23" dur="1" fill="hold">
                                          <p:stCondLst>
                                            <p:cond delay="0"/>
                                          </p:stCondLst>
                                        </p:cTn>
                                        <p:tgtEl>
                                          <p:spTgt spid="97"/>
                                        </p:tgtEl>
                                        <p:attrNameLst>
                                          <p:attrName>style.visibility</p:attrName>
                                        </p:attrNameLst>
                                      </p:cBhvr>
                                      <p:to>
                                        <p:strVal val="visible"/>
                                      </p:to>
                                    </p:set>
                                    <p:animEffect transition="in" filter="wipe(left)">
                                      <p:cBhvr>
                                        <p:cTn id="24" dur="500"/>
                                        <p:tgtEl>
                                          <p:spTgt spid="97"/>
                                        </p:tgtEl>
                                      </p:cBhvr>
                                    </p:animEffect>
                                  </p:childTnLst>
                                </p:cTn>
                              </p:par>
                            </p:childTnLst>
                          </p:cTn>
                        </p:par>
                        <p:par>
                          <p:cTn id="25" fill="hold">
                            <p:stCondLst>
                              <p:cond delay="0"/>
                            </p:stCondLst>
                            <p:childTnLst>
                              <p:par>
                                <p:cTn id="26" presetID="2" presetClass="entr" presetSubtype="2" accel="20000" decel="80000" fill="hold" grpId="0" nodeType="afterEffect">
                                  <p:stCondLst>
                                    <p:cond delay="0"/>
                                  </p:stCondLst>
                                  <p:childTnLst>
                                    <p:set>
                                      <p:cBhvr>
                                        <p:cTn id="27" dur="1" fill="hold">
                                          <p:stCondLst>
                                            <p:cond delay="0"/>
                                          </p:stCondLst>
                                        </p:cTn>
                                        <p:tgtEl>
                                          <p:spTgt spid="159"/>
                                        </p:tgtEl>
                                        <p:attrNameLst>
                                          <p:attrName>style.visibility</p:attrName>
                                        </p:attrNameLst>
                                      </p:cBhvr>
                                      <p:to>
                                        <p:strVal val="visible"/>
                                      </p:to>
                                    </p:set>
                                    <p:anim calcmode="lin" valueType="num">
                                      <p:cBhvr additive="base">
                                        <p:cTn id="28" dur="1000" fill="hold"/>
                                        <p:tgtEl>
                                          <p:spTgt spid="159"/>
                                        </p:tgtEl>
                                        <p:attrNameLst>
                                          <p:attrName>ppt_x</p:attrName>
                                        </p:attrNameLst>
                                      </p:cBhvr>
                                      <p:tavLst>
                                        <p:tav tm="0">
                                          <p:val>
                                            <p:strVal val="1+#ppt_w/2"/>
                                          </p:val>
                                        </p:tav>
                                        <p:tav tm="100000">
                                          <p:val>
                                            <p:strVal val="#ppt_x"/>
                                          </p:val>
                                        </p:tav>
                                      </p:tavLst>
                                    </p:anim>
                                    <p:anim calcmode="lin" valueType="num">
                                      <p:cBhvr additive="base">
                                        <p:cTn id="29" dur="1000" fill="hold"/>
                                        <p:tgtEl>
                                          <p:spTgt spid="159"/>
                                        </p:tgtEl>
                                        <p:attrNameLst>
                                          <p:attrName>ppt_y</p:attrName>
                                        </p:attrNameLst>
                                      </p:cBhvr>
                                      <p:tavLst>
                                        <p:tav tm="0">
                                          <p:val>
                                            <p:strVal val="#ppt_y"/>
                                          </p:val>
                                        </p:tav>
                                        <p:tav tm="100000">
                                          <p:val>
                                            <p:strVal val="#ppt_y"/>
                                          </p:val>
                                        </p:tav>
                                      </p:tavLst>
                                    </p:anim>
                                  </p:childTnLst>
                                </p:cTn>
                              </p:par>
                            </p:childTnLst>
                          </p:cTn>
                        </p:par>
                        <p:par>
                          <p:cTn id="30" fill="hold">
                            <p:stCondLst>
                              <p:cond delay="1000"/>
                            </p:stCondLst>
                            <p:childTnLst>
                              <p:par>
                                <p:cTn id="31" presetID="14" presetClass="entr" presetSubtype="10" fill="hold" grpId="0" nodeType="afterEffect">
                                  <p:stCondLst>
                                    <p:cond delay="0"/>
                                  </p:stCondLst>
                                  <p:childTnLst>
                                    <p:set>
                                      <p:cBhvr>
                                        <p:cTn id="32" dur="1" fill="hold">
                                          <p:stCondLst>
                                            <p:cond delay="0"/>
                                          </p:stCondLst>
                                        </p:cTn>
                                        <p:tgtEl>
                                          <p:spTgt spid="158"/>
                                        </p:tgtEl>
                                        <p:attrNameLst>
                                          <p:attrName>style.visibility</p:attrName>
                                        </p:attrNameLst>
                                      </p:cBhvr>
                                      <p:to>
                                        <p:strVal val="visible"/>
                                      </p:to>
                                    </p:set>
                                    <p:animEffect transition="in" filter="randombar(horizontal)">
                                      <p:cBhvr>
                                        <p:cTn id="33" dur="500"/>
                                        <p:tgtEl>
                                          <p:spTgt spid="158"/>
                                        </p:tgtEl>
                                      </p:cBhvr>
                                    </p:animEffect>
                                  </p:childTnLst>
                                </p:cTn>
                              </p:par>
                            </p:childTnLst>
                          </p:cTn>
                        </p:par>
                        <p:par>
                          <p:cTn id="34" fill="hold">
                            <p:stCondLst>
                              <p:cond delay="1500"/>
                            </p:stCondLst>
                            <p:childTnLst>
                              <p:par>
                                <p:cTn id="35" presetID="2" presetClass="entr" presetSubtype="2" accel="20000" decel="80000" fill="hold" grpId="0" nodeType="afterEffect">
                                  <p:stCondLst>
                                    <p:cond delay="0"/>
                                  </p:stCondLst>
                                  <p:childTnLst>
                                    <p:set>
                                      <p:cBhvr>
                                        <p:cTn id="36" dur="1" fill="hold">
                                          <p:stCondLst>
                                            <p:cond delay="0"/>
                                          </p:stCondLst>
                                        </p:cTn>
                                        <p:tgtEl>
                                          <p:spTgt spid="161"/>
                                        </p:tgtEl>
                                        <p:attrNameLst>
                                          <p:attrName>style.visibility</p:attrName>
                                        </p:attrNameLst>
                                      </p:cBhvr>
                                      <p:to>
                                        <p:strVal val="visible"/>
                                      </p:to>
                                    </p:set>
                                    <p:anim calcmode="lin" valueType="num">
                                      <p:cBhvr additive="base">
                                        <p:cTn id="37" dur="1000" fill="hold"/>
                                        <p:tgtEl>
                                          <p:spTgt spid="161"/>
                                        </p:tgtEl>
                                        <p:attrNameLst>
                                          <p:attrName>ppt_x</p:attrName>
                                        </p:attrNameLst>
                                      </p:cBhvr>
                                      <p:tavLst>
                                        <p:tav tm="0">
                                          <p:val>
                                            <p:strVal val="1+#ppt_w/2"/>
                                          </p:val>
                                        </p:tav>
                                        <p:tav tm="100000">
                                          <p:val>
                                            <p:strVal val="#ppt_x"/>
                                          </p:val>
                                        </p:tav>
                                      </p:tavLst>
                                    </p:anim>
                                    <p:anim calcmode="lin" valueType="num">
                                      <p:cBhvr additive="base">
                                        <p:cTn id="38" dur="1000" fill="hold"/>
                                        <p:tgtEl>
                                          <p:spTgt spid="161"/>
                                        </p:tgtEl>
                                        <p:attrNameLst>
                                          <p:attrName>ppt_y</p:attrName>
                                        </p:attrNameLst>
                                      </p:cBhvr>
                                      <p:tavLst>
                                        <p:tav tm="0">
                                          <p:val>
                                            <p:strVal val="#ppt_y"/>
                                          </p:val>
                                        </p:tav>
                                        <p:tav tm="100000">
                                          <p:val>
                                            <p:strVal val="#ppt_y"/>
                                          </p:val>
                                        </p:tav>
                                      </p:tavLst>
                                    </p:anim>
                                  </p:childTnLst>
                                </p:cTn>
                              </p:par>
                            </p:childTnLst>
                          </p:cTn>
                        </p:par>
                        <p:par>
                          <p:cTn id="39" fill="hold">
                            <p:stCondLst>
                              <p:cond delay="2500"/>
                            </p:stCondLst>
                            <p:childTnLst>
                              <p:par>
                                <p:cTn id="40" presetID="14" presetClass="entr" presetSubtype="10" fill="hold" grpId="0" nodeType="afterEffect">
                                  <p:stCondLst>
                                    <p:cond delay="0"/>
                                  </p:stCondLst>
                                  <p:childTnLst>
                                    <p:set>
                                      <p:cBhvr>
                                        <p:cTn id="41" dur="1" fill="hold">
                                          <p:stCondLst>
                                            <p:cond delay="0"/>
                                          </p:stCondLst>
                                        </p:cTn>
                                        <p:tgtEl>
                                          <p:spTgt spid="160"/>
                                        </p:tgtEl>
                                        <p:attrNameLst>
                                          <p:attrName>style.visibility</p:attrName>
                                        </p:attrNameLst>
                                      </p:cBhvr>
                                      <p:to>
                                        <p:strVal val="visible"/>
                                      </p:to>
                                    </p:set>
                                    <p:animEffect transition="in" filter="randombar(horizontal)">
                                      <p:cBhvr>
                                        <p:cTn id="42" dur="500"/>
                                        <p:tgtEl>
                                          <p:spTgt spid="160"/>
                                        </p:tgtEl>
                                      </p:cBhvr>
                                    </p:animEffect>
                                  </p:childTnLst>
                                </p:cTn>
                              </p:par>
                              <p:par>
                                <p:cTn id="43" presetID="47" presetClass="entr" presetSubtype="0" fill="hold" nodeType="withEffect">
                                  <p:stCondLst>
                                    <p:cond delay="500"/>
                                  </p:stCondLst>
                                  <p:childTnLst>
                                    <p:set>
                                      <p:cBhvr>
                                        <p:cTn id="44" dur="1" fill="hold">
                                          <p:stCondLst>
                                            <p:cond delay="0"/>
                                          </p:stCondLst>
                                        </p:cTn>
                                        <p:tgtEl>
                                          <p:spTgt spid="182"/>
                                        </p:tgtEl>
                                        <p:attrNameLst>
                                          <p:attrName>style.visibility</p:attrName>
                                        </p:attrNameLst>
                                      </p:cBhvr>
                                      <p:to>
                                        <p:strVal val="visible"/>
                                      </p:to>
                                    </p:set>
                                    <p:animEffect transition="in" filter="fade">
                                      <p:cBhvr>
                                        <p:cTn id="45" dur="1000"/>
                                        <p:tgtEl>
                                          <p:spTgt spid="182"/>
                                        </p:tgtEl>
                                      </p:cBhvr>
                                    </p:animEffect>
                                    <p:anim calcmode="lin" valueType="num">
                                      <p:cBhvr>
                                        <p:cTn id="46" dur="1000" fill="hold"/>
                                        <p:tgtEl>
                                          <p:spTgt spid="182"/>
                                        </p:tgtEl>
                                        <p:attrNameLst>
                                          <p:attrName>ppt_x</p:attrName>
                                        </p:attrNameLst>
                                      </p:cBhvr>
                                      <p:tavLst>
                                        <p:tav tm="0">
                                          <p:val>
                                            <p:strVal val="#ppt_x"/>
                                          </p:val>
                                        </p:tav>
                                        <p:tav tm="100000">
                                          <p:val>
                                            <p:strVal val="#ppt_x"/>
                                          </p:val>
                                        </p:tav>
                                      </p:tavLst>
                                    </p:anim>
                                    <p:anim calcmode="lin" valueType="num">
                                      <p:cBhvr>
                                        <p:cTn id="47" dur="1000" fill="hold"/>
                                        <p:tgtEl>
                                          <p:spTgt spid="18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58" grpId="0"/>
      <p:bldP spid="159" grpId="0" animBg="1"/>
      <p:bldP spid="160" grpId="0"/>
      <p:bldP spid="16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2" cstate="screen"/>
          <a:srcRect/>
          <a:stretch>
            <a:fillRect/>
          </a:stretch>
        </p:blipFill>
        <p:spPr>
          <a:xfrm>
            <a:off x="323850" y="147319"/>
            <a:ext cx="946150" cy="1417236"/>
          </a:xfrm>
          <a:prstGeom prst="rect">
            <a:avLst/>
          </a:prstGeom>
        </p:spPr>
      </p:pic>
      <p:pic>
        <p:nvPicPr>
          <p:cNvPr id="9" name="图片 8"/>
          <p:cNvPicPr>
            <a:picLocks noChangeAspect="1"/>
          </p:cNvPicPr>
          <p:nvPr/>
        </p:nvPicPr>
        <p:blipFill rotWithShape="1">
          <a:blip r:embed="rId3" cstate="screen"/>
          <a:srcRect/>
          <a:stretch>
            <a:fillRect/>
          </a:stretch>
        </p:blipFill>
        <p:spPr>
          <a:xfrm>
            <a:off x="10598150" y="372783"/>
            <a:ext cx="1193800" cy="655917"/>
          </a:xfrm>
          <a:prstGeom prst="rect">
            <a:avLst/>
          </a:prstGeom>
        </p:spPr>
      </p:pic>
      <p:sp>
        <p:nvSpPr>
          <p:cNvPr id="10" name="矩形 9"/>
          <p:cNvSpPr/>
          <p:nvPr/>
        </p:nvSpPr>
        <p:spPr>
          <a:xfrm>
            <a:off x="4497286" y="2387118"/>
            <a:ext cx="3314302" cy="769441"/>
          </a:xfrm>
          <a:prstGeom prst="rect">
            <a:avLst/>
          </a:prstGeom>
        </p:spPr>
        <p:txBody>
          <a:bodyPr wrap="square" anchor="ctr">
            <a:spAutoFit/>
          </a:bodyPr>
          <a:lstStyle/>
          <a:p>
            <a:pPr lvl="0" algn="ctr">
              <a:defRPr/>
            </a:pPr>
            <a:r>
              <a:rPr lang="zh-CN" altLang="en-US" sz="44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市场前景</a:t>
            </a:r>
          </a:p>
        </p:txBody>
      </p:sp>
      <p:sp>
        <p:nvSpPr>
          <p:cNvPr id="12" name="矩形 11"/>
          <p:cNvSpPr/>
          <p:nvPr/>
        </p:nvSpPr>
        <p:spPr>
          <a:xfrm>
            <a:off x="3809603" y="6006066"/>
            <a:ext cx="4572794" cy="507839"/>
          </a:xfrm>
          <a:prstGeom prst="rect">
            <a:avLst/>
          </a:prstGeom>
        </p:spPr>
        <p:txBody>
          <a:bodyPr lIns="91448" tIns="45724" rIns="91448" bIns="45724">
            <a:spAutoFit/>
          </a:bodyPr>
          <a:lstStyle/>
          <a:p>
            <a:pPr algn="ctr"/>
            <a:r>
              <a:rPr lang="en-US" altLang="zh-CN" sz="900" dirty="0">
                <a:solidFill>
                  <a:schemeClr val="bg1">
                    <a:lumMod val="75000"/>
                  </a:schemeClr>
                </a:solidFill>
                <a:cs typeface="+mn-ea"/>
                <a:sym typeface="+mn-lt"/>
              </a:rPr>
              <a:t>Chinese  companies  will no longer remain in the hard stage and they are also promoting a culture Chinese  companies  will no longer remain </a:t>
            </a:r>
          </a:p>
          <a:p>
            <a:pPr algn="ctr"/>
            <a:r>
              <a:rPr lang="en-US" altLang="zh-CN" sz="900" dirty="0">
                <a:solidFill>
                  <a:schemeClr val="bg1">
                    <a:lumMod val="75000"/>
                  </a:schemeClr>
                </a:solidFill>
                <a:cs typeface="+mn-ea"/>
                <a:sym typeface="+mn-lt"/>
              </a:rPr>
              <a:t>in the hard stage and they are also wang ling </a:t>
            </a:r>
            <a:r>
              <a:rPr lang="en-US" altLang="zh-CN" sz="900" dirty="0" err="1">
                <a:solidFill>
                  <a:schemeClr val="bg1">
                    <a:lumMod val="75000"/>
                  </a:schemeClr>
                </a:solidFill>
                <a:cs typeface="+mn-ea"/>
                <a:sym typeface="+mn-lt"/>
              </a:rPr>
              <a:t>yan</a:t>
            </a:r>
            <a:r>
              <a:rPr lang="en-US" altLang="zh-CN" sz="900" dirty="0">
                <a:solidFill>
                  <a:schemeClr val="bg1">
                    <a:lumMod val="75000"/>
                  </a:schemeClr>
                </a:solidFill>
                <a:cs typeface="+mn-ea"/>
                <a:sym typeface="+mn-lt"/>
              </a:rPr>
              <a:t> a culture</a:t>
            </a:r>
          </a:p>
        </p:txBody>
      </p:sp>
      <p:pic>
        <p:nvPicPr>
          <p:cNvPr id="11" name="3"/>
          <p:cNvPicPr>
            <a:picLocks noChangeAspect="1"/>
          </p:cNvPicPr>
          <p:nvPr/>
        </p:nvPicPr>
        <p:blipFill rotWithShape="1">
          <a:blip r:embed="rId4" cstate="screen"/>
          <a:srcRect/>
          <a:stretch>
            <a:fillRect/>
          </a:stretch>
        </p:blipFill>
        <p:spPr>
          <a:xfrm>
            <a:off x="5506710" y="1028700"/>
            <a:ext cx="1178579" cy="2013759"/>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Tm="0">
        <p14:flash/>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ppt_x"/>
                                          </p:val>
                                        </p:tav>
                                        <p:tav tm="100000">
                                          <p:val>
                                            <p:strVal val="#ppt_x"/>
                                          </p:val>
                                        </p:tav>
                                      </p:tavLst>
                                    </p:anim>
                                    <p:anim calcmode="lin" valueType="num">
                                      <p:cBhvr additive="base">
                                        <p:cTn id="8" dur="1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3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500" fill="hold"/>
                                        <p:tgtEl>
                                          <p:spTgt spid="9"/>
                                        </p:tgtEl>
                                        <p:attrNameLst>
                                          <p:attrName>ppt_x</p:attrName>
                                        </p:attrNameLst>
                                      </p:cBhvr>
                                      <p:tavLst>
                                        <p:tav tm="0">
                                          <p:val>
                                            <p:strVal val="#ppt_x"/>
                                          </p:val>
                                        </p:tav>
                                        <p:tav tm="100000">
                                          <p:val>
                                            <p:strVal val="#ppt_x"/>
                                          </p:val>
                                        </p:tav>
                                      </p:tavLst>
                                    </p:anim>
                                    <p:anim calcmode="lin" valueType="num">
                                      <p:cBhvr additive="base">
                                        <p:cTn id="12" dur="1500" fill="hold"/>
                                        <p:tgtEl>
                                          <p:spTgt spid="9"/>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 presetClass="entr" presetSubtype="1" decel="100000"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 calcmode="lin" valueType="num">
                                      <p:cBhvr additive="base">
                                        <p:cTn id="16" dur="1500" fill="hold"/>
                                        <p:tgtEl>
                                          <p:spTgt spid="11"/>
                                        </p:tgtEl>
                                        <p:attrNameLst>
                                          <p:attrName>ppt_x</p:attrName>
                                        </p:attrNameLst>
                                      </p:cBhvr>
                                      <p:tavLst>
                                        <p:tav tm="0">
                                          <p:val>
                                            <p:strVal val="#ppt_x"/>
                                          </p:val>
                                        </p:tav>
                                        <p:tav tm="100000">
                                          <p:val>
                                            <p:strVal val="#ppt_x"/>
                                          </p:val>
                                        </p:tav>
                                      </p:tavLst>
                                    </p:anim>
                                    <p:anim calcmode="lin" valueType="num">
                                      <p:cBhvr additive="base">
                                        <p:cTn id="17" dur="1500" fill="hold"/>
                                        <p:tgtEl>
                                          <p:spTgt spid="11"/>
                                        </p:tgtEl>
                                        <p:attrNameLst>
                                          <p:attrName>ppt_y</p:attrName>
                                        </p:attrNameLst>
                                      </p:cBhvr>
                                      <p:tavLst>
                                        <p:tav tm="0">
                                          <p:val>
                                            <p:strVal val="0-#ppt_h/2"/>
                                          </p:val>
                                        </p:tav>
                                        <p:tav tm="100000">
                                          <p:val>
                                            <p:strVal val="#ppt_y"/>
                                          </p:val>
                                        </p:tav>
                                      </p:tavLst>
                                    </p:anim>
                                  </p:childTnLst>
                                </p:cTn>
                              </p:par>
                            </p:childTnLst>
                          </p:cTn>
                        </p:par>
                        <p:par>
                          <p:cTn id="18" fill="hold">
                            <p:stCondLst>
                              <p:cond delay="3000"/>
                            </p:stCondLst>
                            <p:childTnLst>
                              <p:par>
                                <p:cTn id="19" presetID="2" presetClass="entr" presetSubtype="4" fill="hold" grpId="0" nodeType="afterEffect">
                                  <p:stCondLst>
                                    <p:cond delay="0"/>
                                  </p:stCondLst>
                                  <p:iterate type="lt">
                                    <p:tmPct val="10000"/>
                                  </p:iterate>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ppt_x"/>
                                          </p:val>
                                        </p:tav>
                                        <p:tav tm="100000">
                                          <p:val>
                                            <p:strVal val="#ppt_x"/>
                                          </p:val>
                                        </p:tav>
                                      </p:tavLst>
                                    </p:anim>
                                    <p:anim calcmode="lin" valueType="num">
                                      <p:cBhvr additive="base">
                                        <p:cTn id="22" dur="500" fill="hold"/>
                                        <p:tgtEl>
                                          <p:spTgt spid="10"/>
                                        </p:tgtEl>
                                        <p:attrNameLst>
                                          <p:attrName>ppt_y</p:attrName>
                                        </p:attrNameLst>
                                      </p:cBhvr>
                                      <p:tavLst>
                                        <p:tav tm="0">
                                          <p:val>
                                            <p:strVal val="1+#ppt_h/2"/>
                                          </p:val>
                                        </p:tav>
                                        <p:tav tm="100000">
                                          <p:val>
                                            <p:strVal val="#ppt_y"/>
                                          </p:val>
                                        </p:tav>
                                      </p:tavLst>
                                    </p:anim>
                                  </p:childTnLst>
                                </p:cTn>
                              </p:par>
                              <p:par>
                                <p:cTn id="23" presetID="26" presetClass="emph" presetSubtype="0" fill="hold" grpId="1" nodeType="withEffect">
                                  <p:stCondLst>
                                    <p:cond delay="1000"/>
                                  </p:stCondLst>
                                  <p:iterate type="lt">
                                    <p:tmPct val="10000"/>
                                  </p:iterate>
                                  <p:childTnLst>
                                    <p:animEffect transition="out" filter="fade">
                                      <p:cBhvr>
                                        <p:cTn id="24" dur="500" tmFilter="0, 0; .2, .5; .8, .5; 1, 0"/>
                                        <p:tgtEl>
                                          <p:spTgt spid="10"/>
                                        </p:tgtEl>
                                      </p:cBhvr>
                                    </p:animEffect>
                                    <p:animScale>
                                      <p:cBhvr>
                                        <p:cTn id="25" dur="250" autoRev="1" fill="hold"/>
                                        <p:tgtEl>
                                          <p:spTgt spid="10"/>
                                        </p:tgtEl>
                                      </p:cBhvr>
                                      <p:by x="105000" y="105000"/>
                                    </p:animScale>
                                  </p:childTnLst>
                                </p:cTn>
                              </p:par>
                              <p:par>
                                <p:cTn id="26" presetID="14" presetClass="entr" presetSubtype="10" fill="hold" grpId="0" nodeType="withEffect">
                                  <p:stCondLst>
                                    <p:cond delay="1500"/>
                                  </p:stCondLst>
                                  <p:childTnLst>
                                    <p:set>
                                      <p:cBhvr>
                                        <p:cTn id="27" dur="1" fill="hold">
                                          <p:stCondLst>
                                            <p:cond delay="0"/>
                                          </p:stCondLst>
                                        </p:cTn>
                                        <p:tgtEl>
                                          <p:spTgt spid="12"/>
                                        </p:tgtEl>
                                        <p:attrNameLst>
                                          <p:attrName>style.visibility</p:attrName>
                                        </p:attrNameLst>
                                      </p:cBhvr>
                                      <p:to>
                                        <p:strVal val="visible"/>
                                      </p:to>
                                    </p:set>
                                    <p:animEffect transition="in" filter="randombar(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市场前景</a:t>
            </a:r>
          </a:p>
        </p:txBody>
      </p:sp>
      <p:pic>
        <p:nvPicPr>
          <p:cNvPr id="6" name="3"/>
          <p:cNvPicPr>
            <a:picLocks noChangeAspect="1"/>
          </p:cNvPicPr>
          <p:nvPr/>
        </p:nvPicPr>
        <p:blipFill rotWithShape="1">
          <a:blip r:embed="rId2" cstate="screen"/>
          <a:srcRect/>
          <a:stretch>
            <a:fillRect/>
          </a:stretch>
        </p:blipFill>
        <p:spPr>
          <a:xfrm>
            <a:off x="158312" y="64984"/>
            <a:ext cx="877549" cy="1499409"/>
          </a:xfrm>
          <a:prstGeom prst="rect">
            <a:avLst/>
          </a:prstGeom>
        </p:spPr>
      </p:pic>
      <p:pic>
        <p:nvPicPr>
          <p:cNvPr id="75" name="图片 74"/>
          <p:cNvPicPr>
            <a:picLocks noChangeAspect="1"/>
          </p:cNvPicPr>
          <p:nvPr/>
        </p:nvPicPr>
        <p:blipFill>
          <a:blip r:embed="rId3">
            <a:extLst>
              <a:ext uri="{BEBA8EAE-BF5A-486C-A8C5-ECC9F3942E4B}">
                <a14:imgProps xmlns:a14="http://schemas.microsoft.com/office/drawing/2010/main">
                  <a14:imgLayer r:embed="rId4">
                    <a14:imgEffect>
                      <a14:brightnessContrast contrast="40000"/>
                    </a14:imgEffect>
                    <a14:imgEffect>
                      <a14:colorTemperature colorTemp="11200"/>
                    </a14:imgEffect>
                  </a14:imgLayer>
                </a14:imgProps>
              </a:ext>
            </a:extLst>
          </a:blip>
          <a:stretch>
            <a:fillRect/>
          </a:stretch>
        </p:blipFill>
        <p:spPr>
          <a:xfrm flipH="1">
            <a:off x="4671390" y="31259"/>
            <a:ext cx="7520609" cy="6826742"/>
          </a:xfrm>
          <a:prstGeom prst="rect">
            <a:avLst/>
          </a:prstGeom>
        </p:spPr>
      </p:pic>
      <p:sp>
        <p:nvSpPr>
          <p:cNvPr id="105" name="Freeform 13"/>
          <p:cNvSpPr>
            <a:spLocks noEditPoints="1"/>
          </p:cNvSpPr>
          <p:nvPr/>
        </p:nvSpPr>
        <p:spPr bwMode="auto">
          <a:xfrm>
            <a:off x="886608" y="2188807"/>
            <a:ext cx="393792" cy="597370"/>
          </a:xfrm>
          <a:custGeom>
            <a:avLst/>
            <a:gdLst>
              <a:gd name="T0" fmla="*/ 615 w 704"/>
              <a:gd name="T1" fmla="*/ 0 h 1176"/>
              <a:gd name="T2" fmla="*/ 89 w 704"/>
              <a:gd name="T3" fmla="*/ 0 h 1176"/>
              <a:gd name="T4" fmla="*/ 0 w 704"/>
              <a:gd name="T5" fmla="*/ 89 h 1176"/>
              <a:gd name="T6" fmla="*/ 0 w 704"/>
              <a:gd name="T7" fmla="*/ 1087 h 1176"/>
              <a:gd name="T8" fmla="*/ 89 w 704"/>
              <a:gd name="T9" fmla="*/ 1176 h 1176"/>
              <a:gd name="T10" fmla="*/ 615 w 704"/>
              <a:gd name="T11" fmla="*/ 1176 h 1176"/>
              <a:gd name="T12" fmla="*/ 704 w 704"/>
              <a:gd name="T13" fmla="*/ 1087 h 1176"/>
              <a:gd name="T14" fmla="*/ 704 w 704"/>
              <a:gd name="T15" fmla="*/ 89 h 1176"/>
              <a:gd name="T16" fmla="*/ 615 w 704"/>
              <a:gd name="T17" fmla="*/ 0 h 1176"/>
              <a:gd name="T18" fmla="*/ 387 w 704"/>
              <a:gd name="T19" fmla="*/ 1084 h 1176"/>
              <a:gd name="T20" fmla="*/ 375 w 704"/>
              <a:gd name="T21" fmla="*/ 1097 h 1176"/>
              <a:gd name="T22" fmla="*/ 329 w 704"/>
              <a:gd name="T23" fmla="*/ 1097 h 1176"/>
              <a:gd name="T24" fmla="*/ 317 w 704"/>
              <a:gd name="T25" fmla="*/ 1084 h 1176"/>
              <a:gd name="T26" fmla="*/ 317 w 704"/>
              <a:gd name="T27" fmla="*/ 1044 h 1176"/>
              <a:gd name="T28" fmla="*/ 322 w 704"/>
              <a:gd name="T29" fmla="*/ 1033 h 1176"/>
              <a:gd name="T30" fmla="*/ 345 w 704"/>
              <a:gd name="T31" fmla="*/ 1017 h 1176"/>
              <a:gd name="T32" fmla="*/ 359 w 704"/>
              <a:gd name="T33" fmla="*/ 1017 h 1176"/>
              <a:gd name="T34" fmla="*/ 382 w 704"/>
              <a:gd name="T35" fmla="*/ 1033 h 1176"/>
              <a:gd name="T36" fmla="*/ 387 w 704"/>
              <a:gd name="T37" fmla="*/ 1044 h 1176"/>
              <a:gd name="T38" fmla="*/ 387 w 704"/>
              <a:gd name="T39" fmla="*/ 1084 h 1176"/>
              <a:gd name="T40" fmla="*/ 598 w 704"/>
              <a:gd name="T41" fmla="*/ 962 h 1176"/>
              <a:gd name="T42" fmla="*/ 106 w 704"/>
              <a:gd name="T43" fmla="*/ 962 h 1176"/>
              <a:gd name="T44" fmla="*/ 106 w 704"/>
              <a:gd name="T45" fmla="*/ 135 h 1176"/>
              <a:gd name="T46" fmla="*/ 598 w 704"/>
              <a:gd name="T47" fmla="*/ 135 h 1176"/>
              <a:gd name="T48" fmla="*/ 598 w 704"/>
              <a:gd name="T49" fmla="*/ 962 h 1176"/>
              <a:gd name="T50" fmla="*/ 598 w 704"/>
              <a:gd name="T51" fmla="*/ 962 h 1176"/>
              <a:gd name="T52" fmla="*/ 598 w 704"/>
              <a:gd name="T53" fmla="*/ 962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4" h="1176">
                <a:moveTo>
                  <a:pt x="615" y="0"/>
                </a:moveTo>
                <a:cubicBezTo>
                  <a:pt x="89" y="0"/>
                  <a:pt x="89" y="0"/>
                  <a:pt x="89" y="0"/>
                </a:cubicBezTo>
                <a:cubicBezTo>
                  <a:pt x="40" y="0"/>
                  <a:pt x="0" y="40"/>
                  <a:pt x="0" y="89"/>
                </a:cubicBezTo>
                <a:cubicBezTo>
                  <a:pt x="0" y="1087"/>
                  <a:pt x="0" y="1087"/>
                  <a:pt x="0" y="1087"/>
                </a:cubicBezTo>
                <a:cubicBezTo>
                  <a:pt x="0" y="1136"/>
                  <a:pt x="40" y="1176"/>
                  <a:pt x="89" y="1176"/>
                </a:cubicBezTo>
                <a:cubicBezTo>
                  <a:pt x="615" y="1176"/>
                  <a:pt x="615" y="1176"/>
                  <a:pt x="615" y="1176"/>
                </a:cubicBezTo>
                <a:cubicBezTo>
                  <a:pt x="664" y="1176"/>
                  <a:pt x="704" y="1136"/>
                  <a:pt x="704" y="1087"/>
                </a:cubicBezTo>
                <a:cubicBezTo>
                  <a:pt x="704" y="89"/>
                  <a:pt x="704" y="89"/>
                  <a:pt x="704" y="89"/>
                </a:cubicBezTo>
                <a:cubicBezTo>
                  <a:pt x="704" y="40"/>
                  <a:pt x="664" y="0"/>
                  <a:pt x="615" y="0"/>
                </a:cubicBezTo>
                <a:close/>
                <a:moveTo>
                  <a:pt x="387" y="1084"/>
                </a:moveTo>
                <a:cubicBezTo>
                  <a:pt x="387" y="1091"/>
                  <a:pt x="382" y="1097"/>
                  <a:pt x="375" y="1097"/>
                </a:cubicBezTo>
                <a:cubicBezTo>
                  <a:pt x="329" y="1097"/>
                  <a:pt x="329" y="1097"/>
                  <a:pt x="329" y="1097"/>
                </a:cubicBezTo>
                <a:cubicBezTo>
                  <a:pt x="322" y="1097"/>
                  <a:pt x="317" y="1091"/>
                  <a:pt x="317" y="1084"/>
                </a:cubicBezTo>
                <a:cubicBezTo>
                  <a:pt x="317" y="1044"/>
                  <a:pt x="317" y="1044"/>
                  <a:pt x="317" y="1044"/>
                </a:cubicBezTo>
                <a:cubicBezTo>
                  <a:pt x="317" y="1040"/>
                  <a:pt x="319" y="1036"/>
                  <a:pt x="322" y="1033"/>
                </a:cubicBezTo>
                <a:cubicBezTo>
                  <a:pt x="345" y="1017"/>
                  <a:pt x="345" y="1017"/>
                  <a:pt x="345" y="1017"/>
                </a:cubicBezTo>
                <a:cubicBezTo>
                  <a:pt x="349" y="1014"/>
                  <a:pt x="355" y="1014"/>
                  <a:pt x="359" y="1017"/>
                </a:cubicBezTo>
                <a:cubicBezTo>
                  <a:pt x="382" y="1033"/>
                  <a:pt x="382" y="1033"/>
                  <a:pt x="382" y="1033"/>
                </a:cubicBezTo>
                <a:cubicBezTo>
                  <a:pt x="385" y="1036"/>
                  <a:pt x="387" y="1040"/>
                  <a:pt x="387" y="1044"/>
                </a:cubicBezTo>
                <a:cubicBezTo>
                  <a:pt x="387" y="1084"/>
                  <a:pt x="387" y="1084"/>
                  <a:pt x="387" y="1084"/>
                </a:cubicBezTo>
                <a:close/>
                <a:moveTo>
                  <a:pt x="598" y="962"/>
                </a:moveTo>
                <a:cubicBezTo>
                  <a:pt x="106" y="962"/>
                  <a:pt x="106" y="962"/>
                  <a:pt x="106" y="962"/>
                </a:cubicBezTo>
                <a:cubicBezTo>
                  <a:pt x="106" y="135"/>
                  <a:pt x="106" y="135"/>
                  <a:pt x="106" y="135"/>
                </a:cubicBezTo>
                <a:cubicBezTo>
                  <a:pt x="598" y="135"/>
                  <a:pt x="598" y="135"/>
                  <a:pt x="598" y="135"/>
                </a:cubicBezTo>
                <a:lnTo>
                  <a:pt x="598" y="962"/>
                </a:lnTo>
                <a:close/>
                <a:moveTo>
                  <a:pt x="598" y="962"/>
                </a:moveTo>
                <a:cubicBezTo>
                  <a:pt x="598" y="962"/>
                  <a:pt x="598" y="962"/>
                  <a:pt x="598" y="962"/>
                </a:cubicBezTo>
              </a:path>
            </a:pathLst>
          </a:custGeom>
          <a:gradFill>
            <a:gsLst>
              <a:gs pos="14000">
                <a:srgbClr val="00B0F0"/>
              </a:gs>
              <a:gs pos="64000">
                <a:srgbClr val="0BB0AD"/>
              </a:gs>
              <a:gs pos="42000">
                <a:srgbClr val="13FFEC"/>
              </a:gs>
            </a:gsLst>
            <a:lin ang="5400000" scaled="0"/>
          </a:gradFill>
          <a:ln>
            <a:noFill/>
          </a:ln>
        </p:spPr>
        <p:txBody>
          <a:bodyPr vert="horz" wrap="square" lIns="91430" tIns="45716" rIns="91430" bIns="45716" numCol="1" anchor="t" anchorCtr="0" compatLnSpc="1"/>
          <a:lstStyle/>
          <a:p>
            <a:pPr algn="just" defTabSz="866775" fontAlgn="base">
              <a:lnSpc>
                <a:spcPct val="120000"/>
              </a:lnSpc>
              <a:spcBef>
                <a:spcPct val="0"/>
              </a:spcBef>
              <a:spcAft>
                <a:spcPct val="0"/>
              </a:spcAft>
            </a:pPr>
            <a:endParaRPr lang="en-GB" sz="900">
              <a:solidFill>
                <a:schemeClr val="bg1"/>
              </a:solidFill>
              <a:cs typeface="+mn-ea"/>
              <a:sym typeface="+mn-lt"/>
            </a:endParaRPr>
          </a:p>
        </p:txBody>
      </p:sp>
      <p:sp>
        <p:nvSpPr>
          <p:cNvPr id="106" name="TextBox 41"/>
          <p:cNvSpPr txBox="1"/>
          <p:nvPr/>
        </p:nvSpPr>
        <p:spPr>
          <a:xfrm>
            <a:off x="1360846" y="2341135"/>
            <a:ext cx="444032" cy="270459"/>
          </a:xfrm>
          <a:prstGeom prst="rect">
            <a:avLst/>
          </a:prstGeom>
          <a:noFill/>
        </p:spPr>
        <p:txBody>
          <a:bodyPr wrap="none" lIns="0" tIns="0" rIns="0" bIns="0" rtlCol="0">
            <a:spAutoFit/>
          </a:bodyPr>
          <a:lstStyle/>
          <a:p>
            <a:pPr defTabSz="866775" fontAlgn="base">
              <a:lnSpc>
                <a:spcPct val="120000"/>
              </a:lnSpc>
              <a:spcBef>
                <a:spcPct val="0"/>
              </a:spcBef>
              <a:spcAft>
                <a:spcPct val="0"/>
              </a:spcAft>
            </a:pPr>
            <a:r>
              <a:rPr lang="en-US" sz="1600" b="1" dirty="0">
                <a:solidFill>
                  <a:srgbClr val="84FFFF"/>
                </a:solidFill>
                <a:cs typeface="+mn-ea"/>
                <a:sym typeface="+mn-lt"/>
              </a:rPr>
              <a:t>58%</a:t>
            </a:r>
            <a:endParaRPr lang="en-GB" sz="1600" b="1" dirty="0">
              <a:solidFill>
                <a:srgbClr val="84FFFF"/>
              </a:solidFill>
              <a:cs typeface="+mn-ea"/>
              <a:sym typeface="+mn-lt"/>
            </a:endParaRPr>
          </a:p>
        </p:txBody>
      </p:sp>
      <p:sp>
        <p:nvSpPr>
          <p:cNvPr id="107" name="TextBox 44"/>
          <p:cNvSpPr txBox="1"/>
          <p:nvPr/>
        </p:nvSpPr>
        <p:spPr>
          <a:xfrm>
            <a:off x="886608" y="3072005"/>
            <a:ext cx="1256754" cy="236603"/>
          </a:xfrm>
          <a:prstGeom prst="rect">
            <a:avLst/>
          </a:prstGeom>
          <a:noFill/>
        </p:spPr>
        <p:txBody>
          <a:bodyPr wrap="none" lIns="0" tIns="0" rIns="0" bIns="0" rtlCol="0">
            <a:spAutoFit/>
          </a:bodyPr>
          <a:lstStyle/>
          <a:p>
            <a:pPr defTabSz="866775" fontAlgn="base">
              <a:lnSpc>
                <a:spcPct val="120000"/>
              </a:lnSpc>
              <a:spcBef>
                <a:spcPct val="0"/>
              </a:spcBef>
              <a:spcAft>
                <a:spcPct val="0"/>
              </a:spcAft>
            </a:pPr>
            <a:r>
              <a:rPr lang="zh-CN" altLang="en-US" sz="1400" b="1" dirty="0">
                <a:solidFill>
                  <a:srgbClr val="84FFFF"/>
                </a:solidFill>
                <a:cs typeface="+mn-ea"/>
                <a:sym typeface="+mn-lt"/>
              </a:rPr>
              <a:t>请替换文字内容</a:t>
            </a:r>
            <a:endParaRPr lang="en-GB" sz="1400" b="1" dirty="0">
              <a:solidFill>
                <a:srgbClr val="84FFFF"/>
              </a:solidFill>
              <a:cs typeface="+mn-ea"/>
              <a:sym typeface="+mn-lt"/>
            </a:endParaRPr>
          </a:p>
        </p:txBody>
      </p:sp>
      <p:sp>
        <p:nvSpPr>
          <p:cNvPr id="108" name="Rectangle 45"/>
          <p:cNvSpPr/>
          <p:nvPr/>
        </p:nvSpPr>
        <p:spPr>
          <a:xfrm>
            <a:off x="886607" y="3375935"/>
            <a:ext cx="1958757" cy="738664"/>
          </a:xfrm>
          <a:prstGeom prst="rect">
            <a:avLst/>
          </a:prstGeom>
        </p:spPr>
        <p:txBody>
          <a:bodyPr wrap="square" lIns="0" tIns="0" rIns="0" bIns="0">
            <a:spAutoFit/>
          </a:bodyPr>
          <a:lstStyle/>
          <a:p>
            <a:pPr defTabSz="866775" fontAlgn="base">
              <a:lnSpc>
                <a:spcPct val="120000"/>
              </a:lnSpc>
              <a:spcBef>
                <a:spcPct val="0"/>
              </a:spcBef>
              <a:spcAft>
                <a:spcPct val="0"/>
              </a:spcAft>
            </a:pPr>
            <a:r>
              <a:rPr lang="zh-CN" altLang="en-US" sz="1000" dirty="0">
                <a:solidFill>
                  <a:schemeClr val="bg1"/>
                </a:solidFill>
                <a:cs typeface="+mn-ea"/>
                <a:sym typeface="+mn-lt"/>
              </a:rPr>
              <a:t>单击添加详细文字说明，或复制文本黏贴自此右键只保留文字单击添加详细文字说明，或复制文本黏贴自此右键只保留文字</a:t>
            </a:r>
          </a:p>
        </p:txBody>
      </p:sp>
      <p:sp>
        <p:nvSpPr>
          <p:cNvPr id="109" name="Freeform 5"/>
          <p:cNvSpPr>
            <a:spLocks noEditPoints="1"/>
          </p:cNvSpPr>
          <p:nvPr/>
        </p:nvSpPr>
        <p:spPr bwMode="auto">
          <a:xfrm>
            <a:off x="3536761" y="2158952"/>
            <a:ext cx="601867" cy="574150"/>
          </a:xfrm>
          <a:custGeom>
            <a:avLst/>
            <a:gdLst>
              <a:gd name="T0" fmla="*/ 488 w 501"/>
              <a:gd name="T1" fmla="*/ 12 h 434"/>
              <a:gd name="T2" fmla="*/ 459 w 501"/>
              <a:gd name="T3" fmla="*/ 0 h 434"/>
              <a:gd name="T4" fmla="*/ 42 w 501"/>
              <a:gd name="T5" fmla="*/ 0 h 434"/>
              <a:gd name="T6" fmla="*/ 12 w 501"/>
              <a:gd name="T7" fmla="*/ 12 h 434"/>
              <a:gd name="T8" fmla="*/ 0 w 501"/>
              <a:gd name="T9" fmla="*/ 42 h 434"/>
              <a:gd name="T10" fmla="*/ 0 w 501"/>
              <a:gd name="T11" fmla="*/ 325 h 434"/>
              <a:gd name="T12" fmla="*/ 12 w 501"/>
              <a:gd name="T13" fmla="*/ 355 h 434"/>
              <a:gd name="T14" fmla="*/ 42 w 501"/>
              <a:gd name="T15" fmla="*/ 367 h 434"/>
              <a:gd name="T16" fmla="*/ 184 w 501"/>
              <a:gd name="T17" fmla="*/ 367 h 434"/>
              <a:gd name="T18" fmla="*/ 179 w 501"/>
              <a:gd name="T19" fmla="*/ 387 h 434"/>
              <a:gd name="T20" fmla="*/ 171 w 501"/>
              <a:gd name="T21" fmla="*/ 406 h 434"/>
              <a:gd name="T22" fmla="*/ 167 w 501"/>
              <a:gd name="T23" fmla="*/ 417 h 434"/>
              <a:gd name="T24" fmla="*/ 172 w 501"/>
              <a:gd name="T25" fmla="*/ 429 h 434"/>
              <a:gd name="T26" fmla="*/ 184 w 501"/>
              <a:gd name="T27" fmla="*/ 434 h 434"/>
              <a:gd name="T28" fmla="*/ 317 w 501"/>
              <a:gd name="T29" fmla="*/ 434 h 434"/>
              <a:gd name="T30" fmla="*/ 329 w 501"/>
              <a:gd name="T31" fmla="*/ 429 h 434"/>
              <a:gd name="T32" fmla="*/ 334 w 501"/>
              <a:gd name="T33" fmla="*/ 417 h 434"/>
              <a:gd name="T34" fmla="*/ 330 w 501"/>
              <a:gd name="T35" fmla="*/ 406 h 434"/>
              <a:gd name="T36" fmla="*/ 321 w 501"/>
              <a:gd name="T37" fmla="*/ 387 h 434"/>
              <a:gd name="T38" fmla="*/ 317 w 501"/>
              <a:gd name="T39" fmla="*/ 367 h 434"/>
              <a:gd name="T40" fmla="*/ 459 w 501"/>
              <a:gd name="T41" fmla="*/ 367 h 434"/>
              <a:gd name="T42" fmla="*/ 488 w 501"/>
              <a:gd name="T43" fmla="*/ 355 h 434"/>
              <a:gd name="T44" fmla="*/ 501 w 501"/>
              <a:gd name="T45" fmla="*/ 325 h 434"/>
              <a:gd name="T46" fmla="*/ 501 w 501"/>
              <a:gd name="T47" fmla="*/ 42 h 434"/>
              <a:gd name="T48" fmla="*/ 488 w 501"/>
              <a:gd name="T49" fmla="*/ 12 h 434"/>
              <a:gd name="T50" fmla="*/ 467 w 501"/>
              <a:gd name="T51" fmla="*/ 259 h 434"/>
              <a:gd name="T52" fmla="*/ 465 w 501"/>
              <a:gd name="T53" fmla="*/ 264 h 434"/>
              <a:gd name="T54" fmla="*/ 459 w 501"/>
              <a:gd name="T55" fmla="*/ 267 h 434"/>
              <a:gd name="T56" fmla="*/ 42 w 501"/>
              <a:gd name="T57" fmla="*/ 267 h 434"/>
              <a:gd name="T58" fmla="*/ 36 w 501"/>
              <a:gd name="T59" fmla="*/ 264 h 434"/>
              <a:gd name="T60" fmla="*/ 33 w 501"/>
              <a:gd name="T61" fmla="*/ 259 h 434"/>
              <a:gd name="T62" fmla="*/ 33 w 501"/>
              <a:gd name="T63" fmla="*/ 42 h 434"/>
              <a:gd name="T64" fmla="*/ 36 w 501"/>
              <a:gd name="T65" fmla="*/ 36 h 434"/>
              <a:gd name="T66" fmla="*/ 42 w 501"/>
              <a:gd name="T67" fmla="*/ 33 h 434"/>
              <a:gd name="T68" fmla="*/ 459 w 501"/>
              <a:gd name="T69" fmla="*/ 33 h 434"/>
              <a:gd name="T70" fmla="*/ 465 w 501"/>
              <a:gd name="T71" fmla="*/ 36 h 434"/>
              <a:gd name="T72" fmla="*/ 467 w 501"/>
              <a:gd name="T73" fmla="*/ 42 h 434"/>
              <a:gd name="T74" fmla="*/ 467 w 501"/>
              <a:gd name="T75" fmla="*/ 259 h 434"/>
              <a:gd name="T76" fmla="*/ 467 w 501"/>
              <a:gd name="T77" fmla="*/ 259 h 434"/>
              <a:gd name="T78" fmla="*/ 467 w 501"/>
              <a:gd name="T79" fmla="*/ 259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01" h="434">
                <a:moveTo>
                  <a:pt x="488" y="12"/>
                </a:moveTo>
                <a:cubicBezTo>
                  <a:pt x="480" y="4"/>
                  <a:pt x="470" y="0"/>
                  <a:pt x="459" y="0"/>
                </a:cubicBezTo>
                <a:cubicBezTo>
                  <a:pt x="42" y="0"/>
                  <a:pt x="42" y="0"/>
                  <a:pt x="42" y="0"/>
                </a:cubicBezTo>
                <a:cubicBezTo>
                  <a:pt x="30" y="0"/>
                  <a:pt x="20" y="4"/>
                  <a:pt x="12" y="12"/>
                </a:cubicBezTo>
                <a:cubicBezTo>
                  <a:pt x="4" y="20"/>
                  <a:pt x="0" y="30"/>
                  <a:pt x="0" y="42"/>
                </a:cubicBezTo>
                <a:cubicBezTo>
                  <a:pt x="0" y="325"/>
                  <a:pt x="0" y="325"/>
                  <a:pt x="0" y="325"/>
                </a:cubicBezTo>
                <a:cubicBezTo>
                  <a:pt x="0" y="337"/>
                  <a:pt x="4" y="347"/>
                  <a:pt x="12" y="355"/>
                </a:cubicBezTo>
                <a:cubicBezTo>
                  <a:pt x="20" y="363"/>
                  <a:pt x="30" y="367"/>
                  <a:pt x="42" y="367"/>
                </a:cubicBezTo>
                <a:cubicBezTo>
                  <a:pt x="184" y="367"/>
                  <a:pt x="184" y="367"/>
                  <a:pt x="184" y="367"/>
                </a:cubicBezTo>
                <a:cubicBezTo>
                  <a:pt x="184" y="374"/>
                  <a:pt x="182" y="380"/>
                  <a:pt x="179" y="387"/>
                </a:cubicBezTo>
                <a:cubicBezTo>
                  <a:pt x="177" y="394"/>
                  <a:pt x="174" y="400"/>
                  <a:pt x="171" y="406"/>
                </a:cubicBezTo>
                <a:cubicBezTo>
                  <a:pt x="168" y="411"/>
                  <a:pt x="167" y="415"/>
                  <a:pt x="167" y="417"/>
                </a:cubicBezTo>
                <a:cubicBezTo>
                  <a:pt x="167" y="422"/>
                  <a:pt x="169" y="426"/>
                  <a:pt x="172" y="429"/>
                </a:cubicBezTo>
                <a:cubicBezTo>
                  <a:pt x="175" y="432"/>
                  <a:pt x="179" y="434"/>
                  <a:pt x="184" y="434"/>
                </a:cubicBezTo>
                <a:cubicBezTo>
                  <a:pt x="317" y="434"/>
                  <a:pt x="317" y="434"/>
                  <a:pt x="317" y="434"/>
                </a:cubicBezTo>
                <a:cubicBezTo>
                  <a:pt x="322" y="434"/>
                  <a:pt x="325" y="432"/>
                  <a:pt x="329" y="429"/>
                </a:cubicBezTo>
                <a:cubicBezTo>
                  <a:pt x="332" y="426"/>
                  <a:pt x="334" y="422"/>
                  <a:pt x="334" y="417"/>
                </a:cubicBezTo>
                <a:cubicBezTo>
                  <a:pt x="334" y="415"/>
                  <a:pt x="332" y="411"/>
                  <a:pt x="330" y="406"/>
                </a:cubicBezTo>
                <a:cubicBezTo>
                  <a:pt x="327" y="400"/>
                  <a:pt x="324" y="394"/>
                  <a:pt x="321" y="387"/>
                </a:cubicBezTo>
                <a:cubicBezTo>
                  <a:pt x="318" y="380"/>
                  <a:pt x="317" y="374"/>
                  <a:pt x="317" y="367"/>
                </a:cubicBezTo>
                <a:cubicBezTo>
                  <a:pt x="459" y="367"/>
                  <a:pt x="459" y="367"/>
                  <a:pt x="459" y="367"/>
                </a:cubicBezTo>
                <a:cubicBezTo>
                  <a:pt x="470" y="367"/>
                  <a:pt x="480" y="363"/>
                  <a:pt x="488" y="355"/>
                </a:cubicBezTo>
                <a:cubicBezTo>
                  <a:pt x="496" y="347"/>
                  <a:pt x="501" y="337"/>
                  <a:pt x="501" y="325"/>
                </a:cubicBezTo>
                <a:cubicBezTo>
                  <a:pt x="501" y="42"/>
                  <a:pt x="501" y="42"/>
                  <a:pt x="501" y="42"/>
                </a:cubicBezTo>
                <a:cubicBezTo>
                  <a:pt x="501" y="30"/>
                  <a:pt x="496" y="20"/>
                  <a:pt x="488" y="12"/>
                </a:cubicBezTo>
                <a:close/>
                <a:moveTo>
                  <a:pt x="467" y="259"/>
                </a:moveTo>
                <a:cubicBezTo>
                  <a:pt x="467" y="261"/>
                  <a:pt x="466" y="263"/>
                  <a:pt x="465" y="264"/>
                </a:cubicBezTo>
                <a:cubicBezTo>
                  <a:pt x="463" y="266"/>
                  <a:pt x="461" y="267"/>
                  <a:pt x="459" y="267"/>
                </a:cubicBezTo>
                <a:cubicBezTo>
                  <a:pt x="42" y="267"/>
                  <a:pt x="42" y="267"/>
                  <a:pt x="42" y="267"/>
                </a:cubicBezTo>
                <a:cubicBezTo>
                  <a:pt x="39" y="267"/>
                  <a:pt x="38" y="266"/>
                  <a:pt x="36" y="264"/>
                </a:cubicBezTo>
                <a:cubicBezTo>
                  <a:pt x="34" y="263"/>
                  <a:pt x="33" y="261"/>
                  <a:pt x="33" y="259"/>
                </a:cubicBezTo>
                <a:cubicBezTo>
                  <a:pt x="33" y="42"/>
                  <a:pt x="33" y="42"/>
                  <a:pt x="33" y="42"/>
                </a:cubicBezTo>
                <a:cubicBezTo>
                  <a:pt x="33" y="39"/>
                  <a:pt x="34" y="37"/>
                  <a:pt x="36" y="36"/>
                </a:cubicBezTo>
                <a:cubicBezTo>
                  <a:pt x="38" y="34"/>
                  <a:pt x="39" y="33"/>
                  <a:pt x="42" y="33"/>
                </a:cubicBezTo>
                <a:cubicBezTo>
                  <a:pt x="459" y="33"/>
                  <a:pt x="459" y="33"/>
                  <a:pt x="459" y="33"/>
                </a:cubicBezTo>
                <a:cubicBezTo>
                  <a:pt x="461" y="33"/>
                  <a:pt x="463" y="34"/>
                  <a:pt x="465" y="36"/>
                </a:cubicBezTo>
                <a:cubicBezTo>
                  <a:pt x="466" y="37"/>
                  <a:pt x="467" y="39"/>
                  <a:pt x="467" y="42"/>
                </a:cubicBezTo>
                <a:lnTo>
                  <a:pt x="467" y="259"/>
                </a:lnTo>
                <a:close/>
                <a:moveTo>
                  <a:pt x="467" y="259"/>
                </a:moveTo>
                <a:cubicBezTo>
                  <a:pt x="467" y="259"/>
                  <a:pt x="467" y="259"/>
                  <a:pt x="467" y="259"/>
                </a:cubicBezTo>
              </a:path>
            </a:pathLst>
          </a:custGeom>
          <a:gradFill>
            <a:gsLst>
              <a:gs pos="14000">
                <a:srgbClr val="00B0F0"/>
              </a:gs>
              <a:gs pos="64000">
                <a:srgbClr val="0BB0AD"/>
              </a:gs>
              <a:gs pos="42000">
                <a:srgbClr val="13FFEC"/>
              </a:gs>
            </a:gsLst>
            <a:lin ang="5400000" scaled="0"/>
          </a:gradFill>
          <a:ln>
            <a:noFill/>
          </a:ln>
        </p:spPr>
        <p:txBody>
          <a:bodyPr vert="horz" wrap="square" lIns="91430" tIns="45716" rIns="91430" bIns="45716" numCol="1" anchor="t" anchorCtr="0" compatLnSpc="1"/>
          <a:lstStyle/>
          <a:p>
            <a:pPr algn="just" defTabSz="866775" fontAlgn="base">
              <a:lnSpc>
                <a:spcPct val="120000"/>
              </a:lnSpc>
              <a:spcBef>
                <a:spcPct val="0"/>
              </a:spcBef>
              <a:spcAft>
                <a:spcPct val="0"/>
              </a:spcAft>
            </a:pPr>
            <a:endParaRPr lang="en-GB" sz="900">
              <a:solidFill>
                <a:schemeClr val="bg1"/>
              </a:solidFill>
              <a:cs typeface="+mn-ea"/>
              <a:sym typeface="+mn-lt"/>
            </a:endParaRPr>
          </a:p>
        </p:txBody>
      </p:sp>
      <p:sp>
        <p:nvSpPr>
          <p:cNvPr id="110" name="TextBox 40"/>
          <p:cNvSpPr txBox="1"/>
          <p:nvPr/>
        </p:nvSpPr>
        <p:spPr>
          <a:xfrm>
            <a:off x="4267242" y="2312017"/>
            <a:ext cx="444032" cy="270459"/>
          </a:xfrm>
          <a:prstGeom prst="rect">
            <a:avLst/>
          </a:prstGeom>
          <a:noFill/>
        </p:spPr>
        <p:txBody>
          <a:bodyPr wrap="none" lIns="0" tIns="0" rIns="0" bIns="0" rtlCol="0">
            <a:spAutoFit/>
          </a:bodyPr>
          <a:lstStyle/>
          <a:p>
            <a:pPr defTabSz="866775" fontAlgn="base">
              <a:lnSpc>
                <a:spcPct val="120000"/>
              </a:lnSpc>
              <a:spcBef>
                <a:spcPct val="0"/>
              </a:spcBef>
              <a:spcAft>
                <a:spcPct val="0"/>
              </a:spcAft>
            </a:pPr>
            <a:r>
              <a:rPr lang="en-US" sz="1600" b="1" dirty="0">
                <a:solidFill>
                  <a:srgbClr val="84FFFF"/>
                </a:solidFill>
                <a:cs typeface="+mn-ea"/>
                <a:sym typeface="+mn-lt"/>
              </a:rPr>
              <a:t>42%</a:t>
            </a:r>
            <a:endParaRPr lang="en-GB" sz="1600" b="1" dirty="0">
              <a:solidFill>
                <a:srgbClr val="84FFFF"/>
              </a:solidFill>
              <a:cs typeface="+mn-ea"/>
              <a:sym typeface="+mn-lt"/>
            </a:endParaRPr>
          </a:p>
        </p:txBody>
      </p:sp>
      <p:sp>
        <p:nvSpPr>
          <p:cNvPr id="111" name="Rectangle 42"/>
          <p:cNvSpPr/>
          <p:nvPr/>
        </p:nvSpPr>
        <p:spPr>
          <a:xfrm>
            <a:off x="3536761" y="3346817"/>
            <a:ext cx="1921637" cy="738664"/>
          </a:xfrm>
          <a:prstGeom prst="rect">
            <a:avLst/>
          </a:prstGeom>
        </p:spPr>
        <p:txBody>
          <a:bodyPr wrap="square" lIns="0" tIns="0" rIns="0" bIns="0">
            <a:spAutoFit/>
          </a:bodyPr>
          <a:lstStyle/>
          <a:p>
            <a:pPr defTabSz="866775" fontAlgn="base">
              <a:lnSpc>
                <a:spcPct val="120000"/>
              </a:lnSpc>
              <a:spcBef>
                <a:spcPct val="0"/>
              </a:spcBef>
              <a:spcAft>
                <a:spcPct val="0"/>
              </a:spcAft>
            </a:pPr>
            <a:r>
              <a:rPr lang="zh-CN" altLang="en-US" sz="1000" dirty="0">
                <a:solidFill>
                  <a:schemeClr val="bg1"/>
                </a:solidFill>
                <a:cs typeface="+mn-ea"/>
                <a:sym typeface="+mn-lt"/>
              </a:rPr>
              <a:t>单击添加详细文字说明，或复制文本黏贴自此右键只保留文字单击添加详细文字说明，或复制文本黏贴自此右键只保留文字</a:t>
            </a:r>
          </a:p>
        </p:txBody>
      </p:sp>
      <p:sp>
        <p:nvSpPr>
          <p:cNvPr id="112" name="TextBox 43"/>
          <p:cNvSpPr txBox="1"/>
          <p:nvPr/>
        </p:nvSpPr>
        <p:spPr>
          <a:xfrm>
            <a:off x="3536761" y="3042887"/>
            <a:ext cx="1436291" cy="236603"/>
          </a:xfrm>
          <a:prstGeom prst="rect">
            <a:avLst/>
          </a:prstGeom>
          <a:noFill/>
        </p:spPr>
        <p:txBody>
          <a:bodyPr wrap="square" lIns="0" tIns="0" rIns="0" bIns="0" rtlCol="0">
            <a:spAutoFit/>
          </a:bodyPr>
          <a:lstStyle/>
          <a:p>
            <a:pPr defTabSz="866775" fontAlgn="base">
              <a:lnSpc>
                <a:spcPct val="120000"/>
              </a:lnSpc>
              <a:spcBef>
                <a:spcPct val="0"/>
              </a:spcBef>
              <a:spcAft>
                <a:spcPct val="0"/>
              </a:spcAft>
            </a:pPr>
            <a:r>
              <a:rPr lang="zh-CN" altLang="en-US" sz="1400" b="1" dirty="0">
                <a:solidFill>
                  <a:srgbClr val="84FFFF"/>
                </a:solidFill>
                <a:cs typeface="+mn-ea"/>
                <a:sym typeface="+mn-lt"/>
              </a:rPr>
              <a:t>请替换文字内容</a:t>
            </a:r>
            <a:endParaRPr lang="en-GB" sz="1400" b="1" dirty="0">
              <a:solidFill>
                <a:srgbClr val="84FFFF"/>
              </a:solidFill>
              <a:cs typeface="+mn-ea"/>
              <a:sym typeface="+mn-lt"/>
            </a:endParaRPr>
          </a:p>
        </p:txBody>
      </p:sp>
      <p:sp>
        <p:nvSpPr>
          <p:cNvPr id="113" name="Rectangle 12"/>
          <p:cNvSpPr/>
          <p:nvPr/>
        </p:nvSpPr>
        <p:spPr>
          <a:xfrm>
            <a:off x="661645" y="5442386"/>
            <a:ext cx="1205924" cy="307777"/>
          </a:xfrm>
          <a:prstGeom prst="rect">
            <a:avLst/>
          </a:prstGeom>
        </p:spPr>
        <p:txBody>
          <a:bodyPr wrap="square">
            <a:spAutoFit/>
          </a:bodyPr>
          <a:lstStyle/>
          <a:p>
            <a:pPr algn="ctr"/>
            <a:r>
              <a:rPr lang="en-US" sz="1400" dirty="0">
                <a:solidFill>
                  <a:schemeClr val="bg1"/>
                </a:solidFill>
                <a:cs typeface="+mn-ea"/>
                <a:sym typeface="+mn-lt"/>
              </a:rPr>
              <a:t>part 01</a:t>
            </a:r>
            <a:endParaRPr lang="bg-BG" sz="3600" dirty="0">
              <a:solidFill>
                <a:schemeClr val="bg1"/>
              </a:solidFill>
              <a:cs typeface="+mn-ea"/>
              <a:sym typeface="+mn-lt"/>
            </a:endParaRPr>
          </a:p>
        </p:txBody>
      </p:sp>
      <p:sp>
        <p:nvSpPr>
          <p:cNvPr id="114" name="Rectangle 13"/>
          <p:cNvSpPr/>
          <p:nvPr/>
        </p:nvSpPr>
        <p:spPr>
          <a:xfrm>
            <a:off x="1799316" y="5439427"/>
            <a:ext cx="1205924" cy="307777"/>
          </a:xfrm>
          <a:prstGeom prst="rect">
            <a:avLst/>
          </a:prstGeom>
        </p:spPr>
        <p:txBody>
          <a:bodyPr wrap="square">
            <a:spAutoFit/>
          </a:bodyPr>
          <a:lstStyle/>
          <a:p>
            <a:pPr algn="ctr"/>
            <a:r>
              <a:rPr lang="en-US" sz="1400" dirty="0">
                <a:solidFill>
                  <a:schemeClr val="bg1"/>
                </a:solidFill>
                <a:cs typeface="+mn-ea"/>
                <a:sym typeface="+mn-lt"/>
              </a:rPr>
              <a:t>part 02</a:t>
            </a:r>
            <a:endParaRPr lang="bg-BG" sz="3600" dirty="0">
              <a:solidFill>
                <a:schemeClr val="bg1"/>
              </a:solidFill>
              <a:cs typeface="+mn-ea"/>
              <a:sym typeface="+mn-lt"/>
            </a:endParaRPr>
          </a:p>
        </p:txBody>
      </p:sp>
      <p:sp>
        <p:nvSpPr>
          <p:cNvPr id="115" name="Rectangle 14"/>
          <p:cNvSpPr/>
          <p:nvPr/>
        </p:nvSpPr>
        <p:spPr>
          <a:xfrm>
            <a:off x="2932704" y="5439427"/>
            <a:ext cx="1205924" cy="307777"/>
          </a:xfrm>
          <a:prstGeom prst="rect">
            <a:avLst/>
          </a:prstGeom>
        </p:spPr>
        <p:txBody>
          <a:bodyPr wrap="square">
            <a:spAutoFit/>
          </a:bodyPr>
          <a:lstStyle/>
          <a:p>
            <a:pPr algn="ctr"/>
            <a:r>
              <a:rPr lang="en-US" sz="1400" dirty="0">
                <a:solidFill>
                  <a:schemeClr val="bg1"/>
                </a:solidFill>
                <a:cs typeface="+mn-ea"/>
                <a:sym typeface="+mn-lt"/>
              </a:rPr>
              <a:t>part 03</a:t>
            </a:r>
            <a:endParaRPr lang="bg-BG" sz="3600" dirty="0">
              <a:solidFill>
                <a:schemeClr val="bg1"/>
              </a:solidFill>
              <a:cs typeface="+mn-ea"/>
              <a:sym typeface="+mn-lt"/>
            </a:endParaRPr>
          </a:p>
        </p:txBody>
      </p:sp>
      <p:sp>
        <p:nvSpPr>
          <p:cNvPr id="116" name="Rectangle 15"/>
          <p:cNvSpPr/>
          <p:nvPr/>
        </p:nvSpPr>
        <p:spPr>
          <a:xfrm>
            <a:off x="4070375" y="5446002"/>
            <a:ext cx="1205924" cy="307777"/>
          </a:xfrm>
          <a:prstGeom prst="rect">
            <a:avLst/>
          </a:prstGeom>
        </p:spPr>
        <p:txBody>
          <a:bodyPr wrap="square">
            <a:spAutoFit/>
          </a:bodyPr>
          <a:lstStyle/>
          <a:p>
            <a:pPr algn="ctr"/>
            <a:r>
              <a:rPr lang="en-US" sz="1400" dirty="0">
                <a:solidFill>
                  <a:schemeClr val="bg1"/>
                </a:solidFill>
                <a:cs typeface="+mn-ea"/>
                <a:sym typeface="+mn-lt"/>
              </a:rPr>
              <a:t>part 04</a:t>
            </a:r>
            <a:endParaRPr lang="bg-BG" sz="3600" dirty="0">
              <a:solidFill>
                <a:schemeClr val="bg1"/>
              </a:solidFill>
              <a:cs typeface="+mn-ea"/>
              <a:sym typeface="+mn-lt"/>
            </a:endParaRPr>
          </a:p>
        </p:txBody>
      </p:sp>
      <p:grpSp>
        <p:nvGrpSpPr>
          <p:cNvPr id="117" name="组合 116"/>
          <p:cNvGrpSpPr/>
          <p:nvPr/>
        </p:nvGrpSpPr>
        <p:grpSpPr>
          <a:xfrm>
            <a:off x="4289844" y="4570475"/>
            <a:ext cx="756000" cy="756000"/>
            <a:chOff x="4728966" y="4272088"/>
            <a:chExt cx="756000" cy="756000"/>
          </a:xfrm>
        </p:grpSpPr>
        <p:sp>
          <p:nvSpPr>
            <p:cNvPr id="118" name="Oval 25"/>
            <p:cNvSpPr>
              <a:spLocks noChangeAspect="1"/>
            </p:cNvSpPr>
            <p:nvPr/>
          </p:nvSpPr>
          <p:spPr>
            <a:xfrm flipH="1">
              <a:off x="4728966" y="4272088"/>
              <a:ext cx="756000" cy="756000"/>
            </a:xfrm>
            <a:prstGeom prst="ellipse">
              <a:avLst/>
            </a:prstGeom>
            <a:no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grpSp>
          <p:nvGrpSpPr>
            <p:cNvPr id="119" name="Group 37"/>
            <p:cNvGrpSpPr>
              <a:grpSpLocks noChangeAspect="1"/>
            </p:cNvGrpSpPr>
            <p:nvPr/>
          </p:nvGrpSpPr>
          <p:grpSpPr>
            <a:xfrm>
              <a:off x="4985400" y="4534602"/>
              <a:ext cx="252114" cy="252000"/>
              <a:chOff x="4949888" y="2073218"/>
              <a:chExt cx="3471863" cy="3470275"/>
            </a:xfrm>
            <a:solidFill>
              <a:srgbClr val="595F6F"/>
            </a:solidFill>
          </p:grpSpPr>
          <p:sp>
            <p:nvSpPr>
              <p:cNvPr id="120" name="Freeform 6"/>
              <p:cNvSpPr>
                <a:spLocks noEditPoints="1"/>
              </p:cNvSpPr>
              <p:nvPr/>
            </p:nvSpPr>
            <p:spPr bwMode="auto">
              <a:xfrm>
                <a:off x="4949888" y="2073218"/>
                <a:ext cx="3471863" cy="3470275"/>
              </a:xfrm>
              <a:custGeom>
                <a:avLst/>
                <a:gdLst>
                  <a:gd name="T0" fmla="*/ 991 w 4374"/>
                  <a:gd name="T1" fmla="*/ 393 h 4372"/>
                  <a:gd name="T2" fmla="*/ 912 w 4374"/>
                  <a:gd name="T3" fmla="*/ 1198 h 4372"/>
                  <a:gd name="T4" fmla="*/ 315 w 4374"/>
                  <a:gd name="T5" fmla="*/ 1286 h 4372"/>
                  <a:gd name="T6" fmla="*/ 285 w 4374"/>
                  <a:gd name="T7" fmla="*/ 1593 h 4372"/>
                  <a:gd name="T8" fmla="*/ 884 w 4374"/>
                  <a:gd name="T9" fmla="*/ 1705 h 4372"/>
                  <a:gd name="T10" fmla="*/ 967 w 4374"/>
                  <a:gd name="T11" fmla="*/ 2582 h 4372"/>
                  <a:gd name="T12" fmla="*/ 437 w 4374"/>
                  <a:gd name="T13" fmla="*/ 2677 h 4372"/>
                  <a:gd name="T14" fmla="*/ 243 w 4374"/>
                  <a:gd name="T15" fmla="*/ 2915 h 4372"/>
                  <a:gd name="T16" fmla="*/ 437 w 4374"/>
                  <a:gd name="T17" fmla="*/ 3152 h 4372"/>
                  <a:gd name="T18" fmla="*/ 967 w 4374"/>
                  <a:gd name="T19" fmla="*/ 3247 h 4372"/>
                  <a:gd name="T20" fmla="*/ 1079 w 4374"/>
                  <a:gd name="T21" fmla="*/ 4087 h 4372"/>
                  <a:gd name="T22" fmla="*/ 1386 w 4374"/>
                  <a:gd name="T23" fmla="*/ 4057 h 4372"/>
                  <a:gd name="T24" fmla="*/ 1474 w 4374"/>
                  <a:gd name="T25" fmla="*/ 3218 h 4372"/>
                  <a:gd name="T26" fmla="*/ 2856 w 4374"/>
                  <a:gd name="T27" fmla="*/ 3174 h 4372"/>
                  <a:gd name="T28" fmla="*/ 2934 w 4374"/>
                  <a:gd name="T29" fmla="*/ 3981 h 4372"/>
                  <a:gd name="T30" fmla="*/ 3207 w 4374"/>
                  <a:gd name="T31" fmla="*/ 4125 h 4372"/>
                  <a:gd name="T32" fmla="*/ 3401 w 4374"/>
                  <a:gd name="T33" fmla="*/ 3885 h 4372"/>
                  <a:gd name="T34" fmla="*/ 3522 w 4374"/>
                  <a:gd name="T35" fmla="*/ 3158 h 4372"/>
                  <a:gd name="T36" fmla="*/ 4111 w 4374"/>
                  <a:gd name="T37" fmla="*/ 3008 h 4372"/>
                  <a:gd name="T38" fmla="*/ 4023 w 4374"/>
                  <a:gd name="T39" fmla="*/ 2713 h 4372"/>
                  <a:gd name="T40" fmla="*/ 3437 w 4374"/>
                  <a:gd name="T41" fmla="*/ 2636 h 4372"/>
                  <a:gd name="T42" fmla="*/ 3437 w 4374"/>
                  <a:gd name="T43" fmla="*/ 1737 h 4372"/>
                  <a:gd name="T44" fmla="*/ 4023 w 4374"/>
                  <a:gd name="T45" fmla="*/ 1659 h 4372"/>
                  <a:gd name="T46" fmla="*/ 4111 w 4374"/>
                  <a:gd name="T47" fmla="*/ 1364 h 4372"/>
                  <a:gd name="T48" fmla="*/ 3522 w 4374"/>
                  <a:gd name="T49" fmla="*/ 1214 h 4372"/>
                  <a:gd name="T50" fmla="*/ 3401 w 4374"/>
                  <a:gd name="T51" fmla="*/ 487 h 4372"/>
                  <a:gd name="T52" fmla="*/ 3207 w 4374"/>
                  <a:gd name="T53" fmla="*/ 249 h 4372"/>
                  <a:gd name="T54" fmla="*/ 2934 w 4374"/>
                  <a:gd name="T55" fmla="*/ 393 h 4372"/>
                  <a:gd name="T56" fmla="*/ 2856 w 4374"/>
                  <a:gd name="T57" fmla="*/ 1198 h 4372"/>
                  <a:gd name="T58" fmla="*/ 1474 w 4374"/>
                  <a:gd name="T59" fmla="*/ 1154 h 4372"/>
                  <a:gd name="T60" fmla="*/ 1386 w 4374"/>
                  <a:gd name="T61" fmla="*/ 315 h 4372"/>
                  <a:gd name="T62" fmla="*/ 1354 w 4374"/>
                  <a:gd name="T63" fmla="*/ 22 h 4372"/>
                  <a:gd name="T64" fmla="*/ 1679 w 4374"/>
                  <a:gd name="T65" fmla="*/ 347 h 4372"/>
                  <a:gd name="T66" fmla="*/ 2693 w 4374"/>
                  <a:gd name="T67" fmla="*/ 347 h 4372"/>
                  <a:gd name="T68" fmla="*/ 3018 w 4374"/>
                  <a:gd name="T69" fmla="*/ 22 h 4372"/>
                  <a:gd name="T70" fmla="*/ 3476 w 4374"/>
                  <a:gd name="T71" fmla="*/ 120 h 4372"/>
                  <a:gd name="T72" fmla="*/ 3644 w 4374"/>
                  <a:gd name="T73" fmla="*/ 973 h 4372"/>
                  <a:gd name="T74" fmla="*/ 4254 w 4374"/>
                  <a:gd name="T75" fmla="*/ 1139 h 4372"/>
                  <a:gd name="T76" fmla="*/ 4352 w 4374"/>
                  <a:gd name="T77" fmla="*/ 1597 h 4372"/>
                  <a:gd name="T78" fmla="*/ 4027 w 4374"/>
                  <a:gd name="T79" fmla="*/ 1922 h 4372"/>
                  <a:gd name="T80" fmla="*/ 4027 w 4374"/>
                  <a:gd name="T81" fmla="*/ 2450 h 4372"/>
                  <a:gd name="T82" fmla="*/ 4352 w 4374"/>
                  <a:gd name="T83" fmla="*/ 2775 h 4372"/>
                  <a:gd name="T84" fmla="*/ 4254 w 4374"/>
                  <a:gd name="T85" fmla="*/ 3234 h 4372"/>
                  <a:gd name="T86" fmla="*/ 3644 w 4374"/>
                  <a:gd name="T87" fmla="*/ 3401 h 4372"/>
                  <a:gd name="T88" fmla="*/ 3476 w 4374"/>
                  <a:gd name="T89" fmla="*/ 4252 h 4372"/>
                  <a:gd name="T90" fmla="*/ 3018 w 4374"/>
                  <a:gd name="T91" fmla="*/ 4350 h 4372"/>
                  <a:gd name="T92" fmla="*/ 2693 w 4374"/>
                  <a:gd name="T93" fmla="*/ 4025 h 4372"/>
                  <a:gd name="T94" fmla="*/ 1679 w 4374"/>
                  <a:gd name="T95" fmla="*/ 4025 h 4372"/>
                  <a:gd name="T96" fmla="*/ 1354 w 4374"/>
                  <a:gd name="T97" fmla="*/ 4350 h 4372"/>
                  <a:gd name="T98" fmla="*/ 896 w 4374"/>
                  <a:gd name="T99" fmla="*/ 4252 h 4372"/>
                  <a:gd name="T100" fmla="*/ 730 w 4374"/>
                  <a:gd name="T101" fmla="*/ 3401 h 4372"/>
                  <a:gd name="T102" fmla="*/ 120 w 4374"/>
                  <a:gd name="T103" fmla="*/ 3234 h 4372"/>
                  <a:gd name="T104" fmla="*/ 20 w 4374"/>
                  <a:gd name="T105" fmla="*/ 2775 h 4372"/>
                  <a:gd name="T106" fmla="*/ 347 w 4374"/>
                  <a:gd name="T107" fmla="*/ 2450 h 4372"/>
                  <a:gd name="T108" fmla="*/ 347 w 4374"/>
                  <a:gd name="T109" fmla="*/ 1922 h 4372"/>
                  <a:gd name="T110" fmla="*/ 20 w 4374"/>
                  <a:gd name="T111" fmla="*/ 1597 h 4372"/>
                  <a:gd name="T112" fmla="*/ 120 w 4374"/>
                  <a:gd name="T113" fmla="*/ 1139 h 4372"/>
                  <a:gd name="T114" fmla="*/ 730 w 4374"/>
                  <a:gd name="T115" fmla="*/ 973 h 4372"/>
                  <a:gd name="T116" fmla="*/ 896 w 4374"/>
                  <a:gd name="T117" fmla="*/ 120 h 4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374" h="4372">
                    <a:moveTo>
                      <a:pt x="1215" y="244"/>
                    </a:moveTo>
                    <a:lnTo>
                      <a:pt x="1167" y="249"/>
                    </a:lnTo>
                    <a:lnTo>
                      <a:pt x="1121" y="263"/>
                    </a:lnTo>
                    <a:lnTo>
                      <a:pt x="1079" y="285"/>
                    </a:lnTo>
                    <a:lnTo>
                      <a:pt x="1043" y="315"/>
                    </a:lnTo>
                    <a:lnTo>
                      <a:pt x="1013" y="351"/>
                    </a:lnTo>
                    <a:lnTo>
                      <a:pt x="991" y="393"/>
                    </a:lnTo>
                    <a:lnTo>
                      <a:pt x="977" y="439"/>
                    </a:lnTo>
                    <a:lnTo>
                      <a:pt x="971" y="487"/>
                    </a:lnTo>
                    <a:lnTo>
                      <a:pt x="971" y="1093"/>
                    </a:lnTo>
                    <a:lnTo>
                      <a:pt x="967" y="1127"/>
                    </a:lnTo>
                    <a:lnTo>
                      <a:pt x="955" y="1154"/>
                    </a:lnTo>
                    <a:lnTo>
                      <a:pt x="937" y="1180"/>
                    </a:lnTo>
                    <a:lnTo>
                      <a:pt x="912" y="1198"/>
                    </a:lnTo>
                    <a:lnTo>
                      <a:pt x="884" y="1210"/>
                    </a:lnTo>
                    <a:lnTo>
                      <a:pt x="850" y="1214"/>
                    </a:lnTo>
                    <a:lnTo>
                      <a:pt x="487" y="1214"/>
                    </a:lnTo>
                    <a:lnTo>
                      <a:pt x="437" y="1220"/>
                    </a:lnTo>
                    <a:lnTo>
                      <a:pt x="391" y="1234"/>
                    </a:lnTo>
                    <a:lnTo>
                      <a:pt x="351" y="1256"/>
                    </a:lnTo>
                    <a:lnTo>
                      <a:pt x="315" y="1286"/>
                    </a:lnTo>
                    <a:lnTo>
                      <a:pt x="285" y="1322"/>
                    </a:lnTo>
                    <a:lnTo>
                      <a:pt x="263" y="1364"/>
                    </a:lnTo>
                    <a:lnTo>
                      <a:pt x="247" y="1410"/>
                    </a:lnTo>
                    <a:lnTo>
                      <a:pt x="243" y="1457"/>
                    </a:lnTo>
                    <a:lnTo>
                      <a:pt x="247" y="1507"/>
                    </a:lnTo>
                    <a:lnTo>
                      <a:pt x="263" y="1553"/>
                    </a:lnTo>
                    <a:lnTo>
                      <a:pt x="285" y="1593"/>
                    </a:lnTo>
                    <a:lnTo>
                      <a:pt x="315" y="1629"/>
                    </a:lnTo>
                    <a:lnTo>
                      <a:pt x="351" y="1659"/>
                    </a:lnTo>
                    <a:lnTo>
                      <a:pt x="391" y="1681"/>
                    </a:lnTo>
                    <a:lnTo>
                      <a:pt x="437" y="1697"/>
                    </a:lnTo>
                    <a:lnTo>
                      <a:pt x="487" y="1701"/>
                    </a:lnTo>
                    <a:lnTo>
                      <a:pt x="850" y="1701"/>
                    </a:lnTo>
                    <a:lnTo>
                      <a:pt x="884" y="1705"/>
                    </a:lnTo>
                    <a:lnTo>
                      <a:pt x="912" y="1717"/>
                    </a:lnTo>
                    <a:lnTo>
                      <a:pt x="937" y="1737"/>
                    </a:lnTo>
                    <a:lnTo>
                      <a:pt x="955" y="1760"/>
                    </a:lnTo>
                    <a:lnTo>
                      <a:pt x="967" y="1790"/>
                    </a:lnTo>
                    <a:lnTo>
                      <a:pt x="971" y="1822"/>
                    </a:lnTo>
                    <a:lnTo>
                      <a:pt x="971" y="2550"/>
                    </a:lnTo>
                    <a:lnTo>
                      <a:pt x="967" y="2582"/>
                    </a:lnTo>
                    <a:lnTo>
                      <a:pt x="955" y="2612"/>
                    </a:lnTo>
                    <a:lnTo>
                      <a:pt x="937" y="2636"/>
                    </a:lnTo>
                    <a:lnTo>
                      <a:pt x="912" y="2655"/>
                    </a:lnTo>
                    <a:lnTo>
                      <a:pt x="884" y="2667"/>
                    </a:lnTo>
                    <a:lnTo>
                      <a:pt x="850" y="2671"/>
                    </a:lnTo>
                    <a:lnTo>
                      <a:pt x="487" y="2671"/>
                    </a:lnTo>
                    <a:lnTo>
                      <a:pt x="437" y="2677"/>
                    </a:lnTo>
                    <a:lnTo>
                      <a:pt x="391" y="2691"/>
                    </a:lnTo>
                    <a:lnTo>
                      <a:pt x="351" y="2713"/>
                    </a:lnTo>
                    <a:lnTo>
                      <a:pt x="315" y="2743"/>
                    </a:lnTo>
                    <a:lnTo>
                      <a:pt x="285" y="2779"/>
                    </a:lnTo>
                    <a:lnTo>
                      <a:pt x="263" y="2821"/>
                    </a:lnTo>
                    <a:lnTo>
                      <a:pt x="247" y="2867"/>
                    </a:lnTo>
                    <a:lnTo>
                      <a:pt x="243" y="2915"/>
                    </a:lnTo>
                    <a:lnTo>
                      <a:pt x="247" y="2964"/>
                    </a:lnTo>
                    <a:lnTo>
                      <a:pt x="263" y="3008"/>
                    </a:lnTo>
                    <a:lnTo>
                      <a:pt x="285" y="3050"/>
                    </a:lnTo>
                    <a:lnTo>
                      <a:pt x="315" y="3086"/>
                    </a:lnTo>
                    <a:lnTo>
                      <a:pt x="351" y="3116"/>
                    </a:lnTo>
                    <a:lnTo>
                      <a:pt x="391" y="3138"/>
                    </a:lnTo>
                    <a:lnTo>
                      <a:pt x="437" y="3152"/>
                    </a:lnTo>
                    <a:lnTo>
                      <a:pt x="487" y="3158"/>
                    </a:lnTo>
                    <a:lnTo>
                      <a:pt x="850" y="3158"/>
                    </a:lnTo>
                    <a:lnTo>
                      <a:pt x="884" y="3162"/>
                    </a:lnTo>
                    <a:lnTo>
                      <a:pt x="912" y="3174"/>
                    </a:lnTo>
                    <a:lnTo>
                      <a:pt x="937" y="3194"/>
                    </a:lnTo>
                    <a:lnTo>
                      <a:pt x="955" y="3218"/>
                    </a:lnTo>
                    <a:lnTo>
                      <a:pt x="967" y="3247"/>
                    </a:lnTo>
                    <a:lnTo>
                      <a:pt x="971" y="3279"/>
                    </a:lnTo>
                    <a:lnTo>
                      <a:pt x="971" y="3885"/>
                    </a:lnTo>
                    <a:lnTo>
                      <a:pt x="977" y="3935"/>
                    </a:lnTo>
                    <a:lnTo>
                      <a:pt x="991" y="3981"/>
                    </a:lnTo>
                    <a:lnTo>
                      <a:pt x="1013" y="4021"/>
                    </a:lnTo>
                    <a:lnTo>
                      <a:pt x="1043" y="4057"/>
                    </a:lnTo>
                    <a:lnTo>
                      <a:pt x="1079" y="4087"/>
                    </a:lnTo>
                    <a:lnTo>
                      <a:pt x="1121" y="4109"/>
                    </a:lnTo>
                    <a:lnTo>
                      <a:pt x="1167" y="4125"/>
                    </a:lnTo>
                    <a:lnTo>
                      <a:pt x="1215" y="4129"/>
                    </a:lnTo>
                    <a:lnTo>
                      <a:pt x="1265" y="4125"/>
                    </a:lnTo>
                    <a:lnTo>
                      <a:pt x="1310" y="4109"/>
                    </a:lnTo>
                    <a:lnTo>
                      <a:pt x="1350" y="4087"/>
                    </a:lnTo>
                    <a:lnTo>
                      <a:pt x="1386" y="4057"/>
                    </a:lnTo>
                    <a:lnTo>
                      <a:pt x="1416" y="4021"/>
                    </a:lnTo>
                    <a:lnTo>
                      <a:pt x="1438" y="3981"/>
                    </a:lnTo>
                    <a:lnTo>
                      <a:pt x="1452" y="3935"/>
                    </a:lnTo>
                    <a:lnTo>
                      <a:pt x="1458" y="3885"/>
                    </a:lnTo>
                    <a:lnTo>
                      <a:pt x="1458" y="3279"/>
                    </a:lnTo>
                    <a:lnTo>
                      <a:pt x="1462" y="3247"/>
                    </a:lnTo>
                    <a:lnTo>
                      <a:pt x="1474" y="3218"/>
                    </a:lnTo>
                    <a:lnTo>
                      <a:pt x="1494" y="3194"/>
                    </a:lnTo>
                    <a:lnTo>
                      <a:pt x="1518" y="3174"/>
                    </a:lnTo>
                    <a:lnTo>
                      <a:pt x="1548" y="3162"/>
                    </a:lnTo>
                    <a:lnTo>
                      <a:pt x="1580" y="3158"/>
                    </a:lnTo>
                    <a:lnTo>
                      <a:pt x="2794" y="3158"/>
                    </a:lnTo>
                    <a:lnTo>
                      <a:pt x="2826" y="3162"/>
                    </a:lnTo>
                    <a:lnTo>
                      <a:pt x="2856" y="3174"/>
                    </a:lnTo>
                    <a:lnTo>
                      <a:pt x="2880" y="3194"/>
                    </a:lnTo>
                    <a:lnTo>
                      <a:pt x="2898" y="3218"/>
                    </a:lnTo>
                    <a:lnTo>
                      <a:pt x="2912" y="3247"/>
                    </a:lnTo>
                    <a:lnTo>
                      <a:pt x="2916" y="3279"/>
                    </a:lnTo>
                    <a:lnTo>
                      <a:pt x="2916" y="3885"/>
                    </a:lnTo>
                    <a:lnTo>
                      <a:pt x="2920" y="3935"/>
                    </a:lnTo>
                    <a:lnTo>
                      <a:pt x="2934" y="3981"/>
                    </a:lnTo>
                    <a:lnTo>
                      <a:pt x="2958" y="4021"/>
                    </a:lnTo>
                    <a:lnTo>
                      <a:pt x="2988" y="4057"/>
                    </a:lnTo>
                    <a:lnTo>
                      <a:pt x="3024" y="4087"/>
                    </a:lnTo>
                    <a:lnTo>
                      <a:pt x="3064" y="4109"/>
                    </a:lnTo>
                    <a:lnTo>
                      <a:pt x="3109" y="4125"/>
                    </a:lnTo>
                    <a:lnTo>
                      <a:pt x="3159" y="4129"/>
                    </a:lnTo>
                    <a:lnTo>
                      <a:pt x="3207" y="4125"/>
                    </a:lnTo>
                    <a:lnTo>
                      <a:pt x="3253" y="4109"/>
                    </a:lnTo>
                    <a:lnTo>
                      <a:pt x="3295" y="4087"/>
                    </a:lnTo>
                    <a:lnTo>
                      <a:pt x="3331" y="4057"/>
                    </a:lnTo>
                    <a:lnTo>
                      <a:pt x="3361" y="4021"/>
                    </a:lnTo>
                    <a:lnTo>
                      <a:pt x="3383" y="3981"/>
                    </a:lnTo>
                    <a:lnTo>
                      <a:pt x="3397" y="3935"/>
                    </a:lnTo>
                    <a:lnTo>
                      <a:pt x="3401" y="3885"/>
                    </a:lnTo>
                    <a:lnTo>
                      <a:pt x="3401" y="3279"/>
                    </a:lnTo>
                    <a:lnTo>
                      <a:pt x="3407" y="3247"/>
                    </a:lnTo>
                    <a:lnTo>
                      <a:pt x="3419" y="3218"/>
                    </a:lnTo>
                    <a:lnTo>
                      <a:pt x="3437" y="3194"/>
                    </a:lnTo>
                    <a:lnTo>
                      <a:pt x="3463" y="3174"/>
                    </a:lnTo>
                    <a:lnTo>
                      <a:pt x="3490" y="3162"/>
                    </a:lnTo>
                    <a:lnTo>
                      <a:pt x="3522" y="3158"/>
                    </a:lnTo>
                    <a:lnTo>
                      <a:pt x="3887" y="3158"/>
                    </a:lnTo>
                    <a:lnTo>
                      <a:pt x="3935" y="3152"/>
                    </a:lnTo>
                    <a:lnTo>
                      <a:pt x="3981" y="3138"/>
                    </a:lnTo>
                    <a:lnTo>
                      <a:pt x="4023" y="3116"/>
                    </a:lnTo>
                    <a:lnTo>
                      <a:pt x="4059" y="3086"/>
                    </a:lnTo>
                    <a:lnTo>
                      <a:pt x="4089" y="3050"/>
                    </a:lnTo>
                    <a:lnTo>
                      <a:pt x="4111" y="3008"/>
                    </a:lnTo>
                    <a:lnTo>
                      <a:pt x="4125" y="2964"/>
                    </a:lnTo>
                    <a:lnTo>
                      <a:pt x="4131" y="2915"/>
                    </a:lnTo>
                    <a:lnTo>
                      <a:pt x="4125" y="2867"/>
                    </a:lnTo>
                    <a:lnTo>
                      <a:pt x="4111" y="2821"/>
                    </a:lnTo>
                    <a:lnTo>
                      <a:pt x="4089" y="2779"/>
                    </a:lnTo>
                    <a:lnTo>
                      <a:pt x="4059" y="2743"/>
                    </a:lnTo>
                    <a:lnTo>
                      <a:pt x="4023" y="2713"/>
                    </a:lnTo>
                    <a:lnTo>
                      <a:pt x="3981" y="2691"/>
                    </a:lnTo>
                    <a:lnTo>
                      <a:pt x="3935" y="2677"/>
                    </a:lnTo>
                    <a:lnTo>
                      <a:pt x="3887" y="2671"/>
                    </a:lnTo>
                    <a:lnTo>
                      <a:pt x="3522" y="2671"/>
                    </a:lnTo>
                    <a:lnTo>
                      <a:pt x="3490" y="2667"/>
                    </a:lnTo>
                    <a:lnTo>
                      <a:pt x="3463" y="2655"/>
                    </a:lnTo>
                    <a:lnTo>
                      <a:pt x="3437" y="2636"/>
                    </a:lnTo>
                    <a:lnTo>
                      <a:pt x="3419" y="2612"/>
                    </a:lnTo>
                    <a:lnTo>
                      <a:pt x="3407" y="2584"/>
                    </a:lnTo>
                    <a:lnTo>
                      <a:pt x="3401" y="2550"/>
                    </a:lnTo>
                    <a:lnTo>
                      <a:pt x="3401" y="1822"/>
                    </a:lnTo>
                    <a:lnTo>
                      <a:pt x="3407" y="1790"/>
                    </a:lnTo>
                    <a:lnTo>
                      <a:pt x="3419" y="1760"/>
                    </a:lnTo>
                    <a:lnTo>
                      <a:pt x="3437" y="1737"/>
                    </a:lnTo>
                    <a:lnTo>
                      <a:pt x="3463" y="1717"/>
                    </a:lnTo>
                    <a:lnTo>
                      <a:pt x="3490" y="1705"/>
                    </a:lnTo>
                    <a:lnTo>
                      <a:pt x="3522" y="1701"/>
                    </a:lnTo>
                    <a:lnTo>
                      <a:pt x="3887" y="1701"/>
                    </a:lnTo>
                    <a:lnTo>
                      <a:pt x="3935" y="1697"/>
                    </a:lnTo>
                    <a:lnTo>
                      <a:pt x="3981" y="1681"/>
                    </a:lnTo>
                    <a:lnTo>
                      <a:pt x="4023" y="1659"/>
                    </a:lnTo>
                    <a:lnTo>
                      <a:pt x="4059" y="1629"/>
                    </a:lnTo>
                    <a:lnTo>
                      <a:pt x="4089" y="1593"/>
                    </a:lnTo>
                    <a:lnTo>
                      <a:pt x="4111" y="1553"/>
                    </a:lnTo>
                    <a:lnTo>
                      <a:pt x="4125" y="1507"/>
                    </a:lnTo>
                    <a:lnTo>
                      <a:pt x="4131" y="1457"/>
                    </a:lnTo>
                    <a:lnTo>
                      <a:pt x="4125" y="1410"/>
                    </a:lnTo>
                    <a:lnTo>
                      <a:pt x="4111" y="1364"/>
                    </a:lnTo>
                    <a:lnTo>
                      <a:pt x="4089" y="1322"/>
                    </a:lnTo>
                    <a:lnTo>
                      <a:pt x="4059" y="1286"/>
                    </a:lnTo>
                    <a:lnTo>
                      <a:pt x="4023" y="1256"/>
                    </a:lnTo>
                    <a:lnTo>
                      <a:pt x="3981" y="1234"/>
                    </a:lnTo>
                    <a:lnTo>
                      <a:pt x="3935" y="1220"/>
                    </a:lnTo>
                    <a:lnTo>
                      <a:pt x="3887" y="1214"/>
                    </a:lnTo>
                    <a:lnTo>
                      <a:pt x="3522" y="1214"/>
                    </a:lnTo>
                    <a:lnTo>
                      <a:pt x="3490" y="1210"/>
                    </a:lnTo>
                    <a:lnTo>
                      <a:pt x="3463" y="1198"/>
                    </a:lnTo>
                    <a:lnTo>
                      <a:pt x="3437" y="1180"/>
                    </a:lnTo>
                    <a:lnTo>
                      <a:pt x="3419" y="1154"/>
                    </a:lnTo>
                    <a:lnTo>
                      <a:pt x="3407" y="1127"/>
                    </a:lnTo>
                    <a:lnTo>
                      <a:pt x="3401" y="1093"/>
                    </a:lnTo>
                    <a:lnTo>
                      <a:pt x="3401" y="487"/>
                    </a:lnTo>
                    <a:lnTo>
                      <a:pt x="3397" y="439"/>
                    </a:lnTo>
                    <a:lnTo>
                      <a:pt x="3383" y="393"/>
                    </a:lnTo>
                    <a:lnTo>
                      <a:pt x="3361" y="351"/>
                    </a:lnTo>
                    <a:lnTo>
                      <a:pt x="3331" y="315"/>
                    </a:lnTo>
                    <a:lnTo>
                      <a:pt x="3295" y="285"/>
                    </a:lnTo>
                    <a:lnTo>
                      <a:pt x="3253" y="263"/>
                    </a:lnTo>
                    <a:lnTo>
                      <a:pt x="3207" y="249"/>
                    </a:lnTo>
                    <a:lnTo>
                      <a:pt x="3159" y="244"/>
                    </a:lnTo>
                    <a:lnTo>
                      <a:pt x="3109" y="249"/>
                    </a:lnTo>
                    <a:lnTo>
                      <a:pt x="3064" y="263"/>
                    </a:lnTo>
                    <a:lnTo>
                      <a:pt x="3024" y="285"/>
                    </a:lnTo>
                    <a:lnTo>
                      <a:pt x="2988" y="315"/>
                    </a:lnTo>
                    <a:lnTo>
                      <a:pt x="2958" y="351"/>
                    </a:lnTo>
                    <a:lnTo>
                      <a:pt x="2934" y="393"/>
                    </a:lnTo>
                    <a:lnTo>
                      <a:pt x="2920" y="439"/>
                    </a:lnTo>
                    <a:lnTo>
                      <a:pt x="2916" y="487"/>
                    </a:lnTo>
                    <a:lnTo>
                      <a:pt x="2916" y="1093"/>
                    </a:lnTo>
                    <a:lnTo>
                      <a:pt x="2912" y="1127"/>
                    </a:lnTo>
                    <a:lnTo>
                      <a:pt x="2898" y="1154"/>
                    </a:lnTo>
                    <a:lnTo>
                      <a:pt x="2880" y="1180"/>
                    </a:lnTo>
                    <a:lnTo>
                      <a:pt x="2856" y="1198"/>
                    </a:lnTo>
                    <a:lnTo>
                      <a:pt x="2826" y="1210"/>
                    </a:lnTo>
                    <a:lnTo>
                      <a:pt x="2794" y="1214"/>
                    </a:lnTo>
                    <a:lnTo>
                      <a:pt x="1580" y="1214"/>
                    </a:lnTo>
                    <a:lnTo>
                      <a:pt x="1548" y="1210"/>
                    </a:lnTo>
                    <a:lnTo>
                      <a:pt x="1518" y="1198"/>
                    </a:lnTo>
                    <a:lnTo>
                      <a:pt x="1494" y="1180"/>
                    </a:lnTo>
                    <a:lnTo>
                      <a:pt x="1474" y="1154"/>
                    </a:lnTo>
                    <a:lnTo>
                      <a:pt x="1462" y="1127"/>
                    </a:lnTo>
                    <a:lnTo>
                      <a:pt x="1458" y="1093"/>
                    </a:lnTo>
                    <a:lnTo>
                      <a:pt x="1458" y="487"/>
                    </a:lnTo>
                    <a:lnTo>
                      <a:pt x="1452" y="439"/>
                    </a:lnTo>
                    <a:lnTo>
                      <a:pt x="1438" y="393"/>
                    </a:lnTo>
                    <a:lnTo>
                      <a:pt x="1416" y="351"/>
                    </a:lnTo>
                    <a:lnTo>
                      <a:pt x="1386" y="315"/>
                    </a:lnTo>
                    <a:lnTo>
                      <a:pt x="1350" y="285"/>
                    </a:lnTo>
                    <a:lnTo>
                      <a:pt x="1310" y="263"/>
                    </a:lnTo>
                    <a:lnTo>
                      <a:pt x="1265" y="249"/>
                    </a:lnTo>
                    <a:lnTo>
                      <a:pt x="1215" y="244"/>
                    </a:lnTo>
                    <a:close/>
                    <a:moveTo>
                      <a:pt x="1215" y="0"/>
                    </a:moveTo>
                    <a:lnTo>
                      <a:pt x="1286" y="6"/>
                    </a:lnTo>
                    <a:lnTo>
                      <a:pt x="1354" y="22"/>
                    </a:lnTo>
                    <a:lnTo>
                      <a:pt x="1420" y="46"/>
                    </a:lnTo>
                    <a:lnTo>
                      <a:pt x="1480" y="80"/>
                    </a:lnTo>
                    <a:lnTo>
                      <a:pt x="1534" y="120"/>
                    </a:lnTo>
                    <a:lnTo>
                      <a:pt x="1582" y="168"/>
                    </a:lnTo>
                    <a:lnTo>
                      <a:pt x="1622" y="222"/>
                    </a:lnTo>
                    <a:lnTo>
                      <a:pt x="1655" y="281"/>
                    </a:lnTo>
                    <a:lnTo>
                      <a:pt x="1679" y="347"/>
                    </a:lnTo>
                    <a:lnTo>
                      <a:pt x="1695" y="415"/>
                    </a:lnTo>
                    <a:lnTo>
                      <a:pt x="1701" y="487"/>
                    </a:lnTo>
                    <a:lnTo>
                      <a:pt x="1701" y="973"/>
                    </a:lnTo>
                    <a:lnTo>
                      <a:pt x="2673" y="973"/>
                    </a:lnTo>
                    <a:lnTo>
                      <a:pt x="2673" y="487"/>
                    </a:lnTo>
                    <a:lnTo>
                      <a:pt x="2679" y="415"/>
                    </a:lnTo>
                    <a:lnTo>
                      <a:pt x="2693" y="347"/>
                    </a:lnTo>
                    <a:lnTo>
                      <a:pt x="2719" y="281"/>
                    </a:lnTo>
                    <a:lnTo>
                      <a:pt x="2750" y="222"/>
                    </a:lnTo>
                    <a:lnTo>
                      <a:pt x="2792" y="168"/>
                    </a:lnTo>
                    <a:lnTo>
                      <a:pt x="2840" y="120"/>
                    </a:lnTo>
                    <a:lnTo>
                      <a:pt x="2894" y="80"/>
                    </a:lnTo>
                    <a:lnTo>
                      <a:pt x="2954" y="46"/>
                    </a:lnTo>
                    <a:lnTo>
                      <a:pt x="3018" y="22"/>
                    </a:lnTo>
                    <a:lnTo>
                      <a:pt x="3088" y="6"/>
                    </a:lnTo>
                    <a:lnTo>
                      <a:pt x="3159" y="0"/>
                    </a:lnTo>
                    <a:lnTo>
                      <a:pt x="3231" y="6"/>
                    </a:lnTo>
                    <a:lnTo>
                      <a:pt x="3299" y="22"/>
                    </a:lnTo>
                    <a:lnTo>
                      <a:pt x="3363" y="46"/>
                    </a:lnTo>
                    <a:lnTo>
                      <a:pt x="3423" y="80"/>
                    </a:lnTo>
                    <a:lnTo>
                      <a:pt x="3476" y="120"/>
                    </a:lnTo>
                    <a:lnTo>
                      <a:pt x="3524" y="168"/>
                    </a:lnTo>
                    <a:lnTo>
                      <a:pt x="3566" y="222"/>
                    </a:lnTo>
                    <a:lnTo>
                      <a:pt x="3600" y="281"/>
                    </a:lnTo>
                    <a:lnTo>
                      <a:pt x="3624" y="347"/>
                    </a:lnTo>
                    <a:lnTo>
                      <a:pt x="3640" y="415"/>
                    </a:lnTo>
                    <a:lnTo>
                      <a:pt x="3644" y="487"/>
                    </a:lnTo>
                    <a:lnTo>
                      <a:pt x="3644" y="973"/>
                    </a:lnTo>
                    <a:lnTo>
                      <a:pt x="3887" y="973"/>
                    </a:lnTo>
                    <a:lnTo>
                      <a:pt x="3959" y="977"/>
                    </a:lnTo>
                    <a:lnTo>
                      <a:pt x="4027" y="993"/>
                    </a:lnTo>
                    <a:lnTo>
                      <a:pt x="4093" y="1017"/>
                    </a:lnTo>
                    <a:lnTo>
                      <a:pt x="4153" y="1051"/>
                    </a:lnTo>
                    <a:lnTo>
                      <a:pt x="4206" y="1091"/>
                    </a:lnTo>
                    <a:lnTo>
                      <a:pt x="4254" y="1139"/>
                    </a:lnTo>
                    <a:lnTo>
                      <a:pt x="4294" y="1194"/>
                    </a:lnTo>
                    <a:lnTo>
                      <a:pt x="4328" y="1254"/>
                    </a:lnTo>
                    <a:lnTo>
                      <a:pt x="4352" y="1318"/>
                    </a:lnTo>
                    <a:lnTo>
                      <a:pt x="4368" y="1386"/>
                    </a:lnTo>
                    <a:lnTo>
                      <a:pt x="4374" y="1457"/>
                    </a:lnTo>
                    <a:lnTo>
                      <a:pt x="4368" y="1529"/>
                    </a:lnTo>
                    <a:lnTo>
                      <a:pt x="4352" y="1597"/>
                    </a:lnTo>
                    <a:lnTo>
                      <a:pt x="4328" y="1663"/>
                    </a:lnTo>
                    <a:lnTo>
                      <a:pt x="4294" y="1723"/>
                    </a:lnTo>
                    <a:lnTo>
                      <a:pt x="4254" y="1776"/>
                    </a:lnTo>
                    <a:lnTo>
                      <a:pt x="4206" y="1824"/>
                    </a:lnTo>
                    <a:lnTo>
                      <a:pt x="4153" y="1864"/>
                    </a:lnTo>
                    <a:lnTo>
                      <a:pt x="4093" y="1898"/>
                    </a:lnTo>
                    <a:lnTo>
                      <a:pt x="4027" y="1922"/>
                    </a:lnTo>
                    <a:lnTo>
                      <a:pt x="3959" y="1938"/>
                    </a:lnTo>
                    <a:lnTo>
                      <a:pt x="3887" y="1944"/>
                    </a:lnTo>
                    <a:lnTo>
                      <a:pt x="3644" y="1944"/>
                    </a:lnTo>
                    <a:lnTo>
                      <a:pt x="3644" y="2428"/>
                    </a:lnTo>
                    <a:lnTo>
                      <a:pt x="3887" y="2428"/>
                    </a:lnTo>
                    <a:lnTo>
                      <a:pt x="3959" y="2434"/>
                    </a:lnTo>
                    <a:lnTo>
                      <a:pt x="4027" y="2450"/>
                    </a:lnTo>
                    <a:lnTo>
                      <a:pt x="4093" y="2474"/>
                    </a:lnTo>
                    <a:lnTo>
                      <a:pt x="4153" y="2508"/>
                    </a:lnTo>
                    <a:lnTo>
                      <a:pt x="4206" y="2548"/>
                    </a:lnTo>
                    <a:lnTo>
                      <a:pt x="4254" y="2596"/>
                    </a:lnTo>
                    <a:lnTo>
                      <a:pt x="4294" y="2649"/>
                    </a:lnTo>
                    <a:lnTo>
                      <a:pt x="4328" y="2709"/>
                    </a:lnTo>
                    <a:lnTo>
                      <a:pt x="4352" y="2775"/>
                    </a:lnTo>
                    <a:lnTo>
                      <a:pt x="4368" y="2843"/>
                    </a:lnTo>
                    <a:lnTo>
                      <a:pt x="4374" y="2915"/>
                    </a:lnTo>
                    <a:lnTo>
                      <a:pt x="4368" y="2986"/>
                    </a:lnTo>
                    <a:lnTo>
                      <a:pt x="4352" y="3054"/>
                    </a:lnTo>
                    <a:lnTo>
                      <a:pt x="4328" y="3120"/>
                    </a:lnTo>
                    <a:lnTo>
                      <a:pt x="4294" y="3180"/>
                    </a:lnTo>
                    <a:lnTo>
                      <a:pt x="4254" y="3234"/>
                    </a:lnTo>
                    <a:lnTo>
                      <a:pt x="4206" y="3281"/>
                    </a:lnTo>
                    <a:lnTo>
                      <a:pt x="4153" y="3321"/>
                    </a:lnTo>
                    <a:lnTo>
                      <a:pt x="4093" y="3355"/>
                    </a:lnTo>
                    <a:lnTo>
                      <a:pt x="4027" y="3379"/>
                    </a:lnTo>
                    <a:lnTo>
                      <a:pt x="3959" y="3395"/>
                    </a:lnTo>
                    <a:lnTo>
                      <a:pt x="3887" y="3401"/>
                    </a:lnTo>
                    <a:lnTo>
                      <a:pt x="3644" y="3401"/>
                    </a:lnTo>
                    <a:lnTo>
                      <a:pt x="3644" y="3885"/>
                    </a:lnTo>
                    <a:lnTo>
                      <a:pt x="3640" y="3957"/>
                    </a:lnTo>
                    <a:lnTo>
                      <a:pt x="3624" y="4025"/>
                    </a:lnTo>
                    <a:lnTo>
                      <a:pt x="3600" y="4091"/>
                    </a:lnTo>
                    <a:lnTo>
                      <a:pt x="3566" y="4150"/>
                    </a:lnTo>
                    <a:lnTo>
                      <a:pt x="3524" y="4204"/>
                    </a:lnTo>
                    <a:lnTo>
                      <a:pt x="3476" y="4252"/>
                    </a:lnTo>
                    <a:lnTo>
                      <a:pt x="3423" y="4294"/>
                    </a:lnTo>
                    <a:lnTo>
                      <a:pt x="3363" y="4326"/>
                    </a:lnTo>
                    <a:lnTo>
                      <a:pt x="3299" y="4350"/>
                    </a:lnTo>
                    <a:lnTo>
                      <a:pt x="3231" y="4366"/>
                    </a:lnTo>
                    <a:lnTo>
                      <a:pt x="3159" y="4372"/>
                    </a:lnTo>
                    <a:lnTo>
                      <a:pt x="3088" y="4366"/>
                    </a:lnTo>
                    <a:lnTo>
                      <a:pt x="3018" y="4350"/>
                    </a:lnTo>
                    <a:lnTo>
                      <a:pt x="2954" y="4326"/>
                    </a:lnTo>
                    <a:lnTo>
                      <a:pt x="2894" y="4294"/>
                    </a:lnTo>
                    <a:lnTo>
                      <a:pt x="2840" y="4252"/>
                    </a:lnTo>
                    <a:lnTo>
                      <a:pt x="2792" y="4204"/>
                    </a:lnTo>
                    <a:lnTo>
                      <a:pt x="2750" y="4150"/>
                    </a:lnTo>
                    <a:lnTo>
                      <a:pt x="2719" y="4091"/>
                    </a:lnTo>
                    <a:lnTo>
                      <a:pt x="2693" y="4025"/>
                    </a:lnTo>
                    <a:lnTo>
                      <a:pt x="2679" y="3957"/>
                    </a:lnTo>
                    <a:lnTo>
                      <a:pt x="2673" y="3885"/>
                    </a:lnTo>
                    <a:lnTo>
                      <a:pt x="2673" y="3401"/>
                    </a:lnTo>
                    <a:lnTo>
                      <a:pt x="1701" y="3401"/>
                    </a:lnTo>
                    <a:lnTo>
                      <a:pt x="1701" y="3885"/>
                    </a:lnTo>
                    <a:lnTo>
                      <a:pt x="1695" y="3957"/>
                    </a:lnTo>
                    <a:lnTo>
                      <a:pt x="1679" y="4025"/>
                    </a:lnTo>
                    <a:lnTo>
                      <a:pt x="1655" y="4091"/>
                    </a:lnTo>
                    <a:lnTo>
                      <a:pt x="1622" y="4150"/>
                    </a:lnTo>
                    <a:lnTo>
                      <a:pt x="1582" y="4204"/>
                    </a:lnTo>
                    <a:lnTo>
                      <a:pt x="1534" y="4252"/>
                    </a:lnTo>
                    <a:lnTo>
                      <a:pt x="1480" y="4294"/>
                    </a:lnTo>
                    <a:lnTo>
                      <a:pt x="1420" y="4326"/>
                    </a:lnTo>
                    <a:lnTo>
                      <a:pt x="1354" y="4350"/>
                    </a:lnTo>
                    <a:lnTo>
                      <a:pt x="1286" y="4366"/>
                    </a:lnTo>
                    <a:lnTo>
                      <a:pt x="1215" y="4372"/>
                    </a:lnTo>
                    <a:lnTo>
                      <a:pt x="1143" y="4366"/>
                    </a:lnTo>
                    <a:lnTo>
                      <a:pt x="1075" y="4350"/>
                    </a:lnTo>
                    <a:lnTo>
                      <a:pt x="1011" y="4326"/>
                    </a:lnTo>
                    <a:lnTo>
                      <a:pt x="951" y="4294"/>
                    </a:lnTo>
                    <a:lnTo>
                      <a:pt x="896" y="4252"/>
                    </a:lnTo>
                    <a:lnTo>
                      <a:pt x="848" y="4204"/>
                    </a:lnTo>
                    <a:lnTo>
                      <a:pt x="808" y="4150"/>
                    </a:lnTo>
                    <a:lnTo>
                      <a:pt x="774" y="4091"/>
                    </a:lnTo>
                    <a:lnTo>
                      <a:pt x="750" y="4025"/>
                    </a:lnTo>
                    <a:lnTo>
                      <a:pt x="734" y="3957"/>
                    </a:lnTo>
                    <a:lnTo>
                      <a:pt x="730" y="3885"/>
                    </a:lnTo>
                    <a:lnTo>
                      <a:pt x="730" y="3401"/>
                    </a:lnTo>
                    <a:lnTo>
                      <a:pt x="487" y="3401"/>
                    </a:lnTo>
                    <a:lnTo>
                      <a:pt x="415" y="3395"/>
                    </a:lnTo>
                    <a:lnTo>
                      <a:pt x="347" y="3379"/>
                    </a:lnTo>
                    <a:lnTo>
                      <a:pt x="281" y="3355"/>
                    </a:lnTo>
                    <a:lnTo>
                      <a:pt x="221" y="3321"/>
                    </a:lnTo>
                    <a:lnTo>
                      <a:pt x="168" y="3281"/>
                    </a:lnTo>
                    <a:lnTo>
                      <a:pt x="120" y="3234"/>
                    </a:lnTo>
                    <a:lnTo>
                      <a:pt x="78" y="3180"/>
                    </a:lnTo>
                    <a:lnTo>
                      <a:pt x="46" y="3120"/>
                    </a:lnTo>
                    <a:lnTo>
                      <a:pt x="20" y="3054"/>
                    </a:lnTo>
                    <a:lnTo>
                      <a:pt x="6" y="2986"/>
                    </a:lnTo>
                    <a:lnTo>
                      <a:pt x="0" y="2915"/>
                    </a:lnTo>
                    <a:lnTo>
                      <a:pt x="6" y="2843"/>
                    </a:lnTo>
                    <a:lnTo>
                      <a:pt x="20" y="2775"/>
                    </a:lnTo>
                    <a:lnTo>
                      <a:pt x="46" y="2709"/>
                    </a:lnTo>
                    <a:lnTo>
                      <a:pt x="78" y="2649"/>
                    </a:lnTo>
                    <a:lnTo>
                      <a:pt x="120" y="2596"/>
                    </a:lnTo>
                    <a:lnTo>
                      <a:pt x="168" y="2548"/>
                    </a:lnTo>
                    <a:lnTo>
                      <a:pt x="221" y="2508"/>
                    </a:lnTo>
                    <a:lnTo>
                      <a:pt x="281" y="2474"/>
                    </a:lnTo>
                    <a:lnTo>
                      <a:pt x="347" y="2450"/>
                    </a:lnTo>
                    <a:lnTo>
                      <a:pt x="415" y="2434"/>
                    </a:lnTo>
                    <a:lnTo>
                      <a:pt x="487" y="2428"/>
                    </a:lnTo>
                    <a:lnTo>
                      <a:pt x="730" y="2428"/>
                    </a:lnTo>
                    <a:lnTo>
                      <a:pt x="730" y="1944"/>
                    </a:lnTo>
                    <a:lnTo>
                      <a:pt x="487" y="1944"/>
                    </a:lnTo>
                    <a:lnTo>
                      <a:pt x="415" y="1938"/>
                    </a:lnTo>
                    <a:lnTo>
                      <a:pt x="347" y="1922"/>
                    </a:lnTo>
                    <a:lnTo>
                      <a:pt x="281" y="1898"/>
                    </a:lnTo>
                    <a:lnTo>
                      <a:pt x="221" y="1864"/>
                    </a:lnTo>
                    <a:lnTo>
                      <a:pt x="168" y="1824"/>
                    </a:lnTo>
                    <a:lnTo>
                      <a:pt x="120" y="1776"/>
                    </a:lnTo>
                    <a:lnTo>
                      <a:pt x="78" y="1723"/>
                    </a:lnTo>
                    <a:lnTo>
                      <a:pt x="46" y="1663"/>
                    </a:lnTo>
                    <a:lnTo>
                      <a:pt x="20" y="1597"/>
                    </a:lnTo>
                    <a:lnTo>
                      <a:pt x="6" y="1529"/>
                    </a:lnTo>
                    <a:lnTo>
                      <a:pt x="0" y="1457"/>
                    </a:lnTo>
                    <a:lnTo>
                      <a:pt x="6" y="1386"/>
                    </a:lnTo>
                    <a:lnTo>
                      <a:pt x="20" y="1318"/>
                    </a:lnTo>
                    <a:lnTo>
                      <a:pt x="46" y="1254"/>
                    </a:lnTo>
                    <a:lnTo>
                      <a:pt x="78" y="1194"/>
                    </a:lnTo>
                    <a:lnTo>
                      <a:pt x="120" y="1139"/>
                    </a:lnTo>
                    <a:lnTo>
                      <a:pt x="168" y="1091"/>
                    </a:lnTo>
                    <a:lnTo>
                      <a:pt x="221" y="1051"/>
                    </a:lnTo>
                    <a:lnTo>
                      <a:pt x="281" y="1017"/>
                    </a:lnTo>
                    <a:lnTo>
                      <a:pt x="347" y="993"/>
                    </a:lnTo>
                    <a:lnTo>
                      <a:pt x="415" y="977"/>
                    </a:lnTo>
                    <a:lnTo>
                      <a:pt x="487" y="973"/>
                    </a:lnTo>
                    <a:lnTo>
                      <a:pt x="730" y="973"/>
                    </a:lnTo>
                    <a:lnTo>
                      <a:pt x="730" y="487"/>
                    </a:lnTo>
                    <a:lnTo>
                      <a:pt x="734" y="415"/>
                    </a:lnTo>
                    <a:lnTo>
                      <a:pt x="750" y="347"/>
                    </a:lnTo>
                    <a:lnTo>
                      <a:pt x="774" y="281"/>
                    </a:lnTo>
                    <a:lnTo>
                      <a:pt x="808" y="222"/>
                    </a:lnTo>
                    <a:lnTo>
                      <a:pt x="848" y="168"/>
                    </a:lnTo>
                    <a:lnTo>
                      <a:pt x="896" y="120"/>
                    </a:lnTo>
                    <a:lnTo>
                      <a:pt x="951" y="80"/>
                    </a:lnTo>
                    <a:lnTo>
                      <a:pt x="1011" y="46"/>
                    </a:lnTo>
                    <a:lnTo>
                      <a:pt x="1075" y="22"/>
                    </a:lnTo>
                    <a:lnTo>
                      <a:pt x="1143" y="6"/>
                    </a:lnTo>
                    <a:lnTo>
                      <a:pt x="1215" y="0"/>
                    </a:lnTo>
                    <a:close/>
                  </a:path>
                </a:pathLst>
              </a:custGeom>
              <a:grp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21" name="Freeform 7"/>
              <p:cNvSpPr>
                <a:spLocks noEditPoints="1"/>
              </p:cNvSpPr>
              <p:nvPr/>
            </p:nvSpPr>
            <p:spPr bwMode="auto">
              <a:xfrm>
                <a:off x="6107176" y="3422593"/>
                <a:ext cx="1157288" cy="771525"/>
              </a:xfrm>
              <a:custGeom>
                <a:avLst/>
                <a:gdLst>
                  <a:gd name="T0" fmla="*/ 243 w 1458"/>
                  <a:gd name="T1" fmla="*/ 243 h 970"/>
                  <a:gd name="T2" fmla="*/ 243 w 1458"/>
                  <a:gd name="T3" fmla="*/ 727 h 970"/>
                  <a:gd name="T4" fmla="*/ 1215 w 1458"/>
                  <a:gd name="T5" fmla="*/ 727 h 970"/>
                  <a:gd name="T6" fmla="*/ 1215 w 1458"/>
                  <a:gd name="T7" fmla="*/ 243 h 970"/>
                  <a:gd name="T8" fmla="*/ 243 w 1458"/>
                  <a:gd name="T9" fmla="*/ 243 h 970"/>
                  <a:gd name="T10" fmla="*/ 122 w 1458"/>
                  <a:gd name="T11" fmla="*/ 0 h 970"/>
                  <a:gd name="T12" fmla="*/ 1336 w 1458"/>
                  <a:gd name="T13" fmla="*/ 0 h 970"/>
                  <a:gd name="T14" fmla="*/ 1368 w 1458"/>
                  <a:gd name="T15" fmla="*/ 4 h 970"/>
                  <a:gd name="T16" fmla="*/ 1398 w 1458"/>
                  <a:gd name="T17" fmla="*/ 16 h 970"/>
                  <a:gd name="T18" fmla="*/ 1422 w 1458"/>
                  <a:gd name="T19" fmla="*/ 36 h 970"/>
                  <a:gd name="T20" fmla="*/ 1442 w 1458"/>
                  <a:gd name="T21" fmla="*/ 59 h 970"/>
                  <a:gd name="T22" fmla="*/ 1454 w 1458"/>
                  <a:gd name="T23" fmla="*/ 89 h 970"/>
                  <a:gd name="T24" fmla="*/ 1458 w 1458"/>
                  <a:gd name="T25" fmla="*/ 121 h 970"/>
                  <a:gd name="T26" fmla="*/ 1458 w 1458"/>
                  <a:gd name="T27" fmla="*/ 849 h 970"/>
                  <a:gd name="T28" fmla="*/ 1454 w 1458"/>
                  <a:gd name="T29" fmla="*/ 881 h 970"/>
                  <a:gd name="T30" fmla="*/ 1442 w 1458"/>
                  <a:gd name="T31" fmla="*/ 911 h 970"/>
                  <a:gd name="T32" fmla="*/ 1422 w 1458"/>
                  <a:gd name="T33" fmla="*/ 935 h 970"/>
                  <a:gd name="T34" fmla="*/ 1398 w 1458"/>
                  <a:gd name="T35" fmla="*/ 954 h 970"/>
                  <a:gd name="T36" fmla="*/ 1368 w 1458"/>
                  <a:gd name="T37" fmla="*/ 966 h 970"/>
                  <a:gd name="T38" fmla="*/ 1336 w 1458"/>
                  <a:gd name="T39" fmla="*/ 970 h 970"/>
                  <a:gd name="T40" fmla="*/ 122 w 1458"/>
                  <a:gd name="T41" fmla="*/ 970 h 970"/>
                  <a:gd name="T42" fmla="*/ 90 w 1458"/>
                  <a:gd name="T43" fmla="*/ 966 h 970"/>
                  <a:gd name="T44" fmla="*/ 60 w 1458"/>
                  <a:gd name="T45" fmla="*/ 954 h 970"/>
                  <a:gd name="T46" fmla="*/ 36 w 1458"/>
                  <a:gd name="T47" fmla="*/ 935 h 970"/>
                  <a:gd name="T48" fmla="*/ 16 w 1458"/>
                  <a:gd name="T49" fmla="*/ 911 h 970"/>
                  <a:gd name="T50" fmla="*/ 4 w 1458"/>
                  <a:gd name="T51" fmla="*/ 881 h 970"/>
                  <a:gd name="T52" fmla="*/ 0 w 1458"/>
                  <a:gd name="T53" fmla="*/ 849 h 970"/>
                  <a:gd name="T54" fmla="*/ 0 w 1458"/>
                  <a:gd name="T55" fmla="*/ 121 h 970"/>
                  <a:gd name="T56" fmla="*/ 4 w 1458"/>
                  <a:gd name="T57" fmla="*/ 89 h 970"/>
                  <a:gd name="T58" fmla="*/ 16 w 1458"/>
                  <a:gd name="T59" fmla="*/ 59 h 970"/>
                  <a:gd name="T60" fmla="*/ 36 w 1458"/>
                  <a:gd name="T61" fmla="*/ 36 h 970"/>
                  <a:gd name="T62" fmla="*/ 60 w 1458"/>
                  <a:gd name="T63" fmla="*/ 16 h 970"/>
                  <a:gd name="T64" fmla="*/ 90 w 1458"/>
                  <a:gd name="T65" fmla="*/ 4 h 970"/>
                  <a:gd name="T66" fmla="*/ 122 w 1458"/>
                  <a:gd name="T67" fmla="*/ 0 h 9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58" h="970">
                    <a:moveTo>
                      <a:pt x="243" y="243"/>
                    </a:moveTo>
                    <a:lnTo>
                      <a:pt x="243" y="727"/>
                    </a:lnTo>
                    <a:lnTo>
                      <a:pt x="1215" y="727"/>
                    </a:lnTo>
                    <a:lnTo>
                      <a:pt x="1215" y="243"/>
                    </a:lnTo>
                    <a:lnTo>
                      <a:pt x="243" y="243"/>
                    </a:lnTo>
                    <a:close/>
                    <a:moveTo>
                      <a:pt x="122" y="0"/>
                    </a:moveTo>
                    <a:lnTo>
                      <a:pt x="1336" y="0"/>
                    </a:lnTo>
                    <a:lnTo>
                      <a:pt x="1368" y="4"/>
                    </a:lnTo>
                    <a:lnTo>
                      <a:pt x="1398" y="16"/>
                    </a:lnTo>
                    <a:lnTo>
                      <a:pt x="1422" y="36"/>
                    </a:lnTo>
                    <a:lnTo>
                      <a:pt x="1442" y="59"/>
                    </a:lnTo>
                    <a:lnTo>
                      <a:pt x="1454" y="89"/>
                    </a:lnTo>
                    <a:lnTo>
                      <a:pt x="1458" y="121"/>
                    </a:lnTo>
                    <a:lnTo>
                      <a:pt x="1458" y="849"/>
                    </a:lnTo>
                    <a:lnTo>
                      <a:pt x="1454" y="881"/>
                    </a:lnTo>
                    <a:lnTo>
                      <a:pt x="1442" y="911"/>
                    </a:lnTo>
                    <a:lnTo>
                      <a:pt x="1422" y="935"/>
                    </a:lnTo>
                    <a:lnTo>
                      <a:pt x="1398" y="954"/>
                    </a:lnTo>
                    <a:lnTo>
                      <a:pt x="1368" y="966"/>
                    </a:lnTo>
                    <a:lnTo>
                      <a:pt x="1336" y="970"/>
                    </a:lnTo>
                    <a:lnTo>
                      <a:pt x="122" y="970"/>
                    </a:lnTo>
                    <a:lnTo>
                      <a:pt x="90" y="966"/>
                    </a:lnTo>
                    <a:lnTo>
                      <a:pt x="60" y="954"/>
                    </a:lnTo>
                    <a:lnTo>
                      <a:pt x="36" y="935"/>
                    </a:lnTo>
                    <a:lnTo>
                      <a:pt x="16" y="911"/>
                    </a:lnTo>
                    <a:lnTo>
                      <a:pt x="4" y="881"/>
                    </a:lnTo>
                    <a:lnTo>
                      <a:pt x="0" y="849"/>
                    </a:lnTo>
                    <a:lnTo>
                      <a:pt x="0" y="121"/>
                    </a:lnTo>
                    <a:lnTo>
                      <a:pt x="4" y="89"/>
                    </a:lnTo>
                    <a:lnTo>
                      <a:pt x="16" y="59"/>
                    </a:lnTo>
                    <a:lnTo>
                      <a:pt x="36" y="36"/>
                    </a:lnTo>
                    <a:lnTo>
                      <a:pt x="60" y="16"/>
                    </a:lnTo>
                    <a:lnTo>
                      <a:pt x="90" y="4"/>
                    </a:lnTo>
                    <a:lnTo>
                      <a:pt x="122" y="0"/>
                    </a:lnTo>
                    <a:close/>
                  </a:path>
                </a:pathLst>
              </a:custGeom>
              <a:grp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grpSp>
      </p:grpSp>
      <p:grpSp>
        <p:nvGrpSpPr>
          <p:cNvPr id="122" name="组合 121"/>
          <p:cNvGrpSpPr/>
          <p:nvPr/>
        </p:nvGrpSpPr>
        <p:grpSpPr>
          <a:xfrm>
            <a:off x="886607" y="4572176"/>
            <a:ext cx="756000" cy="756000"/>
            <a:chOff x="1325729" y="4273789"/>
            <a:chExt cx="756000" cy="756000"/>
          </a:xfrm>
        </p:grpSpPr>
        <p:sp>
          <p:nvSpPr>
            <p:cNvPr id="123" name="Oval 28"/>
            <p:cNvSpPr>
              <a:spLocks noChangeAspect="1"/>
            </p:cNvSpPr>
            <p:nvPr/>
          </p:nvSpPr>
          <p:spPr>
            <a:xfrm flipH="1">
              <a:off x="1325729" y="4273789"/>
              <a:ext cx="756000" cy="756000"/>
            </a:xfrm>
            <a:prstGeom prst="ellipse">
              <a:avLst/>
            </a:prstGeom>
            <a:no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grpSp>
          <p:nvGrpSpPr>
            <p:cNvPr id="124" name="Group 44"/>
            <p:cNvGrpSpPr>
              <a:grpSpLocks noChangeAspect="1"/>
            </p:cNvGrpSpPr>
            <p:nvPr/>
          </p:nvGrpSpPr>
          <p:grpSpPr>
            <a:xfrm>
              <a:off x="1639388" y="4534602"/>
              <a:ext cx="128681" cy="252000"/>
              <a:chOff x="5943600" y="3128963"/>
              <a:chExt cx="304800" cy="596900"/>
            </a:xfrm>
          </p:grpSpPr>
          <p:sp>
            <p:nvSpPr>
              <p:cNvPr id="125" name="Freeform 13"/>
              <p:cNvSpPr>
                <a:spLocks noEditPoints="1"/>
              </p:cNvSpPr>
              <p:nvPr/>
            </p:nvSpPr>
            <p:spPr bwMode="auto">
              <a:xfrm>
                <a:off x="5943600" y="3128963"/>
                <a:ext cx="304800" cy="596900"/>
              </a:xfrm>
              <a:custGeom>
                <a:avLst/>
                <a:gdLst>
                  <a:gd name="T0" fmla="*/ 729 w 1728"/>
                  <a:gd name="T1" fmla="*/ 127 h 3382"/>
                  <a:gd name="T2" fmla="*/ 543 w 1728"/>
                  <a:gd name="T3" fmla="*/ 187 h 3382"/>
                  <a:gd name="T4" fmla="*/ 382 w 1728"/>
                  <a:gd name="T5" fmla="*/ 291 h 3382"/>
                  <a:gd name="T6" fmla="*/ 252 w 1728"/>
                  <a:gd name="T7" fmla="*/ 430 h 3382"/>
                  <a:gd name="T8" fmla="*/ 163 w 1728"/>
                  <a:gd name="T9" fmla="*/ 600 h 3382"/>
                  <a:gd name="T10" fmla="*/ 119 w 1728"/>
                  <a:gd name="T11" fmla="*/ 792 h 3382"/>
                  <a:gd name="T12" fmla="*/ 127 w 1728"/>
                  <a:gd name="T13" fmla="*/ 994 h 3382"/>
                  <a:gd name="T14" fmla="*/ 187 w 1728"/>
                  <a:gd name="T15" fmla="*/ 1179 h 3382"/>
                  <a:gd name="T16" fmla="*/ 292 w 1728"/>
                  <a:gd name="T17" fmla="*/ 1340 h 3382"/>
                  <a:gd name="T18" fmla="*/ 432 w 1728"/>
                  <a:gd name="T19" fmla="*/ 1468 h 3382"/>
                  <a:gd name="T20" fmla="*/ 603 w 1728"/>
                  <a:gd name="T21" fmla="*/ 1558 h 3382"/>
                  <a:gd name="T22" fmla="*/ 796 w 1728"/>
                  <a:gd name="T23" fmla="*/ 1601 h 3382"/>
                  <a:gd name="T24" fmla="*/ 999 w 1728"/>
                  <a:gd name="T25" fmla="*/ 1593 h 3382"/>
                  <a:gd name="T26" fmla="*/ 1185 w 1728"/>
                  <a:gd name="T27" fmla="*/ 1533 h 3382"/>
                  <a:gd name="T28" fmla="*/ 1346 w 1728"/>
                  <a:gd name="T29" fmla="*/ 1429 h 3382"/>
                  <a:gd name="T30" fmla="*/ 1476 w 1728"/>
                  <a:gd name="T31" fmla="*/ 1290 h 3382"/>
                  <a:gd name="T32" fmla="*/ 1565 w 1728"/>
                  <a:gd name="T33" fmla="*/ 1119 h 3382"/>
                  <a:gd name="T34" fmla="*/ 1609 w 1728"/>
                  <a:gd name="T35" fmla="*/ 928 h 3382"/>
                  <a:gd name="T36" fmla="*/ 1601 w 1728"/>
                  <a:gd name="T37" fmla="*/ 726 h 3382"/>
                  <a:gd name="T38" fmla="*/ 1541 w 1728"/>
                  <a:gd name="T39" fmla="*/ 541 h 3382"/>
                  <a:gd name="T40" fmla="*/ 1436 w 1728"/>
                  <a:gd name="T41" fmla="*/ 380 h 3382"/>
                  <a:gd name="T42" fmla="*/ 1296 w 1728"/>
                  <a:gd name="T43" fmla="*/ 251 h 3382"/>
                  <a:gd name="T44" fmla="*/ 1125 w 1728"/>
                  <a:gd name="T45" fmla="*/ 162 h 3382"/>
                  <a:gd name="T46" fmla="*/ 932 w 1728"/>
                  <a:gd name="T47" fmla="*/ 119 h 3382"/>
                  <a:gd name="T48" fmla="*/ 939 w 1728"/>
                  <a:gd name="T49" fmla="*/ 4 h 3382"/>
                  <a:gd name="T50" fmla="*/ 1151 w 1728"/>
                  <a:gd name="T51" fmla="*/ 48 h 3382"/>
                  <a:gd name="T52" fmla="*/ 1340 w 1728"/>
                  <a:gd name="T53" fmla="*/ 143 h 3382"/>
                  <a:gd name="T54" fmla="*/ 1499 w 1728"/>
                  <a:gd name="T55" fmla="*/ 277 h 3382"/>
                  <a:gd name="T56" fmla="*/ 1622 w 1728"/>
                  <a:gd name="T57" fmla="*/ 447 h 3382"/>
                  <a:gd name="T58" fmla="*/ 1700 w 1728"/>
                  <a:gd name="T59" fmla="*/ 643 h 3382"/>
                  <a:gd name="T60" fmla="*/ 1728 w 1728"/>
                  <a:gd name="T61" fmla="*/ 860 h 3382"/>
                  <a:gd name="T62" fmla="*/ 1699 w 1728"/>
                  <a:gd name="T63" fmla="*/ 1079 h 3382"/>
                  <a:gd name="T64" fmla="*/ 1619 w 1728"/>
                  <a:gd name="T65" fmla="*/ 1278 h 3382"/>
                  <a:gd name="T66" fmla="*/ 1494 w 1728"/>
                  <a:gd name="T67" fmla="*/ 1448 h 3382"/>
                  <a:gd name="T68" fmla="*/ 1330 w 1728"/>
                  <a:gd name="T69" fmla="*/ 1582 h 3382"/>
                  <a:gd name="T70" fmla="*/ 1138 w 1728"/>
                  <a:gd name="T71" fmla="*/ 1675 h 3382"/>
                  <a:gd name="T72" fmla="*/ 922 w 1728"/>
                  <a:gd name="T73" fmla="*/ 1717 h 3382"/>
                  <a:gd name="T74" fmla="*/ 911 w 1728"/>
                  <a:gd name="T75" fmla="*/ 3358 h 3382"/>
                  <a:gd name="T76" fmla="*/ 864 w 1728"/>
                  <a:gd name="T77" fmla="*/ 3382 h 3382"/>
                  <a:gd name="T78" fmla="*/ 817 w 1728"/>
                  <a:gd name="T79" fmla="*/ 3358 h 3382"/>
                  <a:gd name="T80" fmla="*/ 806 w 1728"/>
                  <a:gd name="T81" fmla="*/ 1717 h 3382"/>
                  <a:gd name="T82" fmla="*/ 590 w 1728"/>
                  <a:gd name="T83" fmla="*/ 1675 h 3382"/>
                  <a:gd name="T84" fmla="*/ 398 w 1728"/>
                  <a:gd name="T85" fmla="*/ 1582 h 3382"/>
                  <a:gd name="T86" fmla="*/ 234 w 1728"/>
                  <a:gd name="T87" fmla="*/ 1448 h 3382"/>
                  <a:gd name="T88" fmla="*/ 109 w 1728"/>
                  <a:gd name="T89" fmla="*/ 1278 h 3382"/>
                  <a:gd name="T90" fmla="*/ 29 w 1728"/>
                  <a:gd name="T91" fmla="*/ 1079 h 3382"/>
                  <a:gd name="T92" fmla="*/ 0 w 1728"/>
                  <a:gd name="T93" fmla="*/ 860 h 3382"/>
                  <a:gd name="T94" fmla="*/ 28 w 1728"/>
                  <a:gd name="T95" fmla="*/ 643 h 3382"/>
                  <a:gd name="T96" fmla="*/ 106 w 1728"/>
                  <a:gd name="T97" fmla="*/ 447 h 3382"/>
                  <a:gd name="T98" fmla="*/ 229 w 1728"/>
                  <a:gd name="T99" fmla="*/ 277 h 3382"/>
                  <a:gd name="T100" fmla="*/ 388 w 1728"/>
                  <a:gd name="T101" fmla="*/ 143 h 3382"/>
                  <a:gd name="T102" fmla="*/ 577 w 1728"/>
                  <a:gd name="T103" fmla="*/ 48 h 3382"/>
                  <a:gd name="T104" fmla="*/ 789 w 1728"/>
                  <a:gd name="T105" fmla="*/ 4 h 3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28" h="3382">
                    <a:moveTo>
                      <a:pt x="864" y="115"/>
                    </a:moveTo>
                    <a:lnTo>
                      <a:pt x="796" y="119"/>
                    </a:lnTo>
                    <a:lnTo>
                      <a:pt x="729" y="127"/>
                    </a:lnTo>
                    <a:lnTo>
                      <a:pt x="665" y="142"/>
                    </a:lnTo>
                    <a:lnTo>
                      <a:pt x="603" y="162"/>
                    </a:lnTo>
                    <a:lnTo>
                      <a:pt x="543" y="187"/>
                    </a:lnTo>
                    <a:lnTo>
                      <a:pt x="487" y="217"/>
                    </a:lnTo>
                    <a:lnTo>
                      <a:pt x="432" y="251"/>
                    </a:lnTo>
                    <a:lnTo>
                      <a:pt x="382" y="291"/>
                    </a:lnTo>
                    <a:lnTo>
                      <a:pt x="335" y="333"/>
                    </a:lnTo>
                    <a:lnTo>
                      <a:pt x="292" y="380"/>
                    </a:lnTo>
                    <a:lnTo>
                      <a:pt x="252" y="430"/>
                    </a:lnTo>
                    <a:lnTo>
                      <a:pt x="217" y="484"/>
                    </a:lnTo>
                    <a:lnTo>
                      <a:pt x="187" y="541"/>
                    </a:lnTo>
                    <a:lnTo>
                      <a:pt x="163" y="600"/>
                    </a:lnTo>
                    <a:lnTo>
                      <a:pt x="142" y="662"/>
                    </a:lnTo>
                    <a:lnTo>
                      <a:pt x="127" y="726"/>
                    </a:lnTo>
                    <a:lnTo>
                      <a:pt x="119" y="792"/>
                    </a:lnTo>
                    <a:lnTo>
                      <a:pt x="115" y="860"/>
                    </a:lnTo>
                    <a:lnTo>
                      <a:pt x="119" y="928"/>
                    </a:lnTo>
                    <a:lnTo>
                      <a:pt x="127" y="994"/>
                    </a:lnTo>
                    <a:lnTo>
                      <a:pt x="142" y="1058"/>
                    </a:lnTo>
                    <a:lnTo>
                      <a:pt x="163" y="1119"/>
                    </a:lnTo>
                    <a:lnTo>
                      <a:pt x="187" y="1179"/>
                    </a:lnTo>
                    <a:lnTo>
                      <a:pt x="217" y="1235"/>
                    </a:lnTo>
                    <a:lnTo>
                      <a:pt x="252" y="1290"/>
                    </a:lnTo>
                    <a:lnTo>
                      <a:pt x="292" y="1340"/>
                    </a:lnTo>
                    <a:lnTo>
                      <a:pt x="335" y="1386"/>
                    </a:lnTo>
                    <a:lnTo>
                      <a:pt x="382" y="1429"/>
                    </a:lnTo>
                    <a:lnTo>
                      <a:pt x="432" y="1468"/>
                    </a:lnTo>
                    <a:lnTo>
                      <a:pt x="487" y="1503"/>
                    </a:lnTo>
                    <a:lnTo>
                      <a:pt x="543" y="1533"/>
                    </a:lnTo>
                    <a:lnTo>
                      <a:pt x="603" y="1558"/>
                    </a:lnTo>
                    <a:lnTo>
                      <a:pt x="665" y="1578"/>
                    </a:lnTo>
                    <a:lnTo>
                      <a:pt x="729" y="1593"/>
                    </a:lnTo>
                    <a:lnTo>
                      <a:pt x="796" y="1601"/>
                    </a:lnTo>
                    <a:lnTo>
                      <a:pt x="864" y="1604"/>
                    </a:lnTo>
                    <a:lnTo>
                      <a:pt x="932" y="1601"/>
                    </a:lnTo>
                    <a:lnTo>
                      <a:pt x="999" y="1593"/>
                    </a:lnTo>
                    <a:lnTo>
                      <a:pt x="1063" y="1578"/>
                    </a:lnTo>
                    <a:lnTo>
                      <a:pt x="1125" y="1558"/>
                    </a:lnTo>
                    <a:lnTo>
                      <a:pt x="1185" y="1533"/>
                    </a:lnTo>
                    <a:lnTo>
                      <a:pt x="1241" y="1503"/>
                    </a:lnTo>
                    <a:lnTo>
                      <a:pt x="1296" y="1468"/>
                    </a:lnTo>
                    <a:lnTo>
                      <a:pt x="1346" y="1429"/>
                    </a:lnTo>
                    <a:lnTo>
                      <a:pt x="1393" y="1386"/>
                    </a:lnTo>
                    <a:lnTo>
                      <a:pt x="1436" y="1340"/>
                    </a:lnTo>
                    <a:lnTo>
                      <a:pt x="1476" y="1290"/>
                    </a:lnTo>
                    <a:lnTo>
                      <a:pt x="1511" y="1235"/>
                    </a:lnTo>
                    <a:lnTo>
                      <a:pt x="1541" y="1179"/>
                    </a:lnTo>
                    <a:lnTo>
                      <a:pt x="1565" y="1119"/>
                    </a:lnTo>
                    <a:lnTo>
                      <a:pt x="1586" y="1058"/>
                    </a:lnTo>
                    <a:lnTo>
                      <a:pt x="1601" y="994"/>
                    </a:lnTo>
                    <a:lnTo>
                      <a:pt x="1609" y="928"/>
                    </a:lnTo>
                    <a:lnTo>
                      <a:pt x="1613" y="860"/>
                    </a:lnTo>
                    <a:lnTo>
                      <a:pt x="1609" y="792"/>
                    </a:lnTo>
                    <a:lnTo>
                      <a:pt x="1601" y="726"/>
                    </a:lnTo>
                    <a:lnTo>
                      <a:pt x="1586" y="662"/>
                    </a:lnTo>
                    <a:lnTo>
                      <a:pt x="1565" y="600"/>
                    </a:lnTo>
                    <a:lnTo>
                      <a:pt x="1541" y="541"/>
                    </a:lnTo>
                    <a:lnTo>
                      <a:pt x="1511" y="484"/>
                    </a:lnTo>
                    <a:lnTo>
                      <a:pt x="1476" y="430"/>
                    </a:lnTo>
                    <a:lnTo>
                      <a:pt x="1436" y="380"/>
                    </a:lnTo>
                    <a:lnTo>
                      <a:pt x="1393" y="333"/>
                    </a:lnTo>
                    <a:lnTo>
                      <a:pt x="1346" y="291"/>
                    </a:lnTo>
                    <a:lnTo>
                      <a:pt x="1296" y="251"/>
                    </a:lnTo>
                    <a:lnTo>
                      <a:pt x="1241" y="217"/>
                    </a:lnTo>
                    <a:lnTo>
                      <a:pt x="1185" y="187"/>
                    </a:lnTo>
                    <a:lnTo>
                      <a:pt x="1125" y="162"/>
                    </a:lnTo>
                    <a:lnTo>
                      <a:pt x="1063" y="142"/>
                    </a:lnTo>
                    <a:lnTo>
                      <a:pt x="999" y="127"/>
                    </a:lnTo>
                    <a:lnTo>
                      <a:pt x="932" y="119"/>
                    </a:lnTo>
                    <a:lnTo>
                      <a:pt x="864" y="115"/>
                    </a:lnTo>
                    <a:close/>
                    <a:moveTo>
                      <a:pt x="864" y="0"/>
                    </a:moveTo>
                    <a:lnTo>
                      <a:pt x="939" y="4"/>
                    </a:lnTo>
                    <a:lnTo>
                      <a:pt x="1012" y="13"/>
                    </a:lnTo>
                    <a:lnTo>
                      <a:pt x="1082" y="28"/>
                    </a:lnTo>
                    <a:lnTo>
                      <a:pt x="1151" y="48"/>
                    </a:lnTo>
                    <a:lnTo>
                      <a:pt x="1216" y="75"/>
                    </a:lnTo>
                    <a:lnTo>
                      <a:pt x="1280" y="107"/>
                    </a:lnTo>
                    <a:lnTo>
                      <a:pt x="1340" y="143"/>
                    </a:lnTo>
                    <a:lnTo>
                      <a:pt x="1397" y="183"/>
                    </a:lnTo>
                    <a:lnTo>
                      <a:pt x="1450" y="228"/>
                    </a:lnTo>
                    <a:lnTo>
                      <a:pt x="1499" y="277"/>
                    </a:lnTo>
                    <a:lnTo>
                      <a:pt x="1544" y="330"/>
                    </a:lnTo>
                    <a:lnTo>
                      <a:pt x="1586" y="387"/>
                    </a:lnTo>
                    <a:lnTo>
                      <a:pt x="1622" y="447"/>
                    </a:lnTo>
                    <a:lnTo>
                      <a:pt x="1653" y="510"/>
                    </a:lnTo>
                    <a:lnTo>
                      <a:pt x="1680" y="575"/>
                    </a:lnTo>
                    <a:lnTo>
                      <a:pt x="1700" y="643"/>
                    </a:lnTo>
                    <a:lnTo>
                      <a:pt x="1715" y="713"/>
                    </a:lnTo>
                    <a:lnTo>
                      <a:pt x="1725" y="785"/>
                    </a:lnTo>
                    <a:lnTo>
                      <a:pt x="1728" y="860"/>
                    </a:lnTo>
                    <a:lnTo>
                      <a:pt x="1725" y="935"/>
                    </a:lnTo>
                    <a:lnTo>
                      <a:pt x="1715" y="1008"/>
                    </a:lnTo>
                    <a:lnTo>
                      <a:pt x="1699" y="1079"/>
                    </a:lnTo>
                    <a:lnTo>
                      <a:pt x="1678" y="1148"/>
                    </a:lnTo>
                    <a:lnTo>
                      <a:pt x="1651" y="1214"/>
                    </a:lnTo>
                    <a:lnTo>
                      <a:pt x="1619" y="1278"/>
                    </a:lnTo>
                    <a:lnTo>
                      <a:pt x="1582" y="1337"/>
                    </a:lnTo>
                    <a:lnTo>
                      <a:pt x="1540" y="1395"/>
                    </a:lnTo>
                    <a:lnTo>
                      <a:pt x="1494" y="1448"/>
                    </a:lnTo>
                    <a:lnTo>
                      <a:pt x="1442" y="1497"/>
                    </a:lnTo>
                    <a:lnTo>
                      <a:pt x="1389" y="1542"/>
                    </a:lnTo>
                    <a:lnTo>
                      <a:pt x="1330" y="1582"/>
                    </a:lnTo>
                    <a:lnTo>
                      <a:pt x="1269" y="1618"/>
                    </a:lnTo>
                    <a:lnTo>
                      <a:pt x="1205" y="1649"/>
                    </a:lnTo>
                    <a:lnTo>
                      <a:pt x="1138" y="1675"/>
                    </a:lnTo>
                    <a:lnTo>
                      <a:pt x="1068" y="1695"/>
                    </a:lnTo>
                    <a:lnTo>
                      <a:pt x="996" y="1709"/>
                    </a:lnTo>
                    <a:lnTo>
                      <a:pt x="922" y="1717"/>
                    </a:lnTo>
                    <a:lnTo>
                      <a:pt x="922" y="3324"/>
                    </a:lnTo>
                    <a:lnTo>
                      <a:pt x="919" y="3342"/>
                    </a:lnTo>
                    <a:lnTo>
                      <a:pt x="911" y="3358"/>
                    </a:lnTo>
                    <a:lnTo>
                      <a:pt x="898" y="3370"/>
                    </a:lnTo>
                    <a:lnTo>
                      <a:pt x="882" y="3379"/>
                    </a:lnTo>
                    <a:lnTo>
                      <a:pt x="864" y="3382"/>
                    </a:lnTo>
                    <a:lnTo>
                      <a:pt x="846" y="3379"/>
                    </a:lnTo>
                    <a:lnTo>
                      <a:pt x="830" y="3370"/>
                    </a:lnTo>
                    <a:lnTo>
                      <a:pt x="817" y="3358"/>
                    </a:lnTo>
                    <a:lnTo>
                      <a:pt x="809" y="3342"/>
                    </a:lnTo>
                    <a:lnTo>
                      <a:pt x="806" y="3324"/>
                    </a:lnTo>
                    <a:lnTo>
                      <a:pt x="806" y="1717"/>
                    </a:lnTo>
                    <a:lnTo>
                      <a:pt x="732" y="1709"/>
                    </a:lnTo>
                    <a:lnTo>
                      <a:pt x="660" y="1695"/>
                    </a:lnTo>
                    <a:lnTo>
                      <a:pt x="590" y="1675"/>
                    </a:lnTo>
                    <a:lnTo>
                      <a:pt x="523" y="1649"/>
                    </a:lnTo>
                    <a:lnTo>
                      <a:pt x="459" y="1618"/>
                    </a:lnTo>
                    <a:lnTo>
                      <a:pt x="398" y="1582"/>
                    </a:lnTo>
                    <a:lnTo>
                      <a:pt x="339" y="1542"/>
                    </a:lnTo>
                    <a:lnTo>
                      <a:pt x="286" y="1497"/>
                    </a:lnTo>
                    <a:lnTo>
                      <a:pt x="234" y="1448"/>
                    </a:lnTo>
                    <a:lnTo>
                      <a:pt x="188" y="1395"/>
                    </a:lnTo>
                    <a:lnTo>
                      <a:pt x="146" y="1337"/>
                    </a:lnTo>
                    <a:lnTo>
                      <a:pt x="109" y="1278"/>
                    </a:lnTo>
                    <a:lnTo>
                      <a:pt x="77" y="1214"/>
                    </a:lnTo>
                    <a:lnTo>
                      <a:pt x="50" y="1148"/>
                    </a:lnTo>
                    <a:lnTo>
                      <a:pt x="29" y="1079"/>
                    </a:lnTo>
                    <a:lnTo>
                      <a:pt x="13" y="1008"/>
                    </a:lnTo>
                    <a:lnTo>
                      <a:pt x="3" y="935"/>
                    </a:lnTo>
                    <a:lnTo>
                      <a:pt x="0" y="860"/>
                    </a:lnTo>
                    <a:lnTo>
                      <a:pt x="3" y="785"/>
                    </a:lnTo>
                    <a:lnTo>
                      <a:pt x="13" y="713"/>
                    </a:lnTo>
                    <a:lnTo>
                      <a:pt x="28" y="643"/>
                    </a:lnTo>
                    <a:lnTo>
                      <a:pt x="48" y="575"/>
                    </a:lnTo>
                    <a:lnTo>
                      <a:pt x="75" y="510"/>
                    </a:lnTo>
                    <a:lnTo>
                      <a:pt x="106" y="447"/>
                    </a:lnTo>
                    <a:lnTo>
                      <a:pt x="142" y="387"/>
                    </a:lnTo>
                    <a:lnTo>
                      <a:pt x="184" y="330"/>
                    </a:lnTo>
                    <a:lnTo>
                      <a:pt x="229" y="277"/>
                    </a:lnTo>
                    <a:lnTo>
                      <a:pt x="278" y="228"/>
                    </a:lnTo>
                    <a:lnTo>
                      <a:pt x="331" y="183"/>
                    </a:lnTo>
                    <a:lnTo>
                      <a:pt x="388" y="143"/>
                    </a:lnTo>
                    <a:lnTo>
                      <a:pt x="448" y="107"/>
                    </a:lnTo>
                    <a:lnTo>
                      <a:pt x="512" y="75"/>
                    </a:lnTo>
                    <a:lnTo>
                      <a:pt x="577" y="48"/>
                    </a:lnTo>
                    <a:lnTo>
                      <a:pt x="646" y="28"/>
                    </a:lnTo>
                    <a:lnTo>
                      <a:pt x="716" y="13"/>
                    </a:lnTo>
                    <a:lnTo>
                      <a:pt x="789" y="4"/>
                    </a:lnTo>
                    <a:lnTo>
                      <a:pt x="864"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26" name="Freeform 14"/>
              <p:cNvSpPr>
                <a:spLocks noEditPoints="1"/>
              </p:cNvSpPr>
              <p:nvPr/>
            </p:nvSpPr>
            <p:spPr bwMode="auto">
              <a:xfrm>
                <a:off x="6003925" y="3200401"/>
                <a:ext cx="82550" cy="80963"/>
              </a:xfrm>
              <a:custGeom>
                <a:avLst/>
                <a:gdLst>
                  <a:gd name="T0" fmla="*/ 205 w 461"/>
                  <a:gd name="T1" fmla="*/ 118 h 459"/>
                  <a:gd name="T2" fmla="*/ 159 w 461"/>
                  <a:gd name="T3" fmla="*/ 140 h 459"/>
                  <a:gd name="T4" fmla="*/ 128 w 461"/>
                  <a:gd name="T5" fmla="*/ 179 h 459"/>
                  <a:gd name="T6" fmla="*/ 116 w 461"/>
                  <a:gd name="T7" fmla="*/ 230 h 459"/>
                  <a:gd name="T8" fmla="*/ 128 w 461"/>
                  <a:gd name="T9" fmla="*/ 280 h 459"/>
                  <a:gd name="T10" fmla="*/ 159 w 461"/>
                  <a:gd name="T11" fmla="*/ 320 h 459"/>
                  <a:gd name="T12" fmla="*/ 205 w 461"/>
                  <a:gd name="T13" fmla="*/ 341 h 459"/>
                  <a:gd name="T14" fmla="*/ 257 w 461"/>
                  <a:gd name="T15" fmla="*/ 341 h 459"/>
                  <a:gd name="T16" fmla="*/ 303 w 461"/>
                  <a:gd name="T17" fmla="*/ 320 h 459"/>
                  <a:gd name="T18" fmla="*/ 335 w 461"/>
                  <a:gd name="T19" fmla="*/ 280 h 459"/>
                  <a:gd name="T20" fmla="*/ 347 w 461"/>
                  <a:gd name="T21" fmla="*/ 230 h 459"/>
                  <a:gd name="T22" fmla="*/ 335 w 461"/>
                  <a:gd name="T23" fmla="*/ 179 h 459"/>
                  <a:gd name="T24" fmla="*/ 303 w 461"/>
                  <a:gd name="T25" fmla="*/ 140 h 459"/>
                  <a:gd name="T26" fmla="*/ 257 w 461"/>
                  <a:gd name="T27" fmla="*/ 118 h 459"/>
                  <a:gd name="T28" fmla="*/ 231 w 461"/>
                  <a:gd name="T29" fmla="*/ 0 h 459"/>
                  <a:gd name="T30" fmla="*/ 304 w 461"/>
                  <a:gd name="T31" fmla="*/ 12 h 459"/>
                  <a:gd name="T32" fmla="*/ 367 w 461"/>
                  <a:gd name="T33" fmla="*/ 45 h 459"/>
                  <a:gd name="T34" fmla="*/ 416 w 461"/>
                  <a:gd name="T35" fmla="*/ 94 h 459"/>
                  <a:gd name="T36" fmla="*/ 449 w 461"/>
                  <a:gd name="T37" fmla="*/ 158 h 459"/>
                  <a:gd name="T38" fmla="*/ 461 w 461"/>
                  <a:gd name="T39" fmla="*/ 230 h 459"/>
                  <a:gd name="T40" fmla="*/ 449 w 461"/>
                  <a:gd name="T41" fmla="*/ 303 h 459"/>
                  <a:gd name="T42" fmla="*/ 416 w 461"/>
                  <a:gd name="T43" fmla="*/ 365 h 459"/>
                  <a:gd name="T44" fmla="*/ 367 w 461"/>
                  <a:gd name="T45" fmla="*/ 414 h 459"/>
                  <a:gd name="T46" fmla="*/ 304 w 461"/>
                  <a:gd name="T47" fmla="*/ 447 h 459"/>
                  <a:gd name="T48" fmla="*/ 231 w 461"/>
                  <a:gd name="T49" fmla="*/ 459 h 459"/>
                  <a:gd name="T50" fmla="*/ 159 w 461"/>
                  <a:gd name="T51" fmla="*/ 447 h 459"/>
                  <a:gd name="T52" fmla="*/ 94 w 461"/>
                  <a:gd name="T53" fmla="*/ 414 h 459"/>
                  <a:gd name="T54" fmla="*/ 45 w 461"/>
                  <a:gd name="T55" fmla="*/ 365 h 459"/>
                  <a:gd name="T56" fmla="*/ 12 w 461"/>
                  <a:gd name="T57" fmla="*/ 303 h 459"/>
                  <a:gd name="T58" fmla="*/ 0 w 461"/>
                  <a:gd name="T59" fmla="*/ 230 h 459"/>
                  <a:gd name="T60" fmla="*/ 12 w 461"/>
                  <a:gd name="T61" fmla="*/ 158 h 459"/>
                  <a:gd name="T62" fmla="*/ 45 w 461"/>
                  <a:gd name="T63" fmla="*/ 94 h 459"/>
                  <a:gd name="T64" fmla="*/ 94 w 461"/>
                  <a:gd name="T65" fmla="*/ 45 h 459"/>
                  <a:gd name="T66" fmla="*/ 159 w 461"/>
                  <a:gd name="T67" fmla="*/ 12 h 459"/>
                  <a:gd name="T68" fmla="*/ 231 w 461"/>
                  <a:gd name="T69"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1" h="459">
                    <a:moveTo>
                      <a:pt x="231" y="115"/>
                    </a:moveTo>
                    <a:lnTo>
                      <a:pt x="205" y="118"/>
                    </a:lnTo>
                    <a:lnTo>
                      <a:pt x="180" y="127"/>
                    </a:lnTo>
                    <a:lnTo>
                      <a:pt x="159" y="140"/>
                    </a:lnTo>
                    <a:lnTo>
                      <a:pt x="140" y="158"/>
                    </a:lnTo>
                    <a:lnTo>
                      <a:pt x="128" y="179"/>
                    </a:lnTo>
                    <a:lnTo>
                      <a:pt x="119" y="204"/>
                    </a:lnTo>
                    <a:lnTo>
                      <a:pt x="116" y="230"/>
                    </a:lnTo>
                    <a:lnTo>
                      <a:pt x="119" y="256"/>
                    </a:lnTo>
                    <a:lnTo>
                      <a:pt x="128" y="280"/>
                    </a:lnTo>
                    <a:lnTo>
                      <a:pt x="140" y="301"/>
                    </a:lnTo>
                    <a:lnTo>
                      <a:pt x="159" y="320"/>
                    </a:lnTo>
                    <a:lnTo>
                      <a:pt x="180" y="332"/>
                    </a:lnTo>
                    <a:lnTo>
                      <a:pt x="205" y="341"/>
                    </a:lnTo>
                    <a:lnTo>
                      <a:pt x="231" y="344"/>
                    </a:lnTo>
                    <a:lnTo>
                      <a:pt x="257" y="341"/>
                    </a:lnTo>
                    <a:lnTo>
                      <a:pt x="282" y="332"/>
                    </a:lnTo>
                    <a:lnTo>
                      <a:pt x="303" y="320"/>
                    </a:lnTo>
                    <a:lnTo>
                      <a:pt x="321" y="301"/>
                    </a:lnTo>
                    <a:lnTo>
                      <a:pt x="335" y="280"/>
                    </a:lnTo>
                    <a:lnTo>
                      <a:pt x="344" y="256"/>
                    </a:lnTo>
                    <a:lnTo>
                      <a:pt x="347" y="230"/>
                    </a:lnTo>
                    <a:lnTo>
                      <a:pt x="344" y="204"/>
                    </a:lnTo>
                    <a:lnTo>
                      <a:pt x="335" y="179"/>
                    </a:lnTo>
                    <a:lnTo>
                      <a:pt x="321" y="158"/>
                    </a:lnTo>
                    <a:lnTo>
                      <a:pt x="303" y="140"/>
                    </a:lnTo>
                    <a:lnTo>
                      <a:pt x="282" y="127"/>
                    </a:lnTo>
                    <a:lnTo>
                      <a:pt x="257" y="118"/>
                    </a:lnTo>
                    <a:lnTo>
                      <a:pt x="231" y="115"/>
                    </a:lnTo>
                    <a:close/>
                    <a:moveTo>
                      <a:pt x="231" y="0"/>
                    </a:moveTo>
                    <a:lnTo>
                      <a:pt x="269" y="4"/>
                    </a:lnTo>
                    <a:lnTo>
                      <a:pt x="304" y="12"/>
                    </a:lnTo>
                    <a:lnTo>
                      <a:pt x="337" y="26"/>
                    </a:lnTo>
                    <a:lnTo>
                      <a:pt x="367" y="45"/>
                    </a:lnTo>
                    <a:lnTo>
                      <a:pt x="394" y="67"/>
                    </a:lnTo>
                    <a:lnTo>
                      <a:pt x="416" y="94"/>
                    </a:lnTo>
                    <a:lnTo>
                      <a:pt x="436" y="125"/>
                    </a:lnTo>
                    <a:lnTo>
                      <a:pt x="449" y="158"/>
                    </a:lnTo>
                    <a:lnTo>
                      <a:pt x="458" y="193"/>
                    </a:lnTo>
                    <a:lnTo>
                      <a:pt x="461" y="230"/>
                    </a:lnTo>
                    <a:lnTo>
                      <a:pt x="458" y="267"/>
                    </a:lnTo>
                    <a:lnTo>
                      <a:pt x="449" y="303"/>
                    </a:lnTo>
                    <a:lnTo>
                      <a:pt x="436" y="335"/>
                    </a:lnTo>
                    <a:lnTo>
                      <a:pt x="416" y="365"/>
                    </a:lnTo>
                    <a:lnTo>
                      <a:pt x="394" y="392"/>
                    </a:lnTo>
                    <a:lnTo>
                      <a:pt x="367" y="414"/>
                    </a:lnTo>
                    <a:lnTo>
                      <a:pt x="337" y="433"/>
                    </a:lnTo>
                    <a:lnTo>
                      <a:pt x="304" y="447"/>
                    </a:lnTo>
                    <a:lnTo>
                      <a:pt x="269" y="456"/>
                    </a:lnTo>
                    <a:lnTo>
                      <a:pt x="231" y="459"/>
                    </a:lnTo>
                    <a:lnTo>
                      <a:pt x="194" y="456"/>
                    </a:lnTo>
                    <a:lnTo>
                      <a:pt x="159" y="447"/>
                    </a:lnTo>
                    <a:lnTo>
                      <a:pt x="125" y="433"/>
                    </a:lnTo>
                    <a:lnTo>
                      <a:pt x="94" y="414"/>
                    </a:lnTo>
                    <a:lnTo>
                      <a:pt x="68" y="392"/>
                    </a:lnTo>
                    <a:lnTo>
                      <a:pt x="45" y="365"/>
                    </a:lnTo>
                    <a:lnTo>
                      <a:pt x="26" y="335"/>
                    </a:lnTo>
                    <a:lnTo>
                      <a:pt x="12" y="303"/>
                    </a:lnTo>
                    <a:lnTo>
                      <a:pt x="4" y="267"/>
                    </a:lnTo>
                    <a:lnTo>
                      <a:pt x="0" y="230"/>
                    </a:lnTo>
                    <a:lnTo>
                      <a:pt x="4" y="193"/>
                    </a:lnTo>
                    <a:lnTo>
                      <a:pt x="12" y="158"/>
                    </a:lnTo>
                    <a:lnTo>
                      <a:pt x="26" y="125"/>
                    </a:lnTo>
                    <a:lnTo>
                      <a:pt x="45" y="94"/>
                    </a:lnTo>
                    <a:lnTo>
                      <a:pt x="68" y="67"/>
                    </a:lnTo>
                    <a:lnTo>
                      <a:pt x="94" y="45"/>
                    </a:lnTo>
                    <a:lnTo>
                      <a:pt x="125" y="26"/>
                    </a:lnTo>
                    <a:lnTo>
                      <a:pt x="159" y="12"/>
                    </a:lnTo>
                    <a:lnTo>
                      <a:pt x="194" y="4"/>
                    </a:lnTo>
                    <a:lnTo>
                      <a:pt x="231"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grpSp>
      </p:grpSp>
      <p:grpSp>
        <p:nvGrpSpPr>
          <p:cNvPr id="127" name="组合 126"/>
          <p:cNvGrpSpPr/>
          <p:nvPr/>
        </p:nvGrpSpPr>
        <p:grpSpPr>
          <a:xfrm>
            <a:off x="2024279" y="4570475"/>
            <a:ext cx="756000" cy="756000"/>
            <a:chOff x="2463401" y="4272088"/>
            <a:chExt cx="756000" cy="756000"/>
          </a:xfrm>
        </p:grpSpPr>
        <p:sp>
          <p:nvSpPr>
            <p:cNvPr id="128" name="Oval 27"/>
            <p:cNvSpPr>
              <a:spLocks noChangeAspect="1"/>
            </p:cNvSpPr>
            <p:nvPr/>
          </p:nvSpPr>
          <p:spPr>
            <a:xfrm flipH="1">
              <a:off x="2463401" y="4272088"/>
              <a:ext cx="756000" cy="756000"/>
            </a:xfrm>
            <a:prstGeom prst="ellipse">
              <a:avLst/>
            </a:prstGeom>
            <a:noFill/>
            <a:ln w="12700" cap="flat" cmpd="sng" algn="ctr">
              <a:solidFill>
                <a:srgbClr val="00B0F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grpSp>
          <p:nvGrpSpPr>
            <p:cNvPr id="129" name="Group 73"/>
            <p:cNvGrpSpPr>
              <a:grpSpLocks noChangeAspect="1"/>
            </p:cNvGrpSpPr>
            <p:nvPr/>
          </p:nvGrpSpPr>
          <p:grpSpPr>
            <a:xfrm>
              <a:off x="2729712" y="4534602"/>
              <a:ext cx="246063" cy="252000"/>
              <a:chOff x="5348288" y="2809875"/>
              <a:chExt cx="592138" cy="606425"/>
            </a:xfrm>
          </p:grpSpPr>
          <p:sp>
            <p:nvSpPr>
              <p:cNvPr id="130" name="Freeform 19"/>
              <p:cNvSpPr>
                <a:spLocks noEditPoints="1"/>
              </p:cNvSpPr>
              <p:nvPr/>
            </p:nvSpPr>
            <p:spPr bwMode="auto">
              <a:xfrm>
                <a:off x="5592763" y="3305175"/>
                <a:ext cx="82550" cy="80963"/>
              </a:xfrm>
              <a:custGeom>
                <a:avLst/>
                <a:gdLst>
                  <a:gd name="T0" fmla="*/ 205 w 464"/>
                  <a:gd name="T1" fmla="*/ 118 h 458"/>
                  <a:gd name="T2" fmla="*/ 160 w 464"/>
                  <a:gd name="T3" fmla="*/ 140 h 458"/>
                  <a:gd name="T4" fmla="*/ 128 w 464"/>
                  <a:gd name="T5" fmla="*/ 180 h 458"/>
                  <a:gd name="T6" fmla="*/ 116 w 464"/>
                  <a:gd name="T7" fmla="*/ 230 h 458"/>
                  <a:gd name="T8" fmla="*/ 128 w 464"/>
                  <a:gd name="T9" fmla="*/ 280 h 458"/>
                  <a:gd name="T10" fmla="*/ 160 w 464"/>
                  <a:gd name="T11" fmla="*/ 319 h 458"/>
                  <a:gd name="T12" fmla="*/ 205 w 464"/>
                  <a:gd name="T13" fmla="*/ 341 h 458"/>
                  <a:gd name="T14" fmla="*/ 259 w 464"/>
                  <a:gd name="T15" fmla="*/ 341 h 458"/>
                  <a:gd name="T16" fmla="*/ 304 w 464"/>
                  <a:gd name="T17" fmla="*/ 319 h 458"/>
                  <a:gd name="T18" fmla="*/ 336 w 464"/>
                  <a:gd name="T19" fmla="*/ 280 h 458"/>
                  <a:gd name="T20" fmla="*/ 348 w 464"/>
                  <a:gd name="T21" fmla="*/ 230 h 458"/>
                  <a:gd name="T22" fmla="*/ 336 w 464"/>
                  <a:gd name="T23" fmla="*/ 180 h 458"/>
                  <a:gd name="T24" fmla="*/ 304 w 464"/>
                  <a:gd name="T25" fmla="*/ 140 h 458"/>
                  <a:gd name="T26" fmla="*/ 259 w 464"/>
                  <a:gd name="T27" fmla="*/ 118 h 458"/>
                  <a:gd name="T28" fmla="*/ 232 w 464"/>
                  <a:gd name="T29" fmla="*/ 0 h 458"/>
                  <a:gd name="T30" fmla="*/ 305 w 464"/>
                  <a:gd name="T31" fmla="*/ 12 h 458"/>
                  <a:gd name="T32" fmla="*/ 368 w 464"/>
                  <a:gd name="T33" fmla="*/ 45 h 458"/>
                  <a:gd name="T34" fmla="*/ 419 w 464"/>
                  <a:gd name="T35" fmla="*/ 95 h 458"/>
                  <a:gd name="T36" fmla="*/ 452 w 464"/>
                  <a:gd name="T37" fmla="*/ 157 h 458"/>
                  <a:gd name="T38" fmla="*/ 464 w 464"/>
                  <a:gd name="T39" fmla="*/ 230 h 458"/>
                  <a:gd name="T40" fmla="*/ 452 w 464"/>
                  <a:gd name="T41" fmla="*/ 302 h 458"/>
                  <a:gd name="T42" fmla="*/ 419 w 464"/>
                  <a:gd name="T43" fmla="*/ 365 h 458"/>
                  <a:gd name="T44" fmla="*/ 368 w 464"/>
                  <a:gd name="T45" fmla="*/ 415 h 458"/>
                  <a:gd name="T46" fmla="*/ 305 w 464"/>
                  <a:gd name="T47" fmla="*/ 447 h 458"/>
                  <a:gd name="T48" fmla="*/ 232 w 464"/>
                  <a:gd name="T49" fmla="*/ 458 h 458"/>
                  <a:gd name="T50" fmla="*/ 159 w 464"/>
                  <a:gd name="T51" fmla="*/ 447 h 458"/>
                  <a:gd name="T52" fmla="*/ 95 w 464"/>
                  <a:gd name="T53" fmla="*/ 415 h 458"/>
                  <a:gd name="T54" fmla="*/ 45 w 464"/>
                  <a:gd name="T55" fmla="*/ 365 h 458"/>
                  <a:gd name="T56" fmla="*/ 12 w 464"/>
                  <a:gd name="T57" fmla="*/ 302 h 458"/>
                  <a:gd name="T58" fmla="*/ 0 w 464"/>
                  <a:gd name="T59" fmla="*/ 230 h 458"/>
                  <a:gd name="T60" fmla="*/ 12 w 464"/>
                  <a:gd name="T61" fmla="*/ 157 h 458"/>
                  <a:gd name="T62" fmla="*/ 45 w 464"/>
                  <a:gd name="T63" fmla="*/ 95 h 458"/>
                  <a:gd name="T64" fmla="*/ 95 w 464"/>
                  <a:gd name="T65" fmla="*/ 45 h 458"/>
                  <a:gd name="T66" fmla="*/ 159 w 464"/>
                  <a:gd name="T67" fmla="*/ 12 h 458"/>
                  <a:gd name="T68" fmla="*/ 232 w 464"/>
                  <a:gd name="T69"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64" h="458">
                    <a:moveTo>
                      <a:pt x="232" y="115"/>
                    </a:moveTo>
                    <a:lnTo>
                      <a:pt x="205" y="118"/>
                    </a:lnTo>
                    <a:lnTo>
                      <a:pt x="181" y="127"/>
                    </a:lnTo>
                    <a:lnTo>
                      <a:pt x="160" y="140"/>
                    </a:lnTo>
                    <a:lnTo>
                      <a:pt x="142" y="158"/>
                    </a:lnTo>
                    <a:lnTo>
                      <a:pt x="128" y="180"/>
                    </a:lnTo>
                    <a:lnTo>
                      <a:pt x="119" y="203"/>
                    </a:lnTo>
                    <a:lnTo>
                      <a:pt x="116" y="230"/>
                    </a:lnTo>
                    <a:lnTo>
                      <a:pt x="119" y="255"/>
                    </a:lnTo>
                    <a:lnTo>
                      <a:pt x="128" y="280"/>
                    </a:lnTo>
                    <a:lnTo>
                      <a:pt x="142" y="301"/>
                    </a:lnTo>
                    <a:lnTo>
                      <a:pt x="160" y="319"/>
                    </a:lnTo>
                    <a:lnTo>
                      <a:pt x="181" y="333"/>
                    </a:lnTo>
                    <a:lnTo>
                      <a:pt x="205" y="341"/>
                    </a:lnTo>
                    <a:lnTo>
                      <a:pt x="232" y="345"/>
                    </a:lnTo>
                    <a:lnTo>
                      <a:pt x="259" y="341"/>
                    </a:lnTo>
                    <a:lnTo>
                      <a:pt x="282" y="333"/>
                    </a:lnTo>
                    <a:lnTo>
                      <a:pt x="304" y="319"/>
                    </a:lnTo>
                    <a:lnTo>
                      <a:pt x="322" y="301"/>
                    </a:lnTo>
                    <a:lnTo>
                      <a:pt x="336" y="280"/>
                    </a:lnTo>
                    <a:lnTo>
                      <a:pt x="345" y="255"/>
                    </a:lnTo>
                    <a:lnTo>
                      <a:pt x="348" y="230"/>
                    </a:lnTo>
                    <a:lnTo>
                      <a:pt x="345" y="203"/>
                    </a:lnTo>
                    <a:lnTo>
                      <a:pt x="336" y="180"/>
                    </a:lnTo>
                    <a:lnTo>
                      <a:pt x="322" y="158"/>
                    </a:lnTo>
                    <a:lnTo>
                      <a:pt x="304" y="140"/>
                    </a:lnTo>
                    <a:lnTo>
                      <a:pt x="282" y="127"/>
                    </a:lnTo>
                    <a:lnTo>
                      <a:pt x="259" y="118"/>
                    </a:lnTo>
                    <a:lnTo>
                      <a:pt x="232" y="115"/>
                    </a:lnTo>
                    <a:close/>
                    <a:moveTo>
                      <a:pt x="232" y="0"/>
                    </a:moveTo>
                    <a:lnTo>
                      <a:pt x="270" y="3"/>
                    </a:lnTo>
                    <a:lnTo>
                      <a:pt x="305" y="12"/>
                    </a:lnTo>
                    <a:lnTo>
                      <a:pt x="338" y="26"/>
                    </a:lnTo>
                    <a:lnTo>
                      <a:pt x="368" y="45"/>
                    </a:lnTo>
                    <a:lnTo>
                      <a:pt x="395" y="68"/>
                    </a:lnTo>
                    <a:lnTo>
                      <a:pt x="419" y="95"/>
                    </a:lnTo>
                    <a:lnTo>
                      <a:pt x="437" y="124"/>
                    </a:lnTo>
                    <a:lnTo>
                      <a:pt x="452" y="157"/>
                    </a:lnTo>
                    <a:lnTo>
                      <a:pt x="461" y="193"/>
                    </a:lnTo>
                    <a:lnTo>
                      <a:pt x="464" y="230"/>
                    </a:lnTo>
                    <a:lnTo>
                      <a:pt x="461" y="267"/>
                    </a:lnTo>
                    <a:lnTo>
                      <a:pt x="452" y="302"/>
                    </a:lnTo>
                    <a:lnTo>
                      <a:pt x="437" y="335"/>
                    </a:lnTo>
                    <a:lnTo>
                      <a:pt x="419" y="365"/>
                    </a:lnTo>
                    <a:lnTo>
                      <a:pt x="395" y="391"/>
                    </a:lnTo>
                    <a:lnTo>
                      <a:pt x="368" y="415"/>
                    </a:lnTo>
                    <a:lnTo>
                      <a:pt x="338" y="433"/>
                    </a:lnTo>
                    <a:lnTo>
                      <a:pt x="305" y="447"/>
                    </a:lnTo>
                    <a:lnTo>
                      <a:pt x="270" y="456"/>
                    </a:lnTo>
                    <a:lnTo>
                      <a:pt x="232" y="458"/>
                    </a:lnTo>
                    <a:lnTo>
                      <a:pt x="194" y="456"/>
                    </a:lnTo>
                    <a:lnTo>
                      <a:pt x="159" y="447"/>
                    </a:lnTo>
                    <a:lnTo>
                      <a:pt x="126" y="433"/>
                    </a:lnTo>
                    <a:lnTo>
                      <a:pt x="95" y="415"/>
                    </a:lnTo>
                    <a:lnTo>
                      <a:pt x="69" y="391"/>
                    </a:lnTo>
                    <a:lnTo>
                      <a:pt x="45" y="365"/>
                    </a:lnTo>
                    <a:lnTo>
                      <a:pt x="26" y="335"/>
                    </a:lnTo>
                    <a:lnTo>
                      <a:pt x="12" y="302"/>
                    </a:lnTo>
                    <a:lnTo>
                      <a:pt x="3" y="267"/>
                    </a:lnTo>
                    <a:lnTo>
                      <a:pt x="0" y="230"/>
                    </a:lnTo>
                    <a:lnTo>
                      <a:pt x="3" y="193"/>
                    </a:lnTo>
                    <a:lnTo>
                      <a:pt x="12" y="157"/>
                    </a:lnTo>
                    <a:lnTo>
                      <a:pt x="26" y="124"/>
                    </a:lnTo>
                    <a:lnTo>
                      <a:pt x="45" y="95"/>
                    </a:lnTo>
                    <a:lnTo>
                      <a:pt x="69" y="68"/>
                    </a:lnTo>
                    <a:lnTo>
                      <a:pt x="95" y="45"/>
                    </a:lnTo>
                    <a:lnTo>
                      <a:pt x="126" y="26"/>
                    </a:lnTo>
                    <a:lnTo>
                      <a:pt x="159" y="12"/>
                    </a:lnTo>
                    <a:lnTo>
                      <a:pt x="194" y="3"/>
                    </a:lnTo>
                    <a:lnTo>
                      <a:pt x="232"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31" name="Freeform 20"/>
              <p:cNvSpPr/>
              <p:nvPr/>
            </p:nvSpPr>
            <p:spPr bwMode="auto">
              <a:xfrm>
                <a:off x="5592763" y="2840038"/>
                <a:ext cx="61913" cy="20638"/>
              </a:xfrm>
              <a:custGeom>
                <a:avLst/>
                <a:gdLst>
                  <a:gd name="T0" fmla="*/ 58 w 348"/>
                  <a:gd name="T1" fmla="*/ 0 h 115"/>
                  <a:gd name="T2" fmla="*/ 290 w 348"/>
                  <a:gd name="T3" fmla="*/ 0 h 115"/>
                  <a:gd name="T4" fmla="*/ 308 w 348"/>
                  <a:gd name="T5" fmla="*/ 4 h 115"/>
                  <a:gd name="T6" fmla="*/ 324 w 348"/>
                  <a:gd name="T7" fmla="*/ 11 h 115"/>
                  <a:gd name="T8" fmla="*/ 336 w 348"/>
                  <a:gd name="T9" fmla="*/ 24 h 115"/>
                  <a:gd name="T10" fmla="*/ 345 w 348"/>
                  <a:gd name="T11" fmla="*/ 40 h 115"/>
                  <a:gd name="T12" fmla="*/ 348 w 348"/>
                  <a:gd name="T13" fmla="*/ 58 h 115"/>
                  <a:gd name="T14" fmla="*/ 345 w 348"/>
                  <a:gd name="T15" fmla="*/ 76 h 115"/>
                  <a:gd name="T16" fmla="*/ 336 w 348"/>
                  <a:gd name="T17" fmla="*/ 92 h 115"/>
                  <a:gd name="T18" fmla="*/ 324 w 348"/>
                  <a:gd name="T19" fmla="*/ 103 h 115"/>
                  <a:gd name="T20" fmla="*/ 308 w 348"/>
                  <a:gd name="T21" fmla="*/ 112 h 115"/>
                  <a:gd name="T22" fmla="*/ 290 w 348"/>
                  <a:gd name="T23" fmla="*/ 115 h 115"/>
                  <a:gd name="T24" fmla="*/ 58 w 348"/>
                  <a:gd name="T25" fmla="*/ 115 h 115"/>
                  <a:gd name="T26" fmla="*/ 40 w 348"/>
                  <a:gd name="T27" fmla="*/ 112 h 115"/>
                  <a:gd name="T28" fmla="*/ 23 w 348"/>
                  <a:gd name="T29" fmla="*/ 103 h 115"/>
                  <a:gd name="T30" fmla="*/ 12 w 348"/>
                  <a:gd name="T31" fmla="*/ 92 h 115"/>
                  <a:gd name="T32" fmla="*/ 3 w 348"/>
                  <a:gd name="T33" fmla="*/ 76 h 115"/>
                  <a:gd name="T34" fmla="*/ 0 w 348"/>
                  <a:gd name="T35" fmla="*/ 58 h 115"/>
                  <a:gd name="T36" fmla="*/ 3 w 348"/>
                  <a:gd name="T37" fmla="*/ 40 h 115"/>
                  <a:gd name="T38" fmla="*/ 12 w 348"/>
                  <a:gd name="T39" fmla="*/ 24 h 115"/>
                  <a:gd name="T40" fmla="*/ 23 w 348"/>
                  <a:gd name="T41" fmla="*/ 11 h 115"/>
                  <a:gd name="T42" fmla="*/ 40 w 348"/>
                  <a:gd name="T43" fmla="*/ 4 h 115"/>
                  <a:gd name="T44" fmla="*/ 58 w 348"/>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8" h="115">
                    <a:moveTo>
                      <a:pt x="58" y="0"/>
                    </a:moveTo>
                    <a:lnTo>
                      <a:pt x="290" y="0"/>
                    </a:lnTo>
                    <a:lnTo>
                      <a:pt x="308" y="4"/>
                    </a:lnTo>
                    <a:lnTo>
                      <a:pt x="324" y="11"/>
                    </a:lnTo>
                    <a:lnTo>
                      <a:pt x="336" y="24"/>
                    </a:lnTo>
                    <a:lnTo>
                      <a:pt x="345" y="40"/>
                    </a:lnTo>
                    <a:lnTo>
                      <a:pt x="348" y="58"/>
                    </a:lnTo>
                    <a:lnTo>
                      <a:pt x="345" y="76"/>
                    </a:lnTo>
                    <a:lnTo>
                      <a:pt x="336" y="92"/>
                    </a:lnTo>
                    <a:lnTo>
                      <a:pt x="324" y="103"/>
                    </a:lnTo>
                    <a:lnTo>
                      <a:pt x="308" y="112"/>
                    </a:lnTo>
                    <a:lnTo>
                      <a:pt x="290" y="115"/>
                    </a:lnTo>
                    <a:lnTo>
                      <a:pt x="58" y="115"/>
                    </a:lnTo>
                    <a:lnTo>
                      <a:pt x="40" y="112"/>
                    </a:lnTo>
                    <a:lnTo>
                      <a:pt x="23" y="103"/>
                    </a:lnTo>
                    <a:lnTo>
                      <a:pt x="12" y="92"/>
                    </a:lnTo>
                    <a:lnTo>
                      <a:pt x="3" y="76"/>
                    </a:lnTo>
                    <a:lnTo>
                      <a:pt x="0" y="58"/>
                    </a:lnTo>
                    <a:lnTo>
                      <a:pt x="3" y="40"/>
                    </a:lnTo>
                    <a:lnTo>
                      <a:pt x="12" y="24"/>
                    </a:lnTo>
                    <a:lnTo>
                      <a:pt x="23" y="11"/>
                    </a:lnTo>
                    <a:lnTo>
                      <a:pt x="40" y="4"/>
                    </a:lnTo>
                    <a:lnTo>
                      <a:pt x="58"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32" name="Freeform 21"/>
              <p:cNvSpPr/>
              <p:nvPr/>
            </p:nvSpPr>
            <p:spPr bwMode="auto">
              <a:xfrm>
                <a:off x="5664201" y="2840038"/>
                <a:ext cx="31750" cy="20638"/>
              </a:xfrm>
              <a:custGeom>
                <a:avLst/>
                <a:gdLst>
                  <a:gd name="T0" fmla="*/ 58 w 173"/>
                  <a:gd name="T1" fmla="*/ 0 h 115"/>
                  <a:gd name="T2" fmla="*/ 115 w 173"/>
                  <a:gd name="T3" fmla="*/ 0 h 115"/>
                  <a:gd name="T4" fmla="*/ 133 w 173"/>
                  <a:gd name="T5" fmla="*/ 4 h 115"/>
                  <a:gd name="T6" fmla="*/ 149 w 173"/>
                  <a:gd name="T7" fmla="*/ 11 h 115"/>
                  <a:gd name="T8" fmla="*/ 162 w 173"/>
                  <a:gd name="T9" fmla="*/ 24 h 115"/>
                  <a:gd name="T10" fmla="*/ 170 w 173"/>
                  <a:gd name="T11" fmla="*/ 40 h 115"/>
                  <a:gd name="T12" fmla="*/ 173 w 173"/>
                  <a:gd name="T13" fmla="*/ 58 h 115"/>
                  <a:gd name="T14" fmla="*/ 170 w 173"/>
                  <a:gd name="T15" fmla="*/ 76 h 115"/>
                  <a:gd name="T16" fmla="*/ 162 w 173"/>
                  <a:gd name="T17" fmla="*/ 92 h 115"/>
                  <a:gd name="T18" fmla="*/ 149 w 173"/>
                  <a:gd name="T19" fmla="*/ 103 h 115"/>
                  <a:gd name="T20" fmla="*/ 133 w 173"/>
                  <a:gd name="T21" fmla="*/ 112 h 115"/>
                  <a:gd name="T22" fmla="*/ 115 w 173"/>
                  <a:gd name="T23" fmla="*/ 115 h 115"/>
                  <a:gd name="T24" fmla="*/ 58 w 173"/>
                  <a:gd name="T25" fmla="*/ 115 h 115"/>
                  <a:gd name="T26" fmla="*/ 40 w 173"/>
                  <a:gd name="T27" fmla="*/ 112 h 115"/>
                  <a:gd name="T28" fmla="*/ 24 w 173"/>
                  <a:gd name="T29" fmla="*/ 103 h 115"/>
                  <a:gd name="T30" fmla="*/ 11 w 173"/>
                  <a:gd name="T31" fmla="*/ 92 h 115"/>
                  <a:gd name="T32" fmla="*/ 2 w 173"/>
                  <a:gd name="T33" fmla="*/ 76 h 115"/>
                  <a:gd name="T34" fmla="*/ 0 w 173"/>
                  <a:gd name="T35" fmla="*/ 58 h 115"/>
                  <a:gd name="T36" fmla="*/ 2 w 173"/>
                  <a:gd name="T37" fmla="*/ 40 h 115"/>
                  <a:gd name="T38" fmla="*/ 11 w 173"/>
                  <a:gd name="T39" fmla="*/ 24 h 115"/>
                  <a:gd name="T40" fmla="*/ 24 w 173"/>
                  <a:gd name="T41" fmla="*/ 11 h 115"/>
                  <a:gd name="T42" fmla="*/ 40 w 173"/>
                  <a:gd name="T43" fmla="*/ 4 h 115"/>
                  <a:gd name="T44" fmla="*/ 58 w 173"/>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3" h="115">
                    <a:moveTo>
                      <a:pt x="58" y="0"/>
                    </a:moveTo>
                    <a:lnTo>
                      <a:pt x="115" y="0"/>
                    </a:lnTo>
                    <a:lnTo>
                      <a:pt x="133" y="4"/>
                    </a:lnTo>
                    <a:lnTo>
                      <a:pt x="149" y="11"/>
                    </a:lnTo>
                    <a:lnTo>
                      <a:pt x="162" y="24"/>
                    </a:lnTo>
                    <a:lnTo>
                      <a:pt x="170" y="40"/>
                    </a:lnTo>
                    <a:lnTo>
                      <a:pt x="173" y="58"/>
                    </a:lnTo>
                    <a:lnTo>
                      <a:pt x="170" y="76"/>
                    </a:lnTo>
                    <a:lnTo>
                      <a:pt x="162" y="92"/>
                    </a:lnTo>
                    <a:lnTo>
                      <a:pt x="149" y="103"/>
                    </a:lnTo>
                    <a:lnTo>
                      <a:pt x="133" y="112"/>
                    </a:lnTo>
                    <a:lnTo>
                      <a:pt x="115" y="115"/>
                    </a:lnTo>
                    <a:lnTo>
                      <a:pt x="58" y="115"/>
                    </a:lnTo>
                    <a:lnTo>
                      <a:pt x="40" y="112"/>
                    </a:lnTo>
                    <a:lnTo>
                      <a:pt x="24" y="103"/>
                    </a:lnTo>
                    <a:lnTo>
                      <a:pt x="11" y="92"/>
                    </a:lnTo>
                    <a:lnTo>
                      <a:pt x="2" y="76"/>
                    </a:lnTo>
                    <a:lnTo>
                      <a:pt x="0" y="58"/>
                    </a:lnTo>
                    <a:lnTo>
                      <a:pt x="2" y="40"/>
                    </a:lnTo>
                    <a:lnTo>
                      <a:pt x="11" y="24"/>
                    </a:lnTo>
                    <a:lnTo>
                      <a:pt x="24" y="11"/>
                    </a:lnTo>
                    <a:lnTo>
                      <a:pt x="40" y="4"/>
                    </a:lnTo>
                    <a:lnTo>
                      <a:pt x="58"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33" name="Freeform 22"/>
              <p:cNvSpPr/>
              <p:nvPr/>
            </p:nvSpPr>
            <p:spPr bwMode="auto">
              <a:xfrm>
                <a:off x="5357813" y="2927350"/>
                <a:ext cx="23813" cy="30163"/>
              </a:xfrm>
              <a:custGeom>
                <a:avLst/>
                <a:gdLst>
                  <a:gd name="T0" fmla="*/ 59 w 131"/>
                  <a:gd name="T1" fmla="*/ 0 h 169"/>
                  <a:gd name="T2" fmla="*/ 74 w 131"/>
                  <a:gd name="T3" fmla="*/ 2 h 169"/>
                  <a:gd name="T4" fmla="*/ 87 w 131"/>
                  <a:gd name="T5" fmla="*/ 8 h 169"/>
                  <a:gd name="T6" fmla="*/ 99 w 131"/>
                  <a:gd name="T7" fmla="*/ 17 h 169"/>
                  <a:gd name="T8" fmla="*/ 108 w 131"/>
                  <a:gd name="T9" fmla="*/ 29 h 169"/>
                  <a:gd name="T10" fmla="*/ 114 w 131"/>
                  <a:gd name="T11" fmla="*/ 43 h 169"/>
                  <a:gd name="T12" fmla="*/ 129 w 131"/>
                  <a:gd name="T13" fmla="*/ 97 h 169"/>
                  <a:gd name="T14" fmla="*/ 131 w 131"/>
                  <a:gd name="T15" fmla="*/ 112 h 169"/>
                  <a:gd name="T16" fmla="*/ 129 w 131"/>
                  <a:gd name="T17" fmla="*/ 127 h 169"/>
                  <a:gd name="T18" fmla="*/ 124 w 131"/>
                  <a:gd name="T19" fmla="*/ 140 h 169"/>
                  <a:gd name="T20" fmla="*/ 114 w 131"/>
                  <a:gd name="T21" fmla="*/ 152 h 169"/>
                  <a:gd name="T22" fmla="*/ 102 w 131"/>
                  <a:gd name="T23" fmla="*/ 162 h 169"/>
                  <a:gd name="T24" fmla="*/ 88 w 131"/>
                  <a:gd name="T25" fmla="*/ 167 h 169"/>
                  <a:gd name="T26" fmla="*/ 81 w 131"/>
                  <a:gd name="T27" fmla="*/ 168 h 169"/>
                  <a:gd name="T28" fmla="*/ 73 w 131"/>
                  <a:gd name="T29" fmla="*/ 169 h 169"/>
                  <a:gd name="T30" fmla="*/ 58 w 131"/>
                  <a:gd name="T31" fmla="*/ 167 h 169"/>
                  <a:gd name="T32" fmla="*/ 44 w 131"/>
                  <a:gd name="T33" fmla="*/ 162 h 169"/>
                  <a:gd name="T34" fmla="*/ 32 w 131"/>
                  <a:gd name="T35" fmla="*/ 153 h 169"/>
                  <a:gd name="T36" fmla="*/ 24 w 131"/>
                  <a:gd name="T37" fmla="*/ 141 h 169"/>
                  <a:gd name="T38" fmla="*/ 17 w 131"/>
                  <a:gd name="T39" fmla="*/ 127 h 169"/>
                  <a:gd name="T40" fmla="*/ 2 w 131"/>
                  <a:gd name="T41" fmla="*/ 72 h 169"/>
                  <a:gd name="T42" fmla="*/ 0 w 131"/>
                  <a:gd name="T43" fmla="*/ 54 h 169"/>
                  <a:gd name="T44" fmla="*/ 4 w 131"/>
                  <a:gd name="T45" fmla="*/ 37 h 169"/>
                  <a:gd name="T46" fmla="*/ 13 w 131"/>
                  <a:gd name="T47" fmla="*/ 22 h 169"/>
                  <a:gd name="T48" fmla="*/ 27 w 131"/>
                  <a:gd name="T49" fmla="*/ 10 h 169"/>
                  <a:gd name="T50" fmla="*/ 43 w 131"/>
                  <a:gd name="T51" fmla="*/ 2 h 169"/>
                  <a:gd name="T52" fmla="*/ 59 w 131"/>
                  <a:gd name="T5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169">
                    <a:moveTo>
                      <a:pt x="59" y="0"/>
                    </a:moveTo>
                    <a:lnTo>
                      <a:pt x="74" y="2"/>
                    </a:lnTo>
                    <a:lnTo>
                      <a:pt x="87" y="8"/>
                    </a:lnTo>
                    <a:lnTo>
                      <a:pt x="99" y="17"/>
                    </a:lnTo>
                    <a:lnTo>
                      <a:pt x="108" y="29"/>
                    </a:lnTo>
                    <a:lnTo>
                      <a:pt x="114" y="43"/>
                    </a:lnTo>
                    <a:lnTo>
                      <a:pt x="129" y="97"/>
                    </a:lnTo>
                    <a:lnTo>
                      <a:pt x="131" y="112"/>
                    </a:lnTo>
                    <a:lnTo>
                      <a:pt x="129" y="127"/>
                    </a:lnTo>
                    <a:lnTo>
                      <a:pt x="124" y="140"/>
                    </a:lnTo>
                    <a:lnTo>
                      <a:pt x="114" y="152"/>
                    </a:lnTo>
                    <a:lnTo>
                      <a:pt x="102" y="162"/>
                    </a:lnTo>
                    <a:lnTo>
                      <a:pt x="88" y="167"/>
                    </a:lnTo>
                    <a:lnTo>
                      <a:pt x="81" y="168"/>
                    </a:lnTo>
                    <a:lnTo>
                      <a:pt x="73" y="169"/>
                    </a:lnTo>
                    <a:lnTo>
                      <a:pt x="58" y="167"/>
                    </a:lnTo>
                    <a:lnTo>
                      <a:pt x="44" y="162"/>
                    </a:lnTo>
                    <a:lnTo>
                      <a:pt x="32" y="153"/>
                    </a:lnTo>
                    <a:lnTo>
                      <a:pt x="24" y="141"/>
                    </a:lnTo>
                    <a:lnTo>
                      <a:pt x="17" y="127"/>
                    </a:lnTo>
                    <a:lnTo>
                      <a:pt x="2" y="72"/>
                    </a:lnTo>
                    <a:lnTo>
                      <a:pt x="0" y="54"/>
                    </a:lnTo>
                    <a:lnTo>
                      <a:pt x="4" y="37"/>
                    </a:lnTo>
                    <a:lnTo>
                      <a:pt x="13" y="22"/>
                    </a:lnTo>
                    <a:lnTo>
                      <a:pt x="27" y="10"/>
                    </a:lnTo>
                    <a:lnTo>
                      <a:pt x="43" y="2"/>
                    </a:lnTo>
                    <a:lnTo>
                      <a:pt x="59"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34" name="Freeform 23"/>
              <p:cNvSpPr/>
              <p:nvPr/>
            </p:nvSpPr>
            <p:spPr bwMode="auto">
              <a:xfrm>
                <a:off x="5348288" y="2879725"/>
                <a:ext cx="20638" cy="30163"/>
              </a:xfrm>
              <a:custGeom>
                <a:avLst/>
                <a:gdLst>
                  <a:gd name="T0" fmla="*/ 54 w 119"/>
                  <a:gd name="T1" fmla="*/ 0 h 170"/>
                  <a:gd name="T2" fmla="*/ 73 w 119"/>
                  <a:gd name="T3" fmla="*/ 1 h 170"/>
                  <a:gd name="T4" fmla="*/ 90 w 119"/>
                  <a:gd name="T5" fmla="*/ 7 h 170"/>
                  <a:gd name="T6" fmla="*/ 104 w 119"/>
                  <a:gd name="T7" fmla="*/ 18 h 170"/>
                  <a:gd name="T8" fmla="*/ 114 w 119"/>
                  <a:gd name="T9" fmla="*/ 33 h 170"/>
                  <a:gd name="T10" fmla="*/ 119 w 119"/>
                  <a:gd name="T11" fmla="*/ 49 h 170"/>
                  <a:gd name="T12" fmla="*/ 118 w 119"/>
                  <a:gd name="T13" fmla="*/ 68 h 170"/>
                  <a:gd name="T14" fmla="*/ 116 w 119"/>
                  <a:gd name="T15" fmla="*/ 93 h 170"/>
                  <a:gd name="T16" fmla="*/ 116 w 119"/>
                  <a:gd name="T17" fmla="*/ 100 h 170"/>
                  <a:gd name="T18" fmla="*/ 117 w 119"/>
                  <a:gd name="T19" fmla="*/ 107 h 170"/>
                  <a:gd name="T20" fmla="*/ 116 w 119"/>
                  <a:gd name="T21" fmla="*/ 125 h 170"/>
                  <a:gd name="T22" fmla="*/ 108 w 119"/>
                  <a:gd name="T23" fmla="*/ 142 h 170"/>
                  <a:gd name="T24" fmla="*/ 98 w 119"/>
                  <a:gd name="T25" fmla="*/ 155 h 170"/>
                  <a:gd name="T26" fmla="*/ 83 w 119"/>
                  <a:gd name="T27" fmla="*/ 165 h 170"/>
                  <a:gd name="T28" fmla="*/ 64 w 119"/>
                  <a:gd name="T29" fmla="*/ 170 h 170"/>
                  <a:gd name="T30" fmla="*/ 62 w 119"/>
                  <a:gd name="T31" fmla="*/ 170 h 170"/>
                  <a:gd name="T32" fmla="*/ 59 w 119"/>
                  <a:gd name="T33" fmla="*/ 170 h 170"/>
                  <a:gd name="T34" fmla="*/ 42 w 119"/>
                  <a:gd name="T35" fmla="*/ 168 h 170"/>
                  <a:gd name="T36" fmla="*/ 27 w 119"/>
                  <a:gd name="T37" fmla="*/ 160 h 170"/>
                  <a:gd name="T38" fmla="*/ 14 w 119"/>
                  <a:gd name="T39" fmla="*/ 150 h 170"/>
                  <a:gd name="T40" fmla="*/ 5 w 119"/>
                  <a:gd name="T41" fmla="*/ 135 h 170"/>
                  <a:gd name="T42" fmla="*/ 1 w 119"/>
                  <a:gd name="T43" fmla="*/ 118 h 170"/>
                  <a:gd name="T44" fmla="*/ 0 w 119"/>
                  <a:gd name="T45" fmla="*/ 93 h 170"/>
                  <a:gd name="T46" fmla="*/ 1 w 119"/>
                  <a:gd name="T47" fmla="*/ 70 h 170"/>
                  <a:gd name="T48" fmla="*/ 5 w 119"/>
                  <a:gd name="T49" fmla="*/ 45 h 170"/>
                  <a:gd name="T50" fmla="*/ 11 w 119"/>
                  <a:gd name="T51" fmla="*/ 28 h 170"/>
                  <a:gd name="T52" fmla="*/ 22 w 119"/>
                  <a:gd name="T53" fmla="*/ 15 h 170"/>
                  <a:gd name="T54" fmla="*/ 36 w 119"/>
                  <a:gd name="T55" fmla="*/ 5 h 170"/>
                  <a:gd name="T56" fmla="*/ 54 w 119"/>
                  <a:gd name="T5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9" h="170">
                    <a:moveTo>
                      <a:pt x="54" y="0"/>
                    </a:moveTo>
                    <a:lnTo>
                      <a:pt x="73" y="1"/>
                    </a:lnTo>
                    <a:lnTo>
                      <a:pt x="90" y="7"/>
                    </a:lnTo>
                    <a:lnTo>
                      <a:pt x="104" y="18"/>
                    </a:lnTo>
                    <a:lnTo>
                      <a:pt x="114" y="33"/>
                    </a:lnTo>
                    <a:lnTo>
                      <a:pt x="119" y="49"/>
                    </a:lnTo>
                    <a:lnTo>
                      <a:pt x="118" y="68"/>
                    </a:lnTo>
                    <a:lnTo>
                      <a:pt x="116" y="93"/>
                    </a:lnTo>
                    <a:lnTo>
                      <a:pt x="116" y="100"/>
                    </a:lnTo>
                    <a:lnTo>
                      <a:pt x="117" y="107"/>
                    </a:lnTo>
                    <a:lnTo>
                      <a:pt x="116" y="125"/>
                    </a:lnTo>
                    <a:lnTo>
                      <a:pt x="108" y="142"/>
                    </a:lnTo>
                    <a:lnTo>
                      <a:pt x="98" y="155"/>
                    </a:lnTo>
                    <a:lnTo>
                      <a:pt x="83" y="165"/>
                    </a:lnTo>
                    <a:lnTo>
                      <a:pt x="64" y="170"/>
                    </a:lnTo>
                    <a:lnTo>
                      <a:pt x="62" y="170"/>
                    </a:lnTo>
                    <a:lnTo>
                      <a:pt x="59" y="170"/>
                    </a:lnTo>
                    <a:lnTo>
                      <a:pt x="42" y="168"/>
                    </a:lnTo>
                    <a:lnTo>
                      <a:pt x="27" y="160"/>
                    </a:lnTo>
                    <a:lnTo>
                      <a:pt x="14" y="150"/>
                    </a:lnTo>
                    <a:lnTo>
                      <a:pt x="5" y="135"/>
                    </a:lnTo>
                    <a:lnTo>
                      <a:pt x="1" y="118"/>
                    </a:lnTo>
                    <a:lnTo>
                      <a:pt x="0" y="93"/>
                    </a:lnTo>
                    <a:lnTo>
                      <a:pt x="1" y="70"/>
                    </a:lnTo>
                    <a:lnTo>
                      <a:pt x="5" y="45"/>
                    </a:lnTo>
                    <a:lnTo>
                      <a:pt x="11" y="28"/>
                    </a:lnTo>
                    <a:lnTo>
                      <a:pt x="22" y="15"/>
                    </a:lnTo>
                    <a:lnTo>
                      <a:pt x="36" y="5"/>
                    </a:lnTo>
                    <a:lnTo>
                      <a:pt x="54"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35" name="Freeform 24"/>
              <p:cNvSpPr/>
              <p:nvPr/>
            </p:nvSpPr>
            <p:spPr bwMode="auto">
              <a:xfrm>
                <a:off x="5384801" y="3022600"/>
                <a:ext cx="22225" cy="30163"/>
              </a:xfrm>
              <a:custGeom>
                <a:avLst/>
                <a:gdLst>
                  <a:gd name="T0" fmla="*/ 61 w 130"/>
                  <a:gd name="T1" fmla="*/ 0 h 169"/>
                  <a:gd name="T2" fmla="*/ 79 w 130"/>
                  <a:gd name="T3" fmla="*/ 5 h 169"/>
                  <a:gd name="T4" fmla="*/ 94 w 130"/>
                  <a:gd name="T5" fmla="*/ 13 h 169"/>
                  <a:gd name="T6" fmla="*/ 107 w 130"/>
                  <a:gd name="T7" fmla="*/ 26 h 169"/>
                  <a:gd name="T8" fmla="*/ 114 w 130"/>
                  <a:gd name="T9" fmla="*/ 43 h 169"/>
                  <a:gd name="T10" fmla="*/ 128 w 130"/>
                  <a:gd name="T11" fmla="*/ 97 h 169"/>
                  <a:gd name="T12" fmla="*/ 130 w 130"/>
                  <a:gd name="T13" fmla="*/ 112 h 169"/>
                  <a:gd name="T14" fmla="*/ 128 w 130"/>
                  <a:gd name="T15" fmla="*/ 127 h 169"/>
                  <a:gd name="T16" fmla="*/ 123 w 130"/>
                  <a:gd name="T17" fmla="*/ 141 h 169"/>
                  <a:gd name="T18" fmla="*/ 114 w 130"/>
                  <a:gd name="T19" fmla="*/ 152 h 169"/>
                  <a:gd name="T20" fmla="*/ 101 w 130"/>
                  <a:gd name="T21" fmla="*/ 162 h 169"/>
                  <a:gd name="T22" fmla="*/ 87 w 130"/>
                  <a:gd name="T23" fmla="*/ 167 h 169"/>
                  <a:gd name="T24" fmla="*/ 80 w 130"/>
                  <a:gd name="T25" fmla="*/ 169 h 169"/>
                  <a:gd name="T26" fmla="*/ 72 w 130"/>
                  <a:gd name="T27" fmla="*/ 169 h 169"/>
                  <a:gd name="T28" fmla="*/ 57 w 130"/>
                  <a:gd name="T29" fmla="*/ 167 h 169"/>
                  <a:gd name="T30" fmla="*/ 43 w 130"/>
                  <a:gd name="T31" fmla="*/ 162 h 169"/>
                  <a:gd name="T32" fmla="*/ 31 w 130"/>
                  <a:gd name="T33" fmla="*/ 152 h 169"/>
                  <a:gd name="T34" fmla="*/ 23 w 130"/>
                  <a:gd name="T35" fmla="*/ 141 h 169"/>
                  <a:gd name="T36" fmla="*/ 16 w 130"/>
                  <a:gd name="T37" fmla="*/ 127 h 169"/>
                  <a:gd name="T38" fmla="*/ 2 w 130"/>
                  <a:gd name="T39" fmla="*/ 73 h 169"/>
                  <a:gd name="T40" fmla="*/ 0 w 130"/>
                  <a:gd name="T41" fmla="*/ 58 h 169"/>
                  <a:gd name="T42" fmla="*/ 2 w 130"/>
                  <a:gd name="T43" fmla="*/ 43 h 169"/>
                  <a:gd name="T44" fmla="*/ 8 w 130"/>
                  <a:gd name="T45" fmla="*/ 29 h 169"/>
                  <a:gd name="T46" fmla="*/ 16 w 130"/>
                  <a:gd name="T47" fmla="*/ 17 h 169"/>
                  <a:gd name="T48" fmla="*/ 28 w 130"/>
                  <a:gd name="T49" fmla="*/ 9 h 169"/>
                  <a:gd name="T50" fmla="*/ 43 w 130"/>
                  <a:gd name="T51" fmla="*/ 2 h 169"/>
                  <a:gd name="T52" fmla="*/ 61 w 130"/>
                  <a:gd name="T5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69">
                    <a:moveTo>
                      <a:pt x="61" y="0"/>
                    </a:moveTo>
                    <a:lnTo>
                      <a:pt x="79" y="5"/>
                    </a:lnTo>
                    <a:lnTo>
                      <a:pt x="94" y="13"/>
                    </a:lnTo>
                    <a:lnTo>
                      <a:pt x="107" y="26"/>
                    </a:lnTo>
                    <a:lnTo>
                      <a:pt x="114" y="43"/>
                    </a:lnTo>
                    <a:lnTo>
                      <a:pt x="128" y="97"/>
                    </a:lnTo>
                    <a:lnTo>
                      <a:pt x="130" y="112"/>
                    </a:lnTo>
                    <a:lnTo>
                      <a:pt x="128" y="127"/>
                    </a:lnTo>
                    <a:lnTo>
                      <a:pt x="123" y="141"/>
                    </a:lnTo>
                    <a:lnTo>
                      <a:pt x="114" y="152"/>
                    </a:lnTo>
                    <a:lnTo>
                      <a:pt x="101" y="162"/>
                    </a:lnTo>
                    <a:lnTo>
                      <a:pt x="87" y="167"/>
                    </a:lnTo>
                    <a:lnTo>
                      <a:pt x="80" y="169"/>
                    </a:lnTo>
                    <a:lnTo>
                      <a:pt x="72" y="169"/>
                    </a:lnTo>
                    <a:lnTo>
                      <a:pt x="57" y="167"/>
                    </a:lnTo>
                    <a:lnTo>
                      <a:pt x="43" y="162"/>
                    </a:lnTo>
                    <a:lnTo>
                      <a:pt x="31" y="152"/>
                    </a:lnTo>
                    <a:lnTo>
                      <a:pt x="23" y="141"/>
                    </a:lnTo>
                    <a:lnTo>
                      <a:pt x="16" y="127"/>
                    </a:lnTo>
                    <a:lnTo>
                      <a:pt x="2" y="73"/>
                    </a:lnTo>
                    <a:lnTo>
                      <a:pt x="0" y="58"/>
                    </a:lnTo>
                    <a:lnTo>
                      <a:pt x="2" y="43"/>
                    </a:lnTo>
                    <a:lnTo>
                      <a:pt x="8" y="29"/>
                    </a:lnTo>
                    <a:lnTo>
                      <a:pt x="16" y="17"/>
                    </a:lnTo>
                    <a:lnTo>
                      <a:pt x="28" y="9"/>
                    </a:lnTo>
                    <a:lnTo>
                      <a:pt x="43" y="2"/>
                    </a:lnTo>
                    <a:lnTo>
                      <a:pt x="61"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36" name="Freeform 25"/>
              <p:cNvSpPr/>
              <p:nvPr/>
            </p:nvSpPr>
            <p:spPr bwMode="auto">
              <a:xfrm>
                <a:off x="5435601" y="3214688"/>
                <a:ext cx="23813" cy="28575"/>
              </a:xfrm>
              <a:custGeom>
                <a:avLst/>
                <a:gdLst>
                  <a:gd name="T0" fmla="*/ 59 w 131"/>
                  <a:gd name="T1" fmla="*/ 0 h 169"/>
                  <a:gd name="T2" fmla="*/ 74 w 131"/>
                  <a:gd name="T3" fmla="*/ 2 h 169"/>
                  <a:gd name="T4" fmla="*/ 87 w 131"/>
                  <a:gd name="T5" fmla="*/ 8 h 169"/>
                  <a:gd name="T6" fmla="*/ 98 w 131"/>
                  <a:gd name="T7" fmla="*/ 17 h 169"/>
                  <a:gd name="T8" fmla="*/ 108 w 131"/>
                  <a:gd name="T9" fmla="*/ 29 h 169"/>
                  <a:gd name="T10" fmla="*/ 113 w 131"/>
                  <a:gd name="T11" fmla="*/ 43 h 169"/>
                  <a:gd name="T12" fmla="*/ 129 w 131"/>
                  <a:gd name="T13" fmla="*/ 97 h 169"/>
                  <a:gd name="T14" fmla="*/ 131 w 131"/>
                  <a:gd name="T15" fmla="*/ 112 h 169"/>
                  <a:gd name="T16" fmla="*/ 129 w 131"/>
                  <a:gd name="T17" fmla="*/ 127 h 169"/>
                  <a:gd name="T18" fmla="*/ 123 w 131"/>
                  <a:gd name="T19" fmla="*/ 141 h 169"/>
                  <a:gd name="T20" fmla="*/ 113 w 131"/>
                  <a:gd name="T21" fmla="*/ 152 h 169"/>
                  <a:gd name="T22" fmla="*/ 102 w 131"/>
                  <a:gd name="T23" fmla="*/ 161 h 169"/>
                  <a:gd name="T24" fmla="*/ 88 w 131"/>
                  <a:gd name="T25" fmla="*/ 167 h 169"/>
                  <a:gd name="T26" fmla="*/ 80 w 131"/>
                  <a:gd name="T27" fmla="*/ 168 h 169"/>
                  <a:gd name="T28" fmla="*/ 73 w 131"/>
                  <a:gd name="T29" fmla="*/ 169 h 169"/>
                  <a:gd name="T30" fmla="*/ 58 w 131"/>
                  <a:gd name="T31" fmla="*/ 167 h 169"/>
                  <a:gd name="T32" fmla="*/ 44 w 131"/>
                  <a:gd name="T33" fmla="*/ 162 h 169"/>
                  <a:gd name="T34" fmla="*/ 32 w 131"/>
                  <a:gd name="T35" fmla="*/ 152 h 169"/>
                  <a:gd name="T36" fmla="*/ 23 w 131"/>
                  <a:gd name="T37" fmla="*/ 141 h 169"/>
                  <a:gd name="T38" fmla="*/ 17 w 131"/>
                  <a:gd name="T39" fmla="*/ 127 h 169"/>
                  <a:gd name="T40" fmla="*/ 2 w 131"/>
                  <a:gd name="T41" fmla="*/ 72 h 169"/>
                  <a:gd name="T42" fmla="*/ 0 w 131"/>
                  <a:gd name="T43" fmla="*/ 58 h 169"/>
                  <a:gd name="T44" fmla="*/ 2 w 131"/>
                  <a:gd name="T45" fmla="*/ 43 h 169"/>
                  <a:gd name="T46" fmla="*/ 8 w 131"/>
                  <a:gd name="T47" fmla="*/ 29 h 169"/>
                  <a:gd name="T48" fmla="*/ 17 w 131"/>
                  <a:gd name="T49" fmla="*/ 17 h 169"/>
                  <a:gd name="T50" fmla="*/ 29 w 131"/>
                  <a:gd name="T51" fmla="*/ 9 h 169"/>
                  <a:gd name="T52" fmla="*/ 44 w 131"/>
                  <a:gd name="T53" fmla="*/ 2 h 169"/>
                  <a:gd name="T54" fmla="*/ 59 w 131"/>
                  <a:gd name="T55"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1" h="169">
                    <a:moveTo>
                      <a:pt x="59" y="0"/>
                    </a:moveTo>
                    <a:lnTo>
                      <a:pt x="74" y="2"/>
                    </a:lnTo>
                    <a:lnTo>
                      <a:pt x="87" y="8"/>
                    </a:lnTo>
                    <a:lnTo>
                      <a:pt x="98" y="17"/>
                    </a:lnTo>
                    <a:lnTo>
                      <a:pt x="108" y="29"/>
                    </a:lnTo>
                    <a:lnTo>
                      <a:pt x="113" y="43"/>
                    </a:lnTo>
                    <a:lnTo>
                      <a:pt x="129" y="97"/>
                    </a:lnTo>
                    <a:lnTo>
                      <a:pt x="131" y="112"/>
                    </a:lnTo>
                    <a:lnTo>
                      <a:pt x="129" y="127"/>
                    </a:lnTo>
                    <a:lnTo>
                      <a:pt x="123" y="141"/>
                    </a:lnTo>
                    <a:lnTo>
                      <a:pt x="113" y="152"/>
                    </a:lnTo>
                    <a:lnTo>
                      <a:pt x="102" y="161"/>
                    </a:lnTo>
                    <a:lnTo>
                      <a:pt x="88" y="167"/>
                    </a:lnTo>
                    <a:lnTo>
                      <a:pt x="80" y="168"/>
                    </a:lnTo>
                    <a:lnTo>
                      <a:pt x="73" y="169"/>
                    </a:lnTo>
                    <a:lnTo>
                      <a:pt x="58" y="167"/>
                    </a:lnTo>
                    <a:lnTo>
                      <a:pt x="44" y="162"/>
                    </a:lnTo>
                    <a:lnTo>
                      <a:pt x="32" y="152"/>
                    </a:lnTo>
                    <a:lnTo>
                      <a:pt x="23" y="141"/>
                    </a:lnTo>
                    <a:lnTo>
                      <a:pt x="17" y="127"/>
                    </a:lnTo>
                    <a:lnTo>
                      <a:pt x="2" y="72"/>
                    </a:lnTo>
                    <a:lnTo>
                      <a:pt x="0" y="58"/>
                    </a:lnTo>
                    <a:lnTo>
                      <a:pt x="2" y="43"/>
                    </a:lnTo>
                    <a:lnTo>
                      <a:pt x="8" y="29"/>
                    </a:lnTo>
                    <a:lnTo>
                      <a:pt x="17" y="17"/>
                    </a:lnTo>
                    <a:lnTo>
                      <a:pt x="29" y="9"/>
                    </a:lnTo>
                    <a:lnTo>
                      <a:pt x="44" y="2"/>
                    </a:lnTo>
                    <a:lnTo>
                      <a:pt x="59"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37" name="Freeform 26"/>
              <p:cNvSpPr/>
              <p:nvPr/>
            </p:nvSpPr>
            <p:spPr bwMode="auto">
              <a:xfrm>
                <a:off x="5370513" y="2974975"/>
                <a:ext cx="23813" cy="30163"/>
              </a:xfrm>
              <a:custGeom>
                <a:avLst/>
                <a:gdLst>
                  <a:gd name="T0" fmla="*/ 61 w 130"/>
                  <a:gd name="T1" fmla="*/ 0 h 168"/>
                  <a:gd name="T2" fmla="*/ 79 w 130"/>
                  <a:gd name="T3" fmla="*/ 3 h 168"/>
                  <a:gd name="T4" fmla="*/ 94 w 130"/>
                  <a:gd name="T5" fmla="*/ 13 h 168"/>
                  <a:gd name="T6" fmla="*/ 105 w 130"/>
                  <a:gd name="T7" fmla="*/ 26 h 168"/>
                  <a:gd name="T8" fmla="*/ 113 w 130"/>
                  <a:gd name="T9" fmla="*/ 43 h 168"/>
                  <a:gd name="T10" fmla="*/ 128 w 130"/>
                  <a:gd name="T11" fmla="*/ 97 h 168"/>
                  <a:gd name="T12" fmla="*/ 130 w 130"/>
                  <a:gd name="T13" fmla="*/ 112 h 168"/>
                  <a:gd name="T14" fmla="*/ 128 w 130"/>
                  <a:gd name="T15" fmla="*/ 127 h 168"/>
                  <a:gd name="T16" fmla="*/ 123 w 130"/>
                  <a:gd name="T17" fmla="*/ 140 h 168"/>
                  <a:gd name="T18" fmla="*/ 113 w 130"/>
                  <a:gd name="T19" fmla="*/ 151 h 168"/>
                  <a:gd name="T20" fmla="*/ 101 w 130"/>
                  <a:gd name="T21" fmla="*/ 161 h 168"/>
                  <a:gd name="T22" fmla="*/ 87 w 130"/>
                  <a:gd name="T23" fmla="*/ 166 h 168"/>
                  <a:gd name="T24" fmla="*/ 80 w 130"/>
                  <a:gd name="T25" fmla="*/ 168 h 168"/>
                  <a:gd name="T26" fmla="*/ 72 w 130"/>
                  <a:gd name="T27" fmla="*/ 168 h 168"/>
                  <a:gd name="T28" fmla="*/ 57 w 130"/>
                  <a:gd name="T29" fmla="*/ 166 h 168"/>
                  <a:gd name="T30" fmla="*/ 43 w 130"/>
                  <a:gd name="T31" fmla="*/ 161 h 168"/>
                  <a:gd name="T32" fmla="*/ 31 w 130"/>
                  <a:gd name="T33" fmla="*/ 152 h 168"/>
                  <a:gd name="T34" fmla="*/ 23 w 130"/>
                  <a:gd name="T35" fmla="*/ 141 h 168"/>
                  <a:gd name="T36" fmla="*/ 16 w 130"/>
                  <a:gd name="T37" fmla="*/ 127 h 168"/>
                  <a:gd name="T38" fmla="*/ 1 w 130"/>
                  <a:gd name="T39" fmla="*/ 73 h 168"/>
                  <a:gd name="T40" fmla="*/ 0 w 130"/>
                  <a:gd name="T41" fmla="*/ 57 h 168"/>
                  <a:gd name="T42" fmla="*/ 1 w 130"/>
                  <a:gd name="T43" fmla="*/ 42 h 168"/>
                  <a:gd name="T44" fmla="*/ 8 w 130"/>
                  <a:gd name="T45" fmla="*/ 29 h 168"/>
                  <a:gd name="T46" fmla="*/ 16 w 130"/>
                  <a:gd name="T47" fmla="*/ 17 h 168"/>
                  <a:gd name="T48" fmla="*/ 28 w 130"/>
                  <a:gd name="T49" fmla="*/ 8 h 168"/>
                  <a:gd name="T50" fmla="*/ 43 w 130"/>
                  <a:gd name="T51" fmla="*/ 2 h 168"/>
                  <a:gd name="T52" fmla="*/ 61 w 130"/>
                  <a:gd name="T5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68">
                    <a:moveTo>
                      <a:pt x="61" y="0"/>
                    </a:moveTo>
                    <a:lnTo>
                      <a:pt x="79" y="3"/>
                    </a:lnTo>
                    <a:lnTo>
                      <a:pt x="94" y="13"/>
                    </a:lnTo>
                    <a:lnTo>
                      <a:pt x="105" y="26"/>
                    </a:lnTo>
                    <a:lnTo>
                      <a:pt x="113" y="43"/>
                    </a:lnTo>
                    <a:lnTo>
                      <a:pt x="128" y="97"/>
                    </a:lnTo>
                    <a:lnTo>
                      <a:pt x="130" y="112"/>
                    </a:lnTo>
                    <a:lnTo>
                      <a:pt x="128" y="127"/>
                    </a:lnTo>
                    <a:lnTo>
                      <a:pt x="123" y="140"/>
                    </a:lnTo>
                    <a:lnTo>
                      <a:pt x="113" y="151"/>
                    </a:lnTo>
                    <a:lnTo>
                      <a:pt x="101" y="161"/>
                    </a:lnTo>
                    <a:lnTo>
                      <a:pt x="87" y="166"/>
                    </a:lnTo>
                    <a:lnTo>
                      <a:pt x="80" y="168"/>
                    </a:lnTo>
                    <a:lnTo>
                      <a:pt x="72" y="168"/>
                    </a:lnTo>
                    <a:lnTo>
                      <a:pt x="57" y="166"/>
                    </a:lnTo>
                    <a:lnTo>
                      <a:pt x="43" y="161"/>
                    </a:lnTo>
                    <a:lnTo>
                      <a:pt x="31" y="152"/>
                    </a:lnTo>
                    <a:lnTo>
                      <a:pt x="23" y="141"/>
                    </a:lnTo>
                    <a:lnTo>
                      <a:pt x="16" y="127"/>
                    </a:lnTo>
                    <a:lnTo>
                      <a:pt x="1" y="73"/>
                    </a:lnTo>
                    <a:lnTo>
                      <a:pt x="0" y="57"/>
                    </a:lnTo>
                    <a:lnTo>
                      <a:pt x="1" y="42"/>
                    </a:lnTo>
                    <a:lnTo>
                      <a:pt x="8" y="29"/>
                    </a:lnTo>
                    <a:lnTo>
                      <a:pt x="16" y="17"/>
                    </a:lnTo>
                    <a:lnTo>
                      <a:pt x="28" y="8"/>
                    </a:lnTo>
                    <a:lnTo>
                      <a:pt x="43" y="2"/>
                    </a:lnTo>
                    <a:lnTo>
                      <a:pt x="61"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38" name="Freeform 27"/>
              <p:cNvSpPr/>
              <p:nvPr/>
            </p:nvSpPr>
            <p:spPr bwMode="auto">
              <a:xfrm>
                <a:off x="5375276" y="2849563"/>
                <a:ext cx="30163" cy="23813"/>
              </a:xfrm>
              <a:custGeom>
                <a:avLst/>
                <a:gdLst>
                  <a:gd name="T0" fmla="*/ 116 w 169"/>
                  <a:gd name="T1" fmla="*/ 0 h 128"/>
                  <a:gd name="T2" fmla="*/ 133 w 169"/>
                  <a:gd name="T3" fmla="*/ 4 h 128"/>
                  <a:gd name="T4" fmla="*/ 148 w 169"/>
                  <a:gd name="T5" fmla="*/ 12 h 128"/>
                  <a:gd name="T6" fmla="*/ 160 w 169"/>
                  <a:gd name="T7" fmla="*/ 25 h 128"/>
                  <a:gd name="T8" fmla="*/ 167 w 169"/>
                  <a:gd name="T9" fmla="*/ 42 h 128"/>
                  <a:gd name="T10" fmla="*/ 169 w 169"/>
                  <a:gd name="T11" fmla="*/ 60 h 128"/>
                  <a:gd name="T12" fmla="*/ 166 w 169"/>
                  <a:gd name="T13" fmla="*/ 78 h 128"/>
                  <a:gd name="T14" fmla="*/ 156 w 169"/>
                  <a:gd name="T15" fmla="*/ 93 h 128"/>
                  <a:gd name="T16" fmla="*/ 144 w 169"/>
                  <a:gd name="T17" fmla="*/ 105 h 128"/>
                  <a:gd name="T18" fmla="*/ 126 w 169"/>
                  <a:gd name="T19" fmla="*/ 112 h 128"/>
                  <a:gd name="T20" fmla="*/ 72 w 169"/>
                  <a:gd name="T21" fmla="*/ 127 h 128"/>
                  <a:gd name="T22" fmla="*/ 64 w 169"/>
                  <a:gd name="T23" fmla="*/ 128 h 128"/>
                  <a:gd name="T24" fmla="*/ 57 w 169"/>
                  <a:gd name="T25" fmla="*/ 128 h 128"/>
                  <a:gd name="T26" fmla="*/ 41 w 169"/>
                  <a:gd name="T27" fmla="*/ 127 h 128"/>
                  <a:gd name="T28" fmla="*/ 29 w 169"/>
                  <a:gd name="T29" fmla="*/ 121 h 128"/>
                  <a:gd name="T30" fmla="*/ 17 w 169"/>
                  <a:gd name="T31" fmla="*/ 112 h 128"/>
                  <a:gd name="T32" fmla="*/ 7 w 169"/>
                  <a:gd name="T33" fmla="*/ 101 h 128"/>
                  <a:gd name="T34" fmla="*/ 1 w 169"/>
                  <a:gd name="T35" fmla="*/ 87 h 128"/>
                  <a:gd name="T36" fmla="*/ 0 w 169"/>
                  <a:gd name="T37" fmla="*/ 71 h 128"/>
                  <a:gd name="T38" fmla="*/ 1 w 169"/>
                  <a:gd name="T39" fmla="*/ 56 h 128"/>
                  <a:gd name="T40" fmla="*/ 7 w 169"/>
                  <a:gd name="T41" fmla="*/ 43 h 128"/>
                  <a:gd name="T42" fmla="*/ 16 w 169"/>
                  <a:gd name="T43" fmla="*/ 32 h 128"/>
                  <a:gd name="T44" fmla="*/ 28 w 169"/>
                  <a:gd name="T45" fmla="*/ 22 h 128"/>
                  <a:gd name="T46" fmla="*/ 41 w 169"/>
                  <a:gd name="T47" fmla="*/ 17 h 128"/>
                  <a:gd name="T48" fmla="*/ 96 w 169"/>
                  <a:gd name="T49" fmla="*/ 2 h 128"/>
                  <a:gd name="T50" fmla="*/ 116 w 169"/>
                  <a:gd name="T51"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28">
                    <a:moveTo>
                      <a:pt x="116" y="0"/>
                    </a:moveTo>
                    <a:lnTo>
                      <a:pt x="133" y="4"/>
                    </a:lnTo>
                    <a:lnTo>
                      <a:pt x="148" y="12"/>
                    </a:lnTo>
                    <a:lnTo>
                      <a:pt x="160" y="25"/>
                    </a:lnTo>
                    <a:lnTo>
                      <a:pt x="167" y="42"/>
                    </a:lnTo>
                    <a:lnTo>
                      <a:pt x="169" y="60"/>
                    </a:lnTo>
                    <a:lnTo>
                      <a:pt x="166" y="78"/>
                    </a:lnTo>
                    <a:lnTo>
                      <a:pt x="156" y="93"/>
                    </a:lnTo>
                    <a:lnTo>
                      <a:pt x="144" y="105"/>
                    </a:lnTo>
                    <a:lnTo>
                      <a:pt x="126" y="112"/>
                    </a:lnTo>
                    <a:lnTo>
                      <a:pt x="72" y="127"/>
                    </a:lnTo>
                    <a:lnTo>
                      <a:pt x="64" y="128"/>
                    </a:lnTo>
                    <a:lnTo>
                      <a:pt x="57" y="128"/>
                    </a:lnTo>
                    <a:lnTo>
                      <a:pt x="41" y="127"/>
                    </a:lnTo>
                    <a:lnTo>
                      <a:pt x="29" y="121"/>
                    </a:lnTo>
                    <a:lnTo>
                      <a:pt x="17" y="112"/>
                    </a:lnTo>
                    <a:lnTo>
                      <a:pt x="7" y="101"/>
                    </a:lnTo>
                    <a:lnTo>
                      <a:pt x="1" y="87"/>
                    </a:lnTo>
                    <a:lnTo>
                      <a:pt x="0" y="71"/>
                    </a:lnTo>
                    <a:lnTo>
                      <a:pt x="1" y="56"/>
                    </a:lnTo>
                    <a:lnTo>
                      <a:pt x="7" y="43"/>
                    </a:lnTo>
                    <a:lnTo>
                      <a:pt x="16" y="32"/>
                    </a:lnTo>
                    <a:lnTo>
                      <a:pt x="28" y="22"/>
                    </a:lnTo>
                    <a:lnTo>
                      <a:pt x="41" y="17"/>
                    </a:lnTo>
                    <a:lnTo>
                      <a:pt x="96" y="2"/>
                    </a:lnTo>
                    <a:lnTo>
                      <a:pt x="116"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39" name="Freeform 28"/>
              <p:cNvSpPr/>
              <p:nvPr/>
            </p:nvSpPr>
            <p:spPr bwMode="auto">
              <a:xfrm>
                <a:off x="5422901" y="2836863"/>
                <a:ext cx="30163" cy="23813"/>
              </a:xfrm>
              <a:custGeom>
                <a:avLst/>
                <a:gdLst>
                  <a:gd name="T0" fmla="*/ 116 w 170"/>
                  <a:gd name="T1" fmla="*/ 0 h 129"/>
                  <a:gd name="T2" fmla="*/ 133 w 170"/>
                  <a:gd name="T3" fmla="*/ 3 h 129"/>
                  <a:gd name="T4" fmla="*/ 149 w 170"/>
                  <a:gd name="T5" fmla="*/ 13 h 129"/>
                  <a:gd name="T6" fmla="*/ 161 w 170"/>
                  <a:gd name="T7" fmla="*/ 26 h 129"/>
                  <a:gd name="T8" fmla="*/ 168 w 170"/>
                  <a:gd name="T9" fmla="*/ 43 h 129"/>
                  <a:gd name="T10" fmla="*/ 170 w 170"/>
                  <a:gd name="T11" fmla="*/ 58 h 129"/>
                  <a:gd name="T12" fmla="*/ 168 w 170"/>
                  <a:gd name="T13" fmla="*/ 73 h 129"/>
                  <a:gd name="T14" fmla="*/ 162 w 170"/>
                  <a:gd name="T15" fmla="*/ 86 h 129"/>
                  <a:gd name="T16" fmla="*/ 153 w 170"/>
                  <a:gd name="T17" fmla="*/ 98 h 129"/>
                  <a:gd name="T18" fmla="*/ 141 w 170"/>
                  <a:gd name="T19" fmla="*/ 107 h 129"/>
                  <a:gd name="T20" fmla="*/ 127 w 170"/>
                  <a:gd name="T21" fmla="*/ 113 h 129"/>
                  <a:gd name="T22" fmla="*/ 73 w 170"/>
                  <a:gd name="T23" fmla="*/ 127 h 129"/>
                  <a:gd name="T24" fmla="*/ 65 w 170"/>
                  <a:gd name="T25" fmla="*/ 129 h 129"/>
                  <a:gd name="T26" fmla="*/ 58 w 170"/>
                  <a:gd name="T27" fmla="*/ 129 h 129"/>
                  <a:gd name="T28" fmla="*/ 43 w 170"/>
                  <a:gd name="T29" fmla="*/ 128 h 129"/>
                  <a:gd name="T30" fmla="*/ 29 w 170"/>
                  <a:gd name="T31" fmla="*/ 122 h 129"/>
                  <a:gd name="T32" fmla="*/ 17 w 170"/>
                  <a:gd name="T33" fmla="*/ 113 h 129"/>
                  <a:gd name="T34" fmla="*/ 7 w 170"/>
                  <a:gd name="T35" fmla="*/ 101 h 129"/>
                  <a:gd name="T36" fmla="*/ 2 w 170"/>
                  <a:gd name="T37" fmla="*/ 86 h 129"/>
                  <a:gd name="T38" fmla="*/ 0 w 170"/>
                  <a:gd name="T39" fmla="*/ 68 h 129"/>
                  <a:gd name="T40" fmla="*/ 4 w 170"/>
                  <a:gd name="T41" fmla="*/ 51 h 129"/>
                  <a:gd name="T42" fmla="*/ 12 w 170"/>
                  <a:gd name="T43" fmla="*/ 36 h 129"/>
                  <a:gd name="T44" fmla="*/ 25 w 170"/>
                  <a:gd name="T45" fmla="*/ 24 h 129"/>
                  <a:gd name="T46" fmla="*/ 43 w 170"/>
                  <a:gd name="T47" fmla="*/ 16 h 129"/>
                  <a:gd name="T48" fmla="*/ 97 w 170"/>
                  <a:gd name="T49" fmla="*/ 2 h 129"/>
                  <a:gd name="T50" fmla="*/ 116 w 170"/>
                  <a:gd name="T5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0" h="129">
                    <a:moveTo>
                      <a:pt x="116" y="0"/>
                    </a:moveTo>
                    <a:lnTo>
                      <a:pt x="133" y="3"/>
                    </a:lnTo>
                    <a:lnTo>
                      <a:pt x="149" y="13"/>
                    </a:lnTo>
                    <a:lnTo>
                      <a:pt x="161" y="26"/>
                    </a:lnTo>
                    <a:lnTo>
                      <a:pt x="168" y="43"/>
                    </a:lnTo>
                    <a:lnTo>
                      <a:pt x="170" y="58"/>
                    </a:lnTo>
                    <a:lnTo>
                      <a:pt x="168" y="73"/>
                    </a:lnTo>
                    <a:lnTo>
                      <a:pt x="162" y="86"/>
                    </a:lnTo>
                    <a:lnTo>
                      <a:pt x="153" y="98"/>
                    </a:lnTo>
                    <a:lnTo>
                      <a:pt x="141" y="107"/>
                    </a:lnTo>
                    <a:lnTo>
                      <a:pt x="127" y="113"/>
                    </a:lnTo>
                    <a:lnTo>
                      <a:pt x="73" y="127"/>
                    </a:lnTo>
                    <a:lnTo>
                      <a:pt x="65" y="129"/>
                    </a:lnTo>
                    <a:lnTo>
                      <a:pt x="58" y="129"/>
                    </a:lnTo>
                    <a:lnTo>
                      <a:pt x="43" y="128"/>
                    </a:lnTo>
                    <a:lnTo>
                      <a:pt x="29" y="122"/>
                    </a:lnTo>
                    <a:lnTo>
                      <a:pt x="17" y="113"/>
                    </a:lnTo>
                    <a:lnTo>
                      <a:pt x="7" y="101"/>
                    </a:lnTo>
                    <a:lnTo>
                      <a:pt x="2" y="86"/>
                    </a:lnTo>
                    <a:lnTo>
                      <a:pt x="0" y="68"/>
                    </a:lnTo>
                    <a:lnTo>
                      <a:pt x="4" y="51"/>
                    </a:lnTo>
                    <a:lnTo>
                      <a:pt x="12" y="36"/>
                    </a:lnTo>
                    <a:lnTo>
                      <a:pt x="25" y="24"/>
                    </a:lnTo>
                    <a:lnTo>
                      <a:pt x="43" y="16"/>
                    </a:lnTo>
                    <a:lnTo>
                      <a:pt x="97" y="2"/>
                    </a:lnTo>
                    <a:lnTo>
                      <a:pt x="116"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0" name="Freeform 29"/>
              <p:cNvSpPr/>
              <p:nvPr/>
            </p:nvSpPr>
            <p:spPr bwMode="auto">
              <a:xfrm>
                <a:off x="5422901" y="3167063"/>
                <a:ext cx="23813" cy="28575"/>
              </a:xfrm>
              <a:custGeom>
                <a:avLst/>
                <a:gdLst>
                  <a:gd name="T0" fmla="*/ 60 w 132"/>
                  <a:gd name="T1" fmla="*/ 0 h 168"/>
                  <a:gd name="T2" fmla="*/ 74 w 132"/>
                  <a:gd name="T3" fmla="*/ 1 h 168"/>
                  <a:gd name="T4" fmla="*/ 87 w 132"/>
                  <a:gd name="T5" fmla="*/ 7 h 168"/>
                  <a:gd name="T6" fmla="*/ 99 w 132"/>
                  <a:gd name="T7" fmla="*/ 16 h 168"/>
                  <a:gd name="T8" fmla="*/ 109 w 132"/>
                  <a:gd name="T9" fmla="*/ 28 h 168"/>
                  <a:gd name="T10" fmla="*/ 114 w 132"/>
                  <a:gd name="T11" fmla="*/ 41 h 168"/>
                  <a:gd name="T12" fmla="*/ 129 w 132"/>
                  <a:gd name="T13" fmla="*/ 97 h 168"/>
                  <a:gd name="T14" fmla="*/ 132 w 132"/>
                  <a:gd name="T15" fmla="*/ 112 h 168"/>
                  <a:gd name="T16" fmla="*/ 129 w 132"/>
                  <a:gd name="T17" fmla="*/ 127 h 168"/>
                  <a:gd name="T18" fmla="*/ 123 w 132"/>
                  <a:gd name="T19" fmla="*/ 139 h 168"/>
                  <a:gd name="T20" fmla="*/ 114 w 132"/>
                  <a:gd name="T21" fmla="*/ 151 h 168"/>
                  <a:gd name="T22" fmla="*/ 103 w 132"/>
                  <a:gd name="T23" fmla="*/ 161 h 168"/>
                  <a:gd name="T24" fmla="*/ 89 w 132"/>
                  <a:gd name="T25" fmla="*/ 167 h 168"/>
                  <a:gd name="T26" fmla="*/ 81 w 132"/>
                  <a:gd name="T27" fmla="*/ 168 h 168"/>
                  <a:gd name="T28" fmla="*/ 74 w 132"/>
                  <a:gd name="T29" fmla="*/ 168 h 168"/>
                  <a:gd name="T30" fmla="*/ 58 w 132"/>
                  <a:gd name="T31" fmla="*/ 167 h 168"/>
                  <a:gd name="T32" fmla="*/ 44 w 132"/>
                  <a:gd name="T33" fmla="*/ 161 h 168"/>
                  <a:gd name="T34" fmla="*/ 33 w 132"/>
                  <a:gd name="T35" fmla="*/ 152 h 168"/>
                  <a:gd name="T36" fmla="*/ 23 w 132"/>
                  <a:gd name="T37" fmla="*/ 140 h 168"/>
                  <a:gd name="T38" fmla="*/ 18 w 132"/>
                  <a:gd name="T39" fmla="*/ 125 h 168"/>
                  <a:gd name="T40" fmla="*/ 3 w 132"/>
                  <a:gd name="T41" fmla="*/ 71 h 168"/>
                  <a:gd name="T42" fmla="*/ 0 w 132"/>
                  <a:gd name="T43" fmla="*/ 53 h 168"/>
                  <a:gd name="T44" fmla="*/ 5 w 132"/>
                  <a:gd name="T45" fmla="*/ 36 h 168"/>
                  <a:gd name="T46" fmla="*/ 13 w 132"/>
                  <a:gd name="T47" fmla="*/ 21 h 168"/>
                  <a:gd name="T48" fmla="*/ 26 w 132"/>
                  <a:gd name="T49" fmla="*/ 8 h 168"/>
                  <a:gd name="T50" fmla="*/ 43 w 132"/>
                  <a:gd name="T51" fmla="*/ 1 h 168"/>
                  <a:gd name="T52" fmla="*/ 60 w 132"/>
                  <a:gd name="T5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2" h="168">
                    <a:moveTo>
                      <a:pt x="60" y="0"/>
                    </a:moveTo>
                    <a:lnTo>
                      <a:pt x="74" y="1"/>
                    </a:lnTo>
                    <a:lnTo>
                      <a:pt x="87" y="7"/>
                    </a:lnTo>
                    <a:lnTo>
                      <a:pt x="99" y="16"/>
                    </a:lnTo>
                    <a:lnTo>
                      <a:pt x="109" y="28"/>
                    </a:lnTo>
                    <a:lnTo>
                      <a:pt x="114" y="41"/>
                    </a:lnTo>
                    <a:lnTo>
                      <a:pt x="129" y="97"/>
                    </a:lnTo>
                    <a:lnTo>
                      <a:pt x="132" y="112"/>
                    </a:lnTo>
                    <a:lnTo>
                      <a:pt x="129" y="127"/>
                    </a:lnTo>
                    <a:lnTo>
                      <a:pt x="123" y="139"/>
                    </a:lnTo>
                    <a:lnTo>
                      <a:pt x="114" y="151"/>
                    </a:lnTo>
                    <a:lnTo>
                      <a:pt x="103" y="161"/>
                    </a:lnTo>
                    <a:lnTo>
                      <a:pt x="89" y="167"/>
                    </a:lnTo>
                    <a:lnTo>
                      <a:pt x="81" y="168"/>
                    </a:lnTo>
                    <a:lnTo>
                      <a:pt x="74" y="168"/>
                    </a:lnTo>
                    <a:lnTo>
                      <a:pt x="58" y="167"/>
                    </a:lnTo>
                    <a:lnTo>
                      <a:pt x="44" y="161"/>
                    </a:lnTo>
                    <a:lnTo>
                      <a:pt x="33" y="152"/>
                    </a:lnTo>
                    <a:lnTo>
                      <a:pt x="23" y="140"/>
                    </a:lnTo>
                    <a:lnTo>
                      <a:pt x="18" y="125"/>
                    </a:lnTo>
                    <a:lnTo>
                      <a:pt x="3" y="71"/>
                    </a:lnTo>
                    <a:lnTo>
                      <a:pt x="0" y="53"/>
                    </a:lnTo>
                    <a:lnTo>
                      <a:pt x="5" y="36"/>
                    </a:lnTo>
                    <a:lnTo>
                      <a:pt x="13" y="21"/>
                    </a:lnTo>
                    <a:lnTo>
                      <a:pt x="26" y="8"/>
                    </a:lnTo>
                    <a:lnTo>
                      <a:pt x="43" y="1"/>
                    </a:lnTo>
                    <a:lnTo>
                      <a:pt x="60"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1" name="Freeform 30"/>
              <p:cNvSpPr/>
              <p:nvPr/>
            </p:nvSpPr>
            <p:spPr bwMode="auto">
              <a:xfrm>
                <a:off x="5397501" y="3071813"/>
                <a:ext cx="22225" cy="28575"/>
              </a:xfrm>
              <a:custGeom>
                <a:avLst/>
                <a:gdLst>
                  <a:gd name="T0" fmla="*/ 62 w 130"/>
                  <a:gd name="T1" fmla="*/ 0 h 168"/>
                  <a:gd name="T2" fmla="*/ 79 w 130"/>
                  <a:gd name="T3" fmla="*/ 3 h 168"/>
                  <a:gd name="T4" fmla="*/ 95 w 130"/>
                  <a:gd name="T5" fmla="*/ 12 h 168"/>
                  <a:gd name="T6" fmla="*/ 107 w 130"/>
                  <a:gd name="T7" fmla="*/ 25 h 168"/>
                  <a:gd name="T8" fmla="*/ 114 w 130"/>
                  <a:gd name="T9" fmla="*/ 42 h 168"/>
                  <a:gd name="T10" fmla="*/ 129 w 130"/>
                  <a:gd name="T11" fmla="*/ 96 h 168"/>
                  <a:gd name="T12" fmla="*/ 130 w 130"/>
                  <a:gd name="T13" fmla="*/ 111 h 168"/>
                  <a:gd name="T14" fmla="*/ 128 w 130"/>
                  <a:gd name="T15" fmla="*/ 126 h 168"/>
                  <a:gd name="T16" fmla="*/ 123 w 130"/>
                  <a:gd name="T17" fmla="*/ 139 h 168"/>
                  <a:gd name="T18" fmla="*/ 114 w 130"/>
                  <a:gd name="T19" fmla="*/ 151 h 168"/>
                  <a:gd name="T20" fmla="*/ 102 w 130"/>
                  <a:gd name="T21" fmla="*/ 160 h 168"/>
                  <a:gd name="T22" fmla="*/ 87 w 130"/>
                  <a:gd name="T23" fmla="*/ 167 h 168"/>
                  <a:gd name="T24" fmla="*/ 80 w 130"/>
                  <a:gd name="T25" fmla="*/ 168 h 168"/>
                  <a:gd name="T26" fmla="*/ 72 w 130"/>
                  <a:gd name="T27" fmla="*/ 168 h 168"/>
                  <a:gd name="T28" fmla="*/ 58 w 130"/>
                  <a:gd name="T29" fmla="*/ 166 h 168"/>
                  <a:gd name="T30" fmla="*/ 44 w 130"/>
                  <a:gd name="T31" fmla="*/ 160 h 168"/>
                  <a:gd name="T32" fmla="*/ 32 w 130"/>
                  <a:gd name="T33" fmla="*/ 152 h 168"/>
                  <a:gd name="T34" fmla="*/ 23 w 130"/>
                  <a:gd name="T35" fmla="*/ 140 h 168"/>
                  <a:gd name="T36" fmla="*/ 16 w 130"/>
                  <a:gd name="T37" fmla="*/ 125 h 168"/>
                  <a:gd name="T38" fmla="*/ 2 w 130"/>
                  <a:gd name="T39" fmla="*/ 72 h 168"/>
                  <a:gd name="T40" fmla="*/ 0 w 130"/>
                  <a:gd name="T41" fmla="*/ 56 h 168"/>
                  <a:gd name="T42" fmla="*/ 2 w 130"/>
                  <a:gd name="T43" fmla="*/ 41 h 168"/>
                  <a:gd name="T44" fmla="*/ 8 w 130"/>
                  <a:gd name="T45" fmla="*/ 28 h 168"/>
                  <a:gd name="T46" fmla="*/ 17 w 130"/>
                  <a:gd name="T47" fmla="*/ 17 h 168"/>
                  <a:gd name="T48" fmla="*/ 29 w 130"/>
                  <a:gd name="T49" fmla="*/ 7 h 168"/>
                  <a:gd name="T50" fmla="*/ 43 w 130"/>
                  <a:gd name="T51" fmla="*/ 2 h 168"/>
                  <a:gd name="T52" fmla="*/ 62 w 130"/>
                  <a:gd name="T5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68">
                    <a:moveTo>
                      <a:pt x="62" y="0"/>
                    </a:moveTo>
                    <a:lnTo>
                      <a:pt x="79" y="3"/>
                    </a:lnTo>
                    <a:lnTo>
                      <a:pt x="95" y="12"/>
                    </a:lnTo>
                    <a:lnTo>
                      <a:pt x="107" y="25"/>
                    </a:lnTo>
                    <a:lnTo>
                      <a:pt x="114" y="42"/>
                    </a:lnTo>
                    <a:lnTo>
                      <a:pt x="129" y="96"/>
                    </a:lnTo>
                    <a:lnTo>
                      <a:pt x="130" y="111"/>
                    </a:lnTo>
                    <a:lnTo>
                      <a:pt x="128" y="126"/>
                    </a:lnTo>
                    <a:lnTo>
                      <a:pt x="123" y="139"/>
                    </a:lnTo>
                    <a:lnTo>
                      <a:pt x="114" y="151"/>
                    </a:lnTo>
                    <a:lnTo>
                      <a:pt x="102" y="160"/>
                    </a:lnTo>
                    <a:lnTo>
                      <a:pt x="87" y="167"/>
                    </a:lnTo>
                    <a:lnTo>
                      <a:pt x="80" y="168"/>
                    </a:lnTo>
                    <a:lnTo>
                      <a:pt x="72" y="168"/>
                    </a:lnTo>
                    <a:lnTo>
                      <a:pt x="58" y="166"/>
                    </a:lnTo>
                    <a:lnTo>
                      <a:pt x="44" y="160"/>
                    </a:lnTo>
                    <a:lnTo>
                      <a:pt x="32" y="152"/>
                    </a:lnTo>
                    <a:lnTo>
                      <a:pt x="23" y="140"/>
                    </a:lnTo>
                    <a:lnTo>
                      <a:pt x="16" y="125"/>
                    </a:lnTo>
                    <a:lnTo>
                      <a:pt x="2" y="72"/>
                    </a:lnTo>
                    <a:lnTo>
                      <a:pt x="0" y="56"/>
                    </a:lnTo>
                    <a:lnTo>
                      <a:pt x="2" y="41"/>
                    </a:lnTo>
                    <a:lnTo>
                      <a:pt x="8" y="28"/>
                    </a:lnTo>
                    <a:lnTo>
                      <a:pt x="17" y="17"/>
                    </a:lnTo>
                    <a:lnTo>
                      <a:pt x="29" y="7"/>
                    </a:lnTo>
                    <a:lnTo>
                      <a:pt x="43" y="2"/>
                    </a:lnTo>
                    <a:lnTo>
                      <a:pt x="62"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2" name="Freeform 31"/>
              <p:cNvSpPr/>
              <p:nvPr/>
            </p:nvSpPr>
            <p:spPr bwMode="auto">
              <a:xfrm>
                <a:off x="5410201" y="3119438"/>
                <a:ext cx="22225" cy="28575"/>
              </a:xfrm>
              <a:custGeom>
                <a:avLst/>
                <a:gdLst>
                  <a:gd name="T0" fmla="*/ 62 w 131"/>
                  <a:gd name="T1" fmla="*/ 0 h 169"/>
                  <a:gd name="T2" fmla="*/ 80 w 131"/>
                  <a:gd name="T3" fmla="*/ 3 h 169"/>
                  <a:gd name="T4" fmla="*/ 95 w 131"/>
                  <a:gd name="T5" fmla="*/ 13 h 169"/>
                  <a:gd name="T6" fmla="*/ 107 w 131"/>
                  <a:gd name="T7" fmla="*/ 25 h 169"/>
                  <a:gd name="T8" fmla="*/ 114 w 131"/>
                  <a:gd name="T9" fmla="*/ 42 h 169"/>
                  <a:gd name="T10" fmla="*/ 129 w 131"/>
                  <a:gd name="T11" fmla="*/ 97 h 169"/>
                  <a:gd name="T12" fmla="*/ 131 w 131"/>
                  <a:gd name="T13" fmla="*/ 111 h 169"/>
                  <a:gd name="T14" fmla="*/ 129 w 131"/>
                  <a:gd name="T15" fmla="*/ 126 h 169"/>
                  <a:gd name="T16" fmla="*/ 123 w 131"/>
                  <a:gd name="T17" fmla="*/ 140 h 169"/>
                  <a:gd name="T18" fmla="*/ 114 w 131"/>
                  <a:gd name="T19" fmla="*/ 152 h 169"/>
                  <a:gd name="T20" fmla="*/ 102 w 131"/>
                  <a:gd name="T21" fmla="*/ 160 h 169"/>
                  <a:gd name="T22" fmla="*/ 88 w 131"/>
                  <a:gd name="T23" fmla="*/ 167 h 169"/>
                  <a:gd name="T24" fmla="*/ 81 w 131"/>
                  <a:gd name="T25" fmla="*/ 168 h 169"/>
                  <a:gd name="T26" fmla="*/ 73 w 131"/>
                  <a:gd name="T27" fmla="*/ 169 h 169"/>
                  <a:gd name="T28" fmla="*/ 58 w 131"/>
                  <a:gd name="T29" fmla="*/ 167 h 169"/>
                  <a:gd name="T30" fmla="*/ 44 w 131"/>
                  <a:gd name="T31" fmla="*/ 161 h 169"/>
                  <a:gd name="T32" fmla="*/ 33 w 131"/>
                  <a:gd name="T33" fmla="*/ 152 h 169"/>
                  <a:gd name="T34" fmla="*/ 23 w 131"/>
                  <a:gd name="T35" fmla="*/ 140 h 169"/>
                  <a:gd name="T36" fmla="*/ 18 w 131"/>
                  <a:gd name="T37" fmla="*/ 126 h 169"/>
                  <a:gd name="T38" fmla="*/ 2 w 131"/>
                  <a:gd name="T39" fmla="*/ 72 h 169"/>
                  <a:gd name="T40" fmla="*/ 0 w 131"/>
                  <a:gd name="T41" fmla="*/ 57 h 169"/>
                  <a:gd name="T42" fmla="*/ 2 w 131"/>
                  <a:gd name="T43" fmla="*/ 42 h 169"/>
                  <a:gd name="T44" fmla="*/ 8 w 131"/>
                  <a:gd name="T45" fmla="*/ 28 h 169"/>
                  <a:gd name="T46" fmla="*/ 18 w 131"/>
                  <a:gd name="T47" fmla="*/ 17 h 169"/>
                  <a:gd name="T48" fmla="*/ 29 w 131"/>
                  <a:gd name="T49" fmla="*/ 8 h 169"/>
                  <a:gd name="T50" fmla="*/ 43 w 131"/>
                  <a:gd name="T51" fmla="*/ 2 h 169"/>
                  <a:gd name="T52" fmla="*/ 62 w 131"/>
                  <a:gd name="T5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169">
                    <a:moveTo>
                      <a:pt x="62" y="0"/>
                    </a:moveTo>
                    <a:lnTo>
                      <a:pt x="80" y="3"/>
                    </a:lnTo>
                    <a:lnTo>
                      <a:pt x="95" y="13"/>
                    </a:lnTo>
                    <a:lnTo>
                      <a:pt x="107" y="25"/>
                    </a:lnTo>
                    <a:lnTo>
                      <a:pt x="114" y="42"/>
                    </a:lnTo>
                    <a:lnTo>
                      <a:pt x="129" y="97"/>
                    </a:lnTo>
                    <a:lnTo>
                      <a:pt x="131" y="111"/>
                    </a:lnTo>
                    <a:lnTo>
                      <a:pt x="129" y="126"/>
                    </a:lnTo>
                    <a:lnTo>
                      <a:pt x="123" y="140"/>
                    </a:lnTo>
                    <a:lnTo>
                      <a:pt x="114" y="152"/>
                    </a:lnTo>
                    <a:lnTo>
                      <a:pt x="102" y="160"/>
                    </a:lnTo>
                    <a:lnTo>
                      <a:pt x="88" y="167"/>
                    </a:lnTo>
                    <a:lnTo>
                      <a:pt x="81" y="168"/>
                    </a:lnTo>
                    <a:lnTo>
                      <a:pt x="73" y="169"/>
                    </a:lnTo>
                    <a:lnTo>
                      <a:pt x="58" y="167"/>
                    </a:lnTo>
                    <a:lnTo>
                      <a:pt x="44" y="161"/>
                    </a:lnTo>
                    <a:lnTo>
                      <a:pt x="33" y="152"/>
                    </a:lnTo>
                    <a:lnTo>
                      <a:pt x="23" y="140"/>
                    </a:lnTo>
                    <a:lnTo>
                      <a:pt x="18" y="126"/>
                    </a:lnTo>
                    <a:lnTo>
                      <a:pt x="2" y="72"/>
                    </a:lnTo>
                    <a:lnTo>
                      <a:pt x="0" y="57"/>
                    </a:lnTo>
                    <a:lnTo>
                      <a:pt x="2" y="42"/>
                    </a:lnTo>
                    <a:lnTo>
                      <a:pt x="8" y="28"/>
                    </a:lnTo>
                    <a:lnTo>
                      <a:pt x="18" y="17"/>
                    </a:lnTo>
                    <a:lnTo>
                      <a:pt x="29" y="8"/>
                    </a:lnTo>
                    <a:lnTo>
                      <a:pt x="43" y="2"/>
                    </a:lnTo>
                    <a:lnTo>
                      <a:pt x="62"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3" name="Freeform 32"/>
              <p:cNvSpPr/>
              <p:nvPr/>
            </p:nvSpPr>
            <p:spPr bwMode="auto">
              <a:xfrm>
                <a:off x="5894388" y="2974975"/>
                <a:ext cx="23813" cy="30163"/>
              </a:xfrm>
              <a:custGeom>
                <a:avLst/>
                <a:gdLst>
                  <a:gd name="T0" fmla="*/ 69 w 131"/>
                  <a:gd name="T1" fmla="*/ 0 h 169"/>
                  <a:gd name="T2" fmla="*/ 88 w 131"/>
                  <a:gd name="T3" fmla="*/ 2 h 169"/>
                  <a:gd name="T4" fmla="*/ 102 w 131"/>
                  <a:gd name="T5" fmla="*/ 8 h 169"/>
                  <a:gd name="T6" fmla="*/ 114 w 131"/>
                  <a:gd name="T7" fmla="*/ 17 h 169"/>
                  <a:gd name="T8" fmla="*/ 122 w 131"/>
                  <a:gd name="T9" fmla="*/ 29 h 169"/>
                  <a:gd name="T10" fmla="*/ 129 w 131"/>
                  <a:gd name="T11" fmla="*/ 42 h 169"/>
                  <a:gd name="T12" fmla="*/ 131 w 131"/>
                  <a:gd name="T13" fmla="*/ 57 h 169"/>
                  <a:gd name="T14" fmla="*/ 129 w 131"/>
                  <a:gd name="T15" fmla="*/ 73 h 169"/>
                  <a:gd name="T16" fmla="*/ 114 w 131"/>
                  <a:gd name="T17" fmla="*/ 127 h 169"/>
                  <a:gd name="T18" fmla="*/ 108 w 131"/>
                  <a:gd name="T19" fmla="*/ 141 h 169"/>
                  <a:gd name="T20" fmla="*/ 99 w 131"/>
                  <a:gd name="T21" fmla="*/ 152 h 169"/>
                  <a:gd name="T22" fmla="*/ 87 w 131"/>
                  <a:gd name="T23" fmla="*/ 161 h 169"/>
                  <a:gd name="T24" fmla="*/ 73 w 131"/>
                  <a:gd name="T25" fmla="*/ 167 h 169"/>
                  <a:gd name="T26" fmla="*/ 58 w 131"/>
                  <a:gd name="T27" fmla="*/ 169 h 169"/>
                  <a:gd name="T28" fmla="*/ 50 w 131"/>
                  <a:gd name="T29" fmla="*/ 168 h 169"/>
                  <a:gd name="T30" fmla="*/ 43 w 131"/>
                  <a:gd name="T31" fmla="*/ 167 h 169"/>
                  <a:gd name="T32" fmla="*/ 26 w 131"/>
                  <a:gd name="T33" fmla="*/ 160 h 169"/>
                  <a:gd name="T34" fmla="*/ 13 w 131"/>
                  <a:gd name="T35" fmla="*/ 147 h 169"/>
                  <a:gd name="T36" fmla="*/ 4 w 131"/>
                  <a:gd name="T37" fmla="*/ 132 h 169"/>
                  <a:gd name="T38" fmla="*/ 0 w 131"/>
                  <a:gd name="T39" fmla="*/ 115 h 169"/>
                  <a:gd name="T40" fmla="*/ 2 w 131"/>
                  <a:gd name="T41" fmla="*/ 97 h 169"/>
                  <a:gd name="T42" fmla="*/ 17 w 131"/>
                  <a:gd name="T43" fmla="*/ 43 h 169"/>
                  <a:gd name="T44" fmla="*/ 25 w 131"/>
                  <a:gd name="T45" fmla="*/ 26 h 169"/>
                  <a:gd name="T46" fmla="*/ 36 w 131"/>
                  <a:gd name="T47" fmla="*/ 13 h 169"/>
                  <a:gd name="T48" fmla="*/ 51 w 131"/>
                  <a:gd name="T49" fmla="*/ 3 h 169"/>
                  <a:gd name="T50" fmla="*/ 69 w 131"/>
                  <a:gd name="T5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169">
                    <a:moveTo>
                      <a:pt x="69" y="0"/>
                    </a:moveTo>
                    <a:lnTo>
                      <a:pt x="88" y="2"/>
                    </a:lnTo>
                    <a:lnTo>
                      <a:pt x="102" y="8"/>
                    </a:lnTo>
                    <a:lnTo>
                      <a:pt x="114" y="17"/>
                    </a:lnTo>
                    <a:lnTo>
                      <a:pt x="122" y="29"/>
                    </a:lnTo>
                    <a:lnTo>
                      <a:pt x="129" y="42"/>
                    </a:lnTo>
                    <a:lnTo>
                      <a:pt x="131" y="57"/>
                    </a:lnTo>
                    <a:lnTo>
                      <a:pt x="129" y="73"/>
                    </a:lnTo>
                    <a:lnTo>
                      <a:pt x="114" y="127"/>
                    </a:lnTo>
                    <a:lnTo>
                      <a:pt x="108" y="141"/>
                    </a:lnTo>
                    <a:lnTo>
                      <a:pt x="99" y="152"/>
                    </a:lnTo>
                    <a:lnTo>
                      <a:pt x="87" y="161"/>
                    </a:lnTo>
                    <a:lnTo>
                      <a:pt x="73" y="167"/>
                    </a:lnTo>
                    <a:lnTo>
                      <a:pt x="58" y="169"/>
                    </a:lnTo>
                    <a:lnTo>
                      <a:pt x="50" y="168"/>
                    </a:lnTo>
                    <a:lnTo>
                      <a:pt x="43" y="167"/>
                    </a:lnTo>
                    <a:lnTo>
                      <a:pt x="26" y="160"/>
                    </a:lnTo>
                    <a:lnTo>
                      <a:pt x="13" y="147"/>
                    </a:lnTo>
                    <a:lnTo>
                      <a:pt x="4" y="132"/>
                    </a:lnTo>
                    <a:lnTo>
                      <a:pt x="0" y="115"/>
                    </a:lnTo>
                    <a:lnTo>
                      <a:pt x="2" y="97"/>
                    </a:lnTo>
                    <a:lnTo>
                      <a:pt x="17" y="43"/>
                    </a:lnTo>
                    <a:lnTo>
                      <a:pt x="25" y="26"/>
                    </a:lnTo>
                    <a:lnTo>
                      <a:pt x="36" y="13"/>
                    </a:lnTo>
                    <a:lnTo>
                      <a:pt x="51" y="3"/>
                    </a:lnTo>
                    <a:lnTo>
                      <a:pt x="69"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4" name="Freeform 33"/>
              <p:cNvSpPr/>
              <p:nvPr/>
            </p:nvSpPr>
            <p:spPr bwMode="auto">
              <a:xfrm>
                <a:off x="5907088" y="2927350"/>
                <a:ext cx="23813" cy="30163"/>
              </a:xfrm>
              <a:custGeom>
                <a:avLst/>
                <a:gdLst>
                  <a:gd name="T0" fmla="*/ 70 w 131"/>
                  <a:gd name="T1" fmla="*/ 0 h 169"/>
                  <a:gd name="T2" fmla="*/ 88 w 131"/>
                  <a:gd name="T3" fmla="*/ 2 h 169"/>
                  <a:gd name="T4" fmla="*/ 102 w 131"/>
                  <a:gd name="T5" fmla="*/ 8 h 169"/>
                  <a:gd name="T6" fmla="*/ 114 w 131"/>
                  <a:gd name="T7" fmla="*/ 17 h 169"/>
                  <a:gd name="T8" fmla="*/ 122 w 131"/>
                  <a:gd name="T9" fmla="*/ 29 h 169"/>
                  <a:gd name="T10" fmla="*/ 129 w 131"/>
                  <a:gd name="T11" fmla="*/ 43 h 169"/>
                  <a:gd name="T12" fmla="*/ 131 w 131"/>
                  <a:gd name="T13" fmla="*/ 57 h 169"/>
                  <a:gd name="T14" fmla="*/ 129 w 131"/>
                  <a:gd name="T15" fmla="*/ 72 h 169"/>
                  <a:gd name="T16" fmla="*/ 114 w 131"/>
                  <a:gd name="T17" fmla="*/ 127 h 169"/>
                  <a:gd name="T18" fmla="*/ 108 w 131"/>
                  <a:gd name="T19" fmla="*/ 140 h 169"/>
                  <a:gd name="T20" fmla="*/ 99 w 131"/>
                  <a:gd name="T21" fmla="*/ 152 h 169"/>
                  <a:gd name="T22" fmla="*/ 87 w 131"/>
                  <a:gd name="T23" fmla="*/ 162 h 169"/>
                  <a:gd name="T24" fmla="*/ 73 w 131"/>
                  <a:gd name="T25" fmla="*/ 167 h 169"/>
                  <a:gd name="T26" fmla="*/ 58 w 131"/>
                  <a:gd name="T27" fmla="*/ 169 h 169"/>
                  <a:gd name="T28" fmla="*/ 50 w 131"/>
                  <a:gd name="T29" fmla="*/ 168 h 169"/>
                  <a:gd name="T30" fmla="*/ 43 w 131"/>
                  <a:gd name="T31" fmla="*/ 167 h 169"/>
                  <a:gd name="T32" fmla="*/ 29 w 131"/>
                  <a:gd name="T33" fmla="*/ 162 h 169"/>
                  <a:gd name="T34" fmla="*/ 17 w 131"/>
                  <a:gd name="T35" fmla="*/ 152 h 169"/>
                  <a:gd name="T36" fmla="*/ 8 w 131"/>
                  <a:gd name="T37" fmla="*/ 140 h 169"/>
                  <a:gd name="T38" fmla="*/ 2 w 131"/>
                  <a:gd name="T39" fmla="*/ 127 h 169"/>
                  <a:gd name="T40" fmla="*/ 0 w 131"/>
                  <a:gd name="T41" fmla="*/ 112 h 169"/>
                  <a:gd name="T42" fmla="*/ 2 w 131"/>
                  <a:gd name="T43" fmla="*/ 97 h 169"/>
                  <a:gd name="T44" fmla="*/ 17 w 131"/>
                  <a:gd name="T45" fmla="*/ 43 h 169"/>
                  <a:gd name="T46" fmla="*/ 25 w 131"/>
                  <a:gd name="T47" fmla="*/ 27 h 169"/>
                  <a:gd name="T48" fmla="*/ 36 w 131"/>
                  <a:gd name="T49" fmla="*/ 13 h 169"/>
                  <a:gd name="T50" fmla="*/ 51 w 131"/>
                  <a:gd name="T51" fmla="*/ 4 h 169"/>
                  <a:gd name="T52" fmla="*/ 70 w 131"/>
                  <a:gd name="T5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1" h="169">
                    <a:moveTo>
                      <a:pt x="70" y="0"/>
                    </a:moveTo>
                    <a:lnTo>
                      <a:pt x="88" y="2"/>
                    </a:lnTo>
                    <a:lnTo>
                      <a:pt x="102" y="8"/>
                    </a:lnTo>
                    <a:lnTo>
                      <a:pt x="114" y="17"/>
                    </a:lnTo>
                    <a:lnTo>
                      <a:pt x="122" y="29"/>
                    </a:lnTo>
                    <a:lnTo>
                      <a:pt x="129" y="43"/>
                    </a:lnTo>
                    <a:lnTo>
                      <a:pt x="131" y="57"/>
                    </a:lnTo>
                    <a:lnTo>
                      <a:pt x="129" y="72"/>
                    </a:lnTo>
                    <a:lnTo>
                      <a:pt x="114" y="127"/>
                    </a:lnTo>
                    <a:lnTo>
                      <a:pt x="108" y="140"/>
                    </a:lnTo>
                    <a:lnTo>
                      <a:pt x="99" y="152"/>
                    </a:lnTo>
                    <a:lnTo>
                      <a:pt x="87" y="162"/>
                    </a:lnTo>
                    <a:lnTo>
                      <a:pt x="73" y="167"/>
                    </a:lnTo>
                    <a:lnTo>
                      <a:pt x="58" y="169"/>
                    </a:lnTo>
                    <a:lnTo>
                      <a:pt x="50" y="168"/>
                    </a:lnTo>
                    <a:lnTo>
                      <a:pt x="43" y="167"/>
                    </a:lnTo>
                    <a:lnTo>
                      <a:pt x="29" y="162"/>
                    </a:lnTo>
                    <a:lnTo>
                      <a:pt x="17" y="152"/>
                    </a:lnTo>
                    <a:lnTo>
                      <a:pt x="8" y="140"/>
                    </a:lnTo>
                    <a:lnTo>
                      <a:pt x="2" y="127"/>
                    </a:lnTo>
                    <a:lnTo>
                      <a:pt x="0" y="112"/>
                    </a:lnTo>
                    <a:lnTo>
                      <a:pt x="2" y="97"/>
                    </a:lnTo>
                    <a:lnTo>
                      <a:pt x="17" y="43"/>
                    </a:lnTo>
                    <a:lnTo>
                      <a:pt x="25" y="27"/>
                    </a:lnTo>
                    <a:lnTo>
                      <a:pt x="36" y="13"/>
                    </a:lnTo>
                    <a:lnTo>
                      <a:pt x="51" y="4"/>
                    </a:lnTo>
                    <a:lnTo>
                      <a:pt x="70"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5" name="Freeform 34"/>
              <p:cNvSpPr/>
              <p:nvPr/>
            </p:nvSpPr>
            <p:spPr bwMode="auto">
              <a:xfrm>
                <a:off x="5919788" y="2879725"/>
                <a:ext cx="20638" cy="30163"/>
              </a:xfrm>
              <a:custGeom>
                <a:avLst/>
                <a:gdLst>
                  <a:gd name="T0" fmla="*/ 65 w 119"/>
                  <a:gd name="T1" fmla="*/ 0 h 170"/>
                  <a:gd name="T2" fmla="*/ 82 w 119"/>
                  <a:gd name="T3" fmla="*/ 5 h 170"/>
                  <a:gd name="T4" fmla="*/ 96 w 119"/>
                  <a:gd name="T5" fmla="*/ 15 h 170"/>
                  <a:gd name="T6" fmla="*/ 108 w 119"/>
                  <a:gd name="T7" fmla="*/ 28 h 170"/>
                  <a:gd name="T8" fmla="*/ 114 w 119"/>
                  <a:gd name="T9" fmla="*/ 45 h 170"/>
                  <a:gd name="T10" fmla="*/ 118 w 119"/>
                  <a:gd name="T11" fmla="*/ 70 h 170"/>
                  <a:gd name="T12" fmla="*/ 119 w 119"/>
                  <a:gd name="T13" fmla="*/ 93 h 170"/>
                  <a:gd name="T14" fmla="*/ 118 w 119"/>
                  <a:gd name="T15" fmla="*/ 118 h 170"/>
                  <a:gd name="T16" fmla="*/ 114 w 119"/>
                  <a:gd name="T17" fmla="*/ 135 h 170"/>
                  <a:gd name="T18" fmla="*/ 105 w 119"/>
                  <a:gd name="T19" fmla="*/ 150 h 170"/>
                  <a:gd name="T20" fmla="*/ 92 w 119"/>
                  <a:gd name="T21" fmla="*/ 160 h 170"/>
                  <a:gd name="T22" fmla="*/ 77 w 119"/>
                  <a:gd name="T23" fmla="*/ 168 h 170"/>
                  <a:gd name="T24" fmla="*/ 60 w 119"/>
                  <a:gd name="T25" fmla="*/ 170 h 170"/>
                  <a:gd name="T26" fmla="*/ 57 w 119"/>
                  <a:gd name="T27" fmla="*/ 170 h 170"/>
                  <a:gd name="T28" fmla="*/ 55 w 119"/>
                  <a:gd name="T29" fmla="*/ 170 h 170"/>
                  <a:gd name="T30" fmla="*/ 36 w 119"/>
                  <a:gd name="T31" fmla="*/ 165 h 170"/>
                  <a:gd name="T32" fmla="*/ 21 w 119"/>
                  <a:gd name="T33" fmla="*/ 155 h 170"/>
                  <a:gd name="T34" fmla="*/ 10 w 119"/>
                  <a:gd name="T35" fmla="*/ 142 h 170"/>
                  <a:gd name="T36" fmla="*/ 3 w 119"/>
                  <a:gd name="T37" fmla="*/ 125 h 170"/>
                  <a:gd name="T38" fmla="*/ 2 w 119"/>
                  <a:gd name="T39" fmla="*/ 107 h 170"/>
                  <a:gd name="T40" fmla="*/ 3 w 119"/>
                  <a:gd name="T41" fmla="*/ 101 h 170"/>
                  <a:gd name="T42" fmla="*/ 3 w 119"/>
                  <a:gd name="T43" fmla="*/ 93 h 170"/>
                  <a:gd name="T44" fmla="*/ 2 w 119"/>
                  <a:gd name="T45" fmla="*/ 81 h 170"/>
                  <a:gd name="T46" fmla="*/ 1 w 119"/>
                  <a:gd name="T47" fmla="*/ 68 h 170"/>
                  <a:gd name="T48" fmla="*/ 0 w 119"/>
                  <a:gd name="T49" fmla="*/ 50 h 170"/>
                  <a:gd name="T50" fmla="*/ 5 w 119"/>
                  <a:gd name="T51" fmla="*/ 33 h 170"/>
                  <a:gd name="T52" fmla="*/ 15 w 119"/>
                  <a:gd name="T53" fmla="*/ 18 h 170"/>
                  <a:gd name="T54" fmla="*/ 29 w 119"/>
                  <a:gd name="T55" fmla="*/ 7 h 170"/>
                  <a:gd name="T56" fmla="*/ 47 w 119"/>
                  <a:gd name="T57" fmla="*/ 1 h 170"/>
                  <a:gd name="T58" fmla="*/ 65 w 119"/>
                  <a:gd name="T5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9" h="170">
                    <a:moveTo>
                      <a:pt x="65" y="0"/>
                    </a:moveTo>
                    <a:lnTo>
                      <a:pt x="82" y="5"/>
                    </a:lnTo>
                    <a:lnTo>
                      <a:pt x="96" y="15"/>
                    </a:lnTo>
                    <a:lnTo>
                      <a:pt x="108" y="28"/>
                    </a:lnTo>
                    <a:lnTo>
                      <a:pt x="114" y="45"/>
                    </a:lnTo>
                    <a:lnTo>
                      <a:pt x="118" y="70"/>
                    </a:lnTo>
                    <a:lnTo>
                      <a:pt x="119" y="93"/>
                    </a:lnTo>
                    <a:lnTo>
                      <a:pt x="118" y="118"/>
                    </a:lnTo>
                    <a:lnTo>
                      <a:pt x="114" y="135"/>
                    </a:lnTo>
                    <a:lnTo>
                      <a:pt x="105" y="150"/>
                    </a:lnTo>
                    <a:lnTo>
                      <a:pt x="92" y="160"/>
                    </a:lnTo>
                    <a:lnTo>
                      <a:pt x="77" y="168"/>
                    </a:lnTo>
                    <a:lnTo>
                      <a:pt x="60" y="170"/>
                    </a:lnTo>
                    <a:lnTo>
                      <a:pt x="57" y="170"/>
                    </a:lnTo>
                    <a:lnTo>
                      <a:pt x="55" y="170"/>
                    </a:lnTo>
                    <a:lnTo>
                      <a:pt x="36" y="165"/>
                    </a:lnTo>
                    <a:lnTo>
                      <a:pt x="21" y="155"/>
                    </a:lnTo>
                    <a:lnTo>
                      <a:pt x="10" y="142"/>
                    </a:lnTo>
                    <a:lnTo>
                      <a:pt x="3" y="125"/>
                    </a:lnTo>
                    <a:lnTo>
                      <a:pt x="2" y="107"/>
                    </a:lnTo>
                    <a:lnTo>
                      <a:pt x="3" y="101"/>
                    </a:lnTo>
                    <a:lnTo>
                      <a:pt x="3" y="93"/>
                    </a:lnTo>
                    <a:lnTo>
                      <a:pt x="2" y="81"/>
                    </a:lnTo>
                    <a:lnTo>
                      <a:pt x="1" y="68"/>
                    </a:lnTo>
                    <a:lnTo>
                      <a:pt x="0" y="50"/>
                    </a:lnTo>
                    <a:lnTo>
                      <a:pt x="5" y="33"/>
                    </a:lnTo>
                    <a:lnTo>
                      <a:pt x="15" y="18"/>
                    </a:lnTo>
                    <a:lnTo>
                      <a:pt x="29" y="7"/>
                    </a:lnTo>
                    <a:lnTo>
                      <a:pt x="47" y="1"/>
                    </a:lnTo>
                    <a:lnTo>
                      <a:pt x="65"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6" name="Freeform 35"/>
              <p:cNvSpPr/>
              <p:nvPr/>
            </p:nvSpPr>
            <p:spPr bwMode="auto">
              <a:xfrm>
                <a:off x="5835651" y="2836863"/>
                <a:ext cx="30163" cy="23813"/>
              </a:xfrm>
              <a:custGeom>
                <a:avLst/>
                <a:gdLst>
                  <a:gd name="T0" fmla="*/ 55 w 171"/>
                  <a:gd name="T1" fmla="*/ 0 h 129"/>
                  <a:gd name="T2" fmla="*/ 74 w 171"/>
                  <a:gd name="T3" fmla="*/ 2 h 129"/>
                  <a:gd name="T4" fmla="*/ 128 w 171"/>
                  <a:gd name="T5" fmla="*/ 16 h 129"/>
                  <a:gd name="T6" fmla="*/ 146 w 171"/>
                  <a:gd name="T7" fmla="*/ 24 h 129"/>
                  <a:gd name="T8" fmla="*/ 158 w 171"/>
                  <a:gd name="T9" fmla="*/ 36 h 129"/>
                  <a:gd name="T10" fmla="*/ 167 w 171"/>
                  <a:gd name="T11" fmla="*/ 51 h 129"/>
                  <a:gd name="T12" fmla="*/ 171 w 171"/>
                  <a:gd name="T13" fmla="*/ 68 h 129"/>
                  <a:gd name="T14" fmla="*/ 169 w 171"/>
                  <a:gd name="T15" fmla="*/ 86 h 129"/>
                  <a:gd name="T16" fmla="*/ 164 w 171"/>
                  <a:gd name="T17" fmla="*/ 101 h 129"/>
                  <a:gd name="T18" fmla="*/ 154 w 171"/>
                  <a:gd name="T19" fmla="*/ 113 h 129"/>
                  <a:gd name="T20" fmla="*/ 142 w 171"/>
                  <a:gd name="T21" fmla="*/ 122 h 129"/>
                  <a:gd name="T22" fmla="*/ 128 w 171"/>
                  <a:gd name="T23" fmla="*/ 128 h 129"/>
                  <a:gd name="T24" fmla="*/ 113 w 171"/>
                  <a:gd name="T25" fmla="*/ 129 h 129"/>
                  <a:gd name="T26" fmla="*/ 106 w 171"/>
                  <a:gd name="T27" fmla="*/ 129 h 129"/>
                  <a:gd name="T28" fmla="*/ 98 w 171"/>
                  <a:gd name="T29" fmla="*/ 127 h 129"/>
                  <a:gd name="T30" fmla="*/ 43 w 171"/>
                  <a:gd name="T31" fmla="*/ 113 h 129"/>
                  <a:gd name="T32" fmla="*/ 29 w 171"/>
                  <a:gd name="T33" fmla="*/ 107 h 129"/>
                  <a:gd name="T34" fmla="*/ 18 w 171"/>
                  <a:gd name="T35" fmla="*/ 98 h 129"/>
                  <a:gd name="T36" fmla="*/ 9 w 171"/>
                  <a:gd name="T37" fmla="*/ 86 h 129"/>
                  <a:gd name="T38" fmla="*/ 3 w 171"/>
                  <a:gd name="T39" fmla="*/ 73 h 129"/>
                  <a:gd name="T40" fmla="*/ 0 w 171"/>
                  <a:gd name="T41" fmla="*/ 58 h 129"/>
                  <a:gd name="T42" fmla="*/ 3 w 171"/>
                  <a:gd name="T43" fmla="*/ 43 h 129"/>
                  <a:gd name="T44" fmla="*/ 10 w 171"/>
                  <a:gd name="T45" fmla="*/ 26 h 129"/>
                  <a:gd name="T46" fmla="*/ 23 w 171"/>
                  <a:gd name="T47" fmla="*/ 13 h 129"/>
                  <a:gd name="T48" fmla="*/ 38 w 171"/>
                  <a:gd name="T49" fmla="*/ 3 h 129"/>
                  <a:gd name="T50" fmla="*/ 55 w 171"/>
                  <a:gd name="T5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129">
                    <a:moveTo>
                      <a:pt x="55" y="0"/>
                    </a:moveTo>
                    <a:lnTo>
                      <a:pt x="74" y="2"/>
                    </a:lnTo>
                    <a:lnTo>
                      <a:pt x="128" y="16"/>
                    </a:lnTo>
                    <a:lnTo>
                      <a:pt x="146" y="24"/>
                    </a:lnTo>
                    <a:lnTo>
                      <a:pt x="158" y="36"/>
                    </a:lnTo>
                    <a:lnTo>
                      <a:pt x="167" y="51"/>
                    </a:lnTo>
                    <a:lnTo>
                      <a:pt x="171" y="68"/>
                    </a:lnTo>
                    <a:lnTo>
                      <a:pt x="169" y="86"/>
                    </a:lnTo>
                    <a:lnTo>
                      <a:pt x="164" y="101"/>
                    </a:lnTo>
                    <a:lnTo>
                      <a:pt x="154" y="113"/>
                    </a:lnTo>
                    <a:lnTo>
                      <a:pt x="142" y="122"/>
                    </a:lnTo>
                    <a:lnTo>
                      <a:pt x="128" y="128"/>
                    </a:lnTo>
                    <a:lnTo>
                      <a:pt x="113" y="129"/>
                    </a:lnTo>
                    <a:lnTo>
                      <a:pt x="106" y="129"/>
                    </a:lnTo>
                    <a:lnTo>
                      <a:pt x="98" y="127"/>
                    </a:lnTo>
                    <a:lnTo>
                      <a:pt x="43" y="113"/>
                    </a:lnTo>
                    <a:lnTo>
                      <a:pt x="29" y="107"/>
                    </a:lnTo>
                    <a:lnTo>
                      <a:pt x="18" y="98"/>
                    </a:lnTo>
                    <a:lnTo>
                      <a:pt x="9" y="86"/>
                    </a:lnTo>
                    <a:lnTo>
                      <a:pt x="3" y="73"/>
                    </a:lnTo>
                    <a:lnTo>
                      <a:pt x="0" y="58"/>
                    </a:lnTo>
                    <a:lnTo>
                      <a:pt x="3" y="43"/>
                    </a:lnTo>
                    <a:lnTo>
                      <a:pt x="10" y="26"/>
                    </a:lnTo>
                    <a:lnTo>
                      <a:pt x="23" y="13"/>
                    </a:lnTo>
                    <a:lnTo>
                      <a:pt x="38" y="3"/>
                    </a:lnTo>
                    <a:lnTo>
                      <a:pt x="55"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7" name="Freeform 36"/>
              <p:cNvSpPr/>
              <p:nvPr/>
            </p:nvSpPr>
            <p:spPr bwMode="auto">
              <a:xfrm>
                <a:off x="5883276" y="2849563"/>
                <a:ext cx="30163" cy="23813"/>
              </a:xfrm>
              <a:custGeom>
                <a:avLst/>
                <a:gdLst>
                  <a:gd name="T0" fmla="*/ 54 w 170"/>
                  <a:gd name="T1" fmla="*/ 0 h 128"/>
                  <a:gd name="T2" fmla="*/ 73 w 170"/>
                  <a:gd name="T3" fmla="*/ 2 h 128"/>
                  <a:gd name="T4" fmla="*/ 127 w 170"/>
                  <a:gd name="T5" fmla="*/ 17 h 128"/>
                  <a:gd name="T6" fmla="*/ 141 w 170"/>
                  <a:gd name="T7" fmla="*/ 22 h 128"/>
                  <a:gd name="T8" fmla="*/ 153 w 170"/>
                  <a:gd name="T9" fmla="*/ 32 h 128"/>
                  <a:gd name="T10" fmla="*/ 162 w 170"/>
                  <a:gd name="T11" fmla="*/ 43 h 128"/>
                  <a:gd name="T12" fmla="*/ 168 w 170"/>
                  <a:gd name="T13" fmla="*/ 56 h 128"/>
                  <a:gd name="T14" fmla="*/ 170 w 170"/>
                  <a:gd name="T15" fmla="*/ 71 h 128"/>
                  <a:gd name="T16" fmla="*/ 168 w 170"/>
                  <a:gd name="T17" fmla="*/ 87 h 128"/>
                  <a:gd name="T18" fmla="*/ 162 w 170"/>
                  <a:gd name="T19" fmla="*/ 101 h 128"/>
                  <a:gd name="T20" fmla="*/ 153 w 170"/>
                  <a:gd name="T21" fmla="*/ 112 h 128"/>
                  <a:gd name="T22" fmla="*/ 141 w 170"/>
                  <a:gd name="T23" fmla="*/ 121 h 128"/>
                  <a:gd name="T24" fmla="*/ 127 w 170"/>
                  <a:gd name="T25" fmla="*/ 127 h 128"/>
                  <a:gd name="T26" fmla="*/ 112 w 170"/>
                  <a:gd name="T27" fmla="*/ 128 h 128"/>
                  <a:gd name="T28" fmla="*/ 105 w 170"/>
                  <a:gd name="T29" fmla="*/ 128 h 128"/>
                  <a:gd name="T30" fmla="*/ 97 w 170"/>
                  <a:gd name="T31" fmla="*/ 127 h 128"/>
                  <a:gd name="T32" fmla="*/ 43 w 170"/>
                  <a:gd name="T33" fmla="*/ 112 h 128"/>
                  <a:gd name="T34" fmla="*/ 29 w 170"/>
                  <a:gd name="T35" fmla="*/ 107 h 128"/>
                  <a:gd name="T36" fmla="*/ 17 w 170"/>
                  <a:gd name="T37" fmla="*/ 97 h 128"/>
                  <a:gd name="T38" fmla="*/ 7 w 170"/>
                  <a:gd name="T39" fmla="*/ 86 h 128"/>
                  <a:gd name="T40" fmla="*/ 2 w 170"/>
                  <a:gd name="T41" fmla="*/ 72 h 128"/>
                  <a:gd name="T42" fmla="*/ 0 w 170"/>
                  <a:gd name="T43" fmla="*/ 57 h 128"/>
                  <a:gd name="T44" fmla="*/ 2 w 170"/>
                  <a:gd name="T45" fmla="*/ 42 h 128"/>
                  <a:gd name="T46" fmla="*/ 9 w 170"/>
                  <a:gd name="T47" fmla="*/ 25 h 128"/>
                  <a:gd name="T48" fmla="*/ 21 w 170"/>
                  <a:gd name="T49" fmla="*/ 12 h 128"/>
                  <a:gd name="T50" fmla="*/ 36 w 170"/>
                  <a:gd name="T51" fmla="*/ 4 h 128"/>
                  <a:gd name="T52" fmla="*/ 54 w 170"/>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70" h="128">
                    <a:moveTo>
                      <a:pt x="54" y="0"/>
                    </a:moveTo>
                    <a:lnTo>
                      <a:pt x="73" y="2"/>
                    </a:lnTo>
                    <a:lnTo>
                      <a:pt x="127" y="17"/>
                    </a:lnTo>
                    <a:lnTo>
                      <a:pt x="141" y="22"/>
                    </a:lnTo>
                    <a:lnTo>
                      <a:pt x="153" y="32"/>
                    </a:lnTo>
                    <a:lnTo>
                      <a:pt x="162" y="43"/>
                    </a:lnTo>
                    <a:lnTo>
                      <a:pt x="168" y="56"/>
                    </a:lnTo>
                    <a:lnTo>
                      <a:pt x="170" y="71"/>
                    </a:lnTo>
                    <a:lnTo>
                      <a:pt x="168" y="87"/>
                    </a:lnTo>
                    <a:lnTo>
                      <a:pt x="162" y="101"/>
                    </a:lnTo>
                    <a:lnTo>
                      <a:pt x="153" y="112"/>
                    </a:lnTo>
                    <a:lnTo>
                      <a:pt x="141" y="121"/>
                    </a:lnTo>
                    <a:lnTo>
                      <a:pt x="127" y="127"/>
                    </a:lnTo>
                    <a:lnTo>
                      <a:pt x="112" y="128"/>
                    </a:lnTo>
                    <a:lnTo>
                      <a:pt x="105" y="128"/>
                    </a:lnTo>
                    <a:lnTo>
                      <a:pt x="97" y="127"/>
                    </a:lnTo>
                    <a:lnTo>
                      <a:pt x="43" y="112"/>
                    </a:lnTo>
                    <a:lnTo>
                      <a:pt x="29" y="107"/>
                    </a:lnTo>
                    <a:lnTo>
                      <a:pt x="17" y="97"/>
                    </a:lnTo>
                    <a:lnTo>
                      <a:pt x="7" y="86"/>
                    </a:lnTo>
                    <a:lnTo>
                      <a:pt x="2" y="72"/>
                    </a:lnTo>
                    <a:lnTo>
                      <a:pt x="0" y="57"/>
                    </a:lnTo>
                    <a:lnTo>
                      <a:pt x="2" y="42"/>
                    </a:lnTo>
                    <a:lnTo>
                      <a:pt x="9" y="25"/>
                    </a:lnTo>
                    <a:lnTo>
                      <a:pt x="21" y="12"/>
                    </a:lnTo>
                    <a:lnTo>
                      <a:pt x="36" y="4"/>
                    </a:lnTo>
                    <a:lnTo>
                      <a:pt x="54"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8" name="Freeform 37"/>
              <p:cNvSpPr/>
              <p:nvPr/>
            </p:nvSpPr>
            <p:spPr bwMode="auto">
              <a:xfrm>
                <a:off x="5881688" y="3022600"/>
                <a:ext cx="23813" cy="30163"/>
              </a:xfrm>
              <a:custGeom>
                <a:avLst/>
                <a:gdLst>
                  <a:gd name="T0" fmla="*/ 72 w 130"/>
                  <a:gd name="T1" fmla="*/ 0 h 169"/>
                  <a:gd name="T2" fmla="*/ 88 w 130"/>
                  <a:gd name="T3" fmla="*/ 2 h 169"/>
                  <a:gd name="T4" fmla="*/ 102 w 130"/>
                  <a:gd name="T5" fmla="*/ 9 h 169"/>
                  <a:gd name="T6" fmla="*/ 114 w 130"/>
                  <a:gd name="T7" fmla="*/ 17 h 169"/>
                  <a:gd name="T8" fmla="*/ 122 w 130"/>
                  <a:gd name="T9" fmla="*/ 29 h 169"/>
                  <a:gd name="T10" fmla="*/ 129 w 130"/>
                  <a:gd name="T11" fmla="*/ 43 h 169"/>
                  <a:gd name="T12" fmla="*/ 130 w 130"/>
                  <a:gd name="T13" fmla="*/ 58 h 169"/>
                  <a:gd name="T14" fmla="*/ 129 w 130"/>
                  <a:gd name="T15" fmla="*/ 73 h 169"/>
                  <a:gd name="T16" fmla="*/ 114 w 130"/>
                  <a:gd name="T17" fmla="*/ 127 h 169"/>
                  <a:gd name="T18" fmla="*/ 107 w 130"/>
                  <a:gd name="T19" fmla="*/ 141 h 169"/>
                  <a:gd name="T20" fmla="*/ 99 w 130"/>
                  <a:gd name="T21" fmla="*/ 154 h 169"/>
                  <a:gd name="T22" fmla="*/ 87 w 130"/>
                  <a:gd name="T23" fmla="*/ 162 h 169"/>
                  <a:gd name="T24" fmla="*/ 73 w 130"/>
                  <a:gd name="T25" fmla="*/ 167 h 169"/>
                  <a:gd name="T26" fmla="*/ 58 w 130"/>
                  <a:gd name="T27" fmla="*/ 169 h 169"/>
                  <a:gd name="T28" fmla="*/ 50 w 130"/>
                  <a:gd name="T29" fmla="*/ 169 h 169"/>
                  <a:gd name="T30" fmla="*/ 43 w 130"/>
                  <a:gd name="T31" fmla="*/ 167 h 169"/>
                  <a:gd name="T32" fmla="*/ 26 w 130"/>
                  <a:gd name="T33" fmla="*/ 160 h 169"/>
                  <a:gd name="T34" fmla="*/ 13 w 130"/>
                  <a:gd name="T35" fmla="*/ 148 h 169"/>
                  <a:gd name="T36" fmla="*/ 4 w 130"/>
                  <a:gd name="T37" fmla="*/ 132 h 169"/>
                  <a:gd name="T38" fmla="*/ 0 w 130"/>
                  <a:gd name="T39" fmla="*/ 115 h 169"/>
                  <a:gd name="T40" fmla="*/ 2 w 130"/>
                  <a:gd name="T41" fmla="*/ 97 h 169"/>
                  <a:gd name="T42" fmla="*/ 16 w 130"/>
                  <a:gd name="T43" fmla="*/ 43 h 169"/>
                  <a:gd name="T44" fmla="*/ 22 w 130"/>
                  <a:gd name="T45" fmla="*/ 29 h 169"/>
                  <a:gd name="T46" fmla="*/ 32 w 130"/>
                  <a:gd name="T47" fmla="*/ 17 h 169"/>
                  <a:gd name="T48" fmla="*/ 44 w 130"/>
                  <a:gd name="T49" fmla="*/ 9 h 169"/>
                  <a:gd name="T50" fmla="*/ 57 w 130"/>
                  <a:gd name="T51" fmla="*/ 2 h 169"/>
                  <a:gd name="T52" fmla="*/ 72 w 130"/>
                  <a:gd name="T5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69">
                    <a:moveTo>
                      <a:pt x="72" y="0"/>
                    </a:moveTo>
                    <a:lnTo>
                      <a:pt x="88" y="2"/>
                    </a:lnTo>
                    <a:lnTo>
                      <a:pt x="102" y="9"/>
                    </a:lnTo>
                    <a:lnTo>
                      <a:pt x="114" y="17"/>
                    </a:lnTo>
                    <a:lnTo>
                      <a:pt x="122" y="29"/>
                    </a:lnTo>
                    <a:lnTo>
                      <a:pt x="129" y="43"/>
                    </a:lnTo>
                    <a:lnTo>
                      <a:pt x="130" y="58"/>
                    </a:lnTo>
                    <a:lnTo>
                      <a:pt x="129" y="73"/>
                    </a:lnTo>
                    <a:lnTo>
                      <a:pt x="114" y="127"/>
                    </a:lnTo>
                    <a:lnTo>
                      <a:pt x="107" y="141"/>
                    </a:lnTo>
                    <a:lnTo>
                      <a:pt x="99" y="154"/>
                    </a:lnTo>
                    <a:lnTo>
                      <a:pt x="87" y="162"/>
                    </a:lnTo>
                    <a:lnTo>
                      <a:pt x="73" y="167"/>
                    </a:lnTo>
                    <a:lnTo>
                      <a:pt x="58" y="169"/>
                    </a:lnTo>
                    <a:lnTo>
                      <a:pt x="50" y="169"/>
                    </a:lnTo>
                    <a:lnTo>
                      <a:pt x="43" y="167"/>
                    </a:lnTo>
                    <a:lnTo>
                      <a:pt x="26" y="160"/>
                    </a:lnTo>
                    <a:lnTo>
                      <a:pt x="13" y="148"/>
                    </a:lnTo>
                    <a:lnTo>
                      <a:pt x="4" y="132"/>
                    </a:lnTo>
                    <a:lnTo>
                      <a:pt x="0" y="115"/>
                    </a:lnTo>
                    <a:lnTo>
                      <a:pt x="2" y="97"/>
                    </a:lnTo>
                    <a:lnTo>
                      <a:pt x="16" y="43"/>
                    </a:lnTo>
                    <a:lnTo>
                      <a:pt x="22" y="29"/>
                    </a:lnTo>
                    <a:lnTo>
                      <a:pt x="32" y="17"/>
                    </a:lnTo>
                    <a:lnTo>
                      <a:pt x="44" y="9"/>
                    </a:lnTo>
                    <a:lnTo>
                      <a:pt x="57" y="2"/>
                    </a:lnTo>
                    <a:lnTo>
                      <a:pt x="72"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49" name="Freeform 38"/>
              <p:cNvSpPr>
                <a:spLocks noEditPoints="1"/>
              </p:cNvSpPr>
              <p:nvPr/>
            </p:nvSpPr>
            <p:spPr bwMode="auto">
              <a:xfrm>
                <a:off x="5448301" y="2809875"/>
                <a:ext cx="392113" cy="606425"/>
              </a:xfrm>
              <a:custGeom>
                <a:avLst/>
                <a:gdLst>
                  <a:gd name="T0" fmla="*/ 251 w 2218"/>
                  <a:gd name="T1" fmla="*/ 3240 h 3439"/>
                  <a:gd name="T2" fmla="*/ 325 w 2218"/>
                  <a:gd name="T3" fmla="*/ 3313 h 3439"/>
                  <a:gd name="T4" fmla="*/ 1866 w 2218"/>
                  <a:gd name="T5" fmla="*/ 3321 h 3439"/>
                  <a:gd name="T6" fmla="*/ 1954 w 2218"/>
                  <a:gd name="T7" fmla="*/ 3263 h 3439"/>
                  <a:gd name="T8" fmla="*/ 1977 w 2218"/>
                  <a:gd name="T9" fmla="*/ 2751 h 3439"/>
                  <a:gd name="T10" fmla="*/ 1977 w 2218"/>
                  <a:gd name="T11" fmla="*/ 2637 h 3439"/>
                  <a:gd name="T12" fmla="*/ 351 w 2218"/>
                  <a:gd name="T13" fmla="*/ 118 h 3439"/>
                  <a:gd name="T14" fmla="*/ 264 w 2218"/>
                  <a:gd name="T15" fmla="*/ 176 h 3439"/>
                  <a:gd name="T16" fmla="*/ 240 w 2218"/>
                  <a:gd name="T17" fmla="*/ 345 h 3439"/>
                  <a:gd name="T18" fmla="*/ 1967 w 2218"/>
                  <a:gd name="T19" fmla="*/ 199 h 3439"/>
                  <a:gd name="T20" fmla="*/ 1893 w 2218"/>
                  <a:gd name="T21" fmla="*/ 126 h 3439"/>
                  <a:gd name="T22" fmla="*/ 379 w 2218"/>
                  <a:gd name="T23" fmla="*/ 0 h 3439"/>
                  <a:gd name="T24" fmla="*/ 1955 w 2218"/>
                  <a:gd name="T25" fmla="*/ 29 h 3439"/>
                  <a:gd name="T26" fmla="*/ 2065 w 2218"/>
                  <a:gd name="T27" fmla="*/ 137 h 3439"/>
                  <a:gd name="T28" fmla="*/ 2094 w 2218"/>
                  <a:gd name="T29" fmla="*/ 391 h 3439"/>
                  <a:gd name="T30" fmla="*/ 2094 w 2218"/>
                  <a:gd name="T31" fmla="*/ 452 h 3439"/>
                  <a:gd name="T32" fmla="*/ 2094 w 2218"/>
                  <a:gd name="T33" fmla="*/ 675 h 3439"/>
                  <a:gd name="T34" fmla="*/ 2094 w 2218"/>
                  <a:gd name="T35" fmla="*/ 952 h 3439"/>
                  <a:gd name="T36" fmla="*/ 2094 w 2218"/>
                  <a:gd name="T37" fmla="*/ 1013 h 3439"/>
                  <a:gd name="T38" fmla="*/ 2094 w 2218"/>
                  <a:gd name="T39" fmla="*/ 1291 h 3439"/>
                  <a:gd name="T40" fmla="*/ 2094 w 2218"/>
                  <a:gd name="T41" fmla="*/ 1515 h 3439"/>
                  <a:gd name="T42" fmla="*/ 2094 w 2218"/>
                  <a:gd name="T43" fmla="*/ 1574 h 3439"/>
                  <a:gd name="T44" fmla="*/ 2094 w 2218"/>
                  <a:gd name="T45" fmla="*/ 1852 h 3439"/>
                  <a:gd name="T46" fmla="*/ 2094 w 2218"/>
                  <a:gd name="T47" fmla="*/ 2074 h 3439"/>
                  <a:gd name="T48" fmla="*/ 2094 w 2218"/>
                  <a:gd name="T49" fmla="*/ 2135 h 3439"/>
                  <a:gd name="T50" fmla="*/ 2094 w 2218"/>
                  <a:gd name="T51" fmla="*/ 2412 h 3439"/>
                  <a:gd name="T52" fmla="*/ 2094 w 2218"/>
                  <a:gd name="T53" fmla="*/ 2635 h 3439"/>
                  <a:gd name="T54" fmla="*/ 2111 w 2218"/>
                  <a:gd name="T55" fmla="*/ 2591 h 3439"/>
                  <a:gd name="T56" fmla="*/ 2160 w 2218"/>
                  <a:gd name="T57" fmla="*/ 2563 h 3439"/>
                  <a:gd name="T58" fmla="*/ 2211 w 2218"/>
                  <a:gd name="T59" fmla="*/ 2591 h 3439"/>
                  <a:gd name="T60" fmla="*/ 2202 w 2218"/>
                  <a:gd name="T61" fmla="*/ 2689 h 3439"/>
                  <a:gd name="T62" fmla="*/ 2161 w 2218"/>
                  <a:gd name="T63" fmla="*/ 2729 h 3439"/>
                  <a:gd name="T64" fmla="*/ 2102 w 2218"/>
                  <a:gd name="T65" fmla="*/ 2712 h 3439"/>
                  <a:gd name="T66" fmla="*/ 2098 w 2218"/>
                  <a:gd name="T67" fmla="*/ 2835 h 3439"/>
                  <a:gd name="T68" fmla="*/ 2142 w 2218"/>
                  <a:gd name="T69" fmla="*/ 2870 h 3439"/>
                  <a:gd name="T70" fmla="*/ 2124 w 2218"/>
                  <a:gd name="T71" fmla="*/ 2973 h 3439"/>
                  <a:gd name="T72" fmla="*/ 2094 w 2218"/>
                  <a:gd name="T73" fmla="*/ 3186 h 3439"/>
                  <a:gd name="T74" fmla="*/ 2044 w 2218"/>
                  <a:gd name="T75" fmla="*/ 3335 h 3439"/>
                  <a:gd name="T76" fmla="*/ 1918 w 2218"/>
                  <a:gd name="T77" fmla="*/ 3426 h 3439"/>
                  <a:gd name="T78" fmla="*/ 338 w 2218"/>
                  <a:gd name="T79" fmla="*/ 3436 h 3439"/>
                  <a:gd name="T80" fmla="*/ 200 w 2218"/>
                  <a:gd name="T81" fmla="*/ 3364 h 3439"/>
                  <a:gd name="T82" fmla="*/ 128 w 2218"/>
                  <a:gd name="T83" fmla="*/ 3227 h 3439"/>
                  <a:gd name="T84" fmla="*/ 103 w 2218"/>
                  <a:gd name="T85" fmla="*/ 2982 h 3439"/>
                  <a:gd name="T86" fmla="*/ 73 w 2218"/>
                  <a:gd name="T87" fmla="*/ 2890 h 3439"/>
                  <a:gd name="T88" fmla="*/ 102 w 2218"/>
                  <a:gd name="T89" fmla="*/ 2841 h 3439"/>
                  <a:gd name="T90" fmla="*/ 124 w 2218"/>
                  <a:gd name="T91" fmla="*/ 2835 h 3439"/>
                  <a:gd name="T92" fmla="*/ 87 w 2218"/>
                  <a:gd name="T93" fmla="*/ 2729 h 3439"/>
                  <a:gd name="T94" fmla="*/ 23 w 2218"/>
                  <a:gd name="T95" fmla="*/ 2706 h 3439"/>
                  <a:gd name="T96" fmla="*/ 2 w 2218"/>
                  <a:gd name="T97" fmla="*/ 2605 h 3439"/>
                  <a:gd name="T98" fmla="*/ 43 w 2218"/>
                  <a:gd name="T99" fmla="*/ 2564 h 3439"/>
                  <a:gd name="T100" fmla="*/ 106 w 2218"/>
                  <a:gd name="T101" fmla="*/ 2588 h 3439"/>
                  <a:gd name="T102" fmla="*/ 128 w 2218"/>
                  <a:gd name="T103" fmla="*/ 212 h 3439"/>
                  <a:gd name="T104" fmla="*/ 200 w 2218"/>
                  <a:gd name="T105" fmla="*/ 74 h 3439"/>
                  <a:gd name="T106" fmla="*/ 338 w 2218"/>
                  <a:gd name="T107" fmla="*/ 3 h 3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18" h="3439">
                    <a:moveTo>
                      <a:pt x="240" y="2751"/>
                    </a:moveTo>
                    <a:lnTo>
                      <a:pt x="240" y="3187"/>
                    </a:lnTo>
                    <a:lnTo>
                      <a:pt x="243" y="3214"/>
                    </a:lnTo>
                    <a:lnTo>
                      <a:pt x="251" y="3240"/>
                    </a:lnTo>
                    <a:lnTo>
                      <a:pt x="264" y="3263"/>
                    </a:lnTo>
                    <a:lnTo>
                      <a:pt x="281" y="3283"/>
                    </a:lnTo>
                    <a:lnTo>
                      <a:pt x="302" y="3300"/>
                    </a:lnTo>
                    <a:lnTo>
                      <a:pt x="325" y="3313"/>
                    </a:lnTo>
                    <a:lnTo>
                      <a:pt x="351" y="3321"/>
                    </a:lnTo>
                    <a:lnTo>
                      <a:pt x="379" y="3324"/>
                    </a:lnTo>
                    <a:lnTo>
                      <a:pt x="1838" y="3324"/>
                    </a:lnTo>
                    <a:lnTo>
                      <a:pt x="1866" y="3321"/>
                    </a:lnTo>
                    <a:lnTo>
                      <a:pt x="1893" y="3313"/>
                    </a:lnTo>
                    <a:lnTo>
                      <a:pt x="1916" y="3300"/>
                    </a:lnTo>
                    <a:lnTo>
                      <a:pt x="1937" y="3283"/>
                    </a:lnTo>
                    <a:lnTo>
                      <a:pt x="1954" y="3263"/>
                    </a:lnTo>
                    <a:lnTo>
                      <a:pt x="1967" y="3240"/>
                    </a:lnTo>
                    <a:lnTo>
                      <a:pt x="1974" y="3214"/>
                    </a:lnTo>
                    <a:lnTo>
                      <a:pt x="1977" y="3187"/>
                    </a:lnTo>
                    <a:lnTo>
                      <a:pt x="1977" y="2751"/>
                    </a:lnTo>
                    <a:lnTo>
                      <a:pt x="240" y="2751"/>
                    </a:lnTo>
                    <a:close/>
                    <a:moveTo>
                      <a:pt x="240" y="458"/>
                    </a:moveTo>
                    <a:lnTo>
                      <a:pt x="240" y="2637"/>
                    </a:lnTo>
                    <a:lnTo>
                      <a:pt x="1977" y="2637"/>
                    </a:lnTo>
                    <a:lnTo>
                      <a:pt x="1977" y="458"/>
                    </a:lnTo>
                    <a:lnTo>
                      <a:pt x="240" y="458"/>
                    </a:lnTo>
                    <a:close/>
                    <a:moveTo>
                      <a:pt x="379" y="115"/>
                    </a:moveTo>
                    <a:lnTo>
                      <a:pt x="351" y="118"/>
                    </a:lnTo>
                    <a:lnTo>
                      <a:pt x="325" y="126"/>
                    </a:lnTo>
                    <a:lnTo>
                      <a:pt x="302" y="138"/>
                    </a:lnTo>
                    <a:lnTo>
                      <a:pt x="281" y="155"/>
                    </a:lnTo>
                    <a:lnTo>
                      <a:pt x="264" y="176"/>
                    </a:lnTo>
                    <a:lnTo>
                      <a:pt x="251" y="199"/>
                    </a:lnTo>
                    <a:lnTo>
                      <a:pt x="243" y="225"/>
                    </a:lnTo>
                    <a:lnTo>
                      <a:pt x="240" y="253"/>
                    </a:lnTo>
                    <a:lnTo>
                      <a:pt x="240" y="345"/>
                    </a:lnTo>
                    <a:lnTo>
                      <a:pt x="1977" y="345"/>
                    </a:lnTo>
                    <a:lnTo>
                      <a:pt x="1977" y="253"/>
                    </a:lnTo>
                    <a:lnTo>
                      <a:pt x="1974" y="225"/>
                    </a:lnTo>
                    <a:lnTo>
                      <a:pt x="1967" y="199"/>
                    </a:lnTo>
                    <a:lnTo>
                      <a:pt x="1954" y="176"/>
                    </a:lnTo>
                    <a:lnTo>
                      <a:pt x="1937" y="155"/>
                    </a:lnTo>
                    <a:lnTo>
                      <a:pt x="1916" y="138"/>
                    </a:lnTo>
                    <a:lnTo>
                      <a:pt x="1893" y="126"/>
                    </a:lnTo>
                    <a:lnTo>
                      <a:pt x="1866" y="118"/>
                    </a:lnTo>
                    <a:lnTo>
                      <a:pt x="1838" y="115"/>
                    </a:lnTo>
                    <a:lnTo>
                      <a:pt x="379" y="115"/>
                    </a:lnTo>
                    <a:close/>
                    <a:moveTo>
                      <a:pt x="379" y="0"/>
                    </a:moveTo>
                    <a:lnTo>
                      <a:pt x="1838" y="0"/>
                    </a:lnTo>
                    <a:lnTo>
                      <a:pt x="1880" y="3"/>
                    </a:lnTo>
                    <a:lnTo>
                      <a:pt x="1918" y="13"/>
                    </a:lnTo>
                    <a:lnTo>
                      <a:pt x="1955" y="29"/>
                    </a:lnTo>
                    <a:lnTo>
                      <a:pt x="1988" y="49"/>
                    </a:lnTo>
                    <a:lnTo>
                      <a:pt x="2018" y="74"/>
                    </a:lnTo>
                    <a:lnTo>
                      <a:pt x="2044" y="104"/>
                    </a:lnTo>
                    <a:lnTo>
                      <a:pt x="2065" y="137"/>
                    </a:lnTo>
                    <a:lnTo>
                      <a:pt x="2081" y="173"/>
                    </a:lnTo>
                    <a:lnTo>
                      <a:pt x="2090" y="212"/>
                    </a:lnTo>
                    <a:lnTo>
                      <a:pt x="2094" y="253"/>
                    </a:lnTo>
                    <a:lnTo>
                      <a:pt x="2094" y="391"/>
                    </a:lnTo>
                    <a:lnTo>
                      <a:pt x="2094" y="394"/>
                    </a:lnTo>
                    <a:lnTo>
                      <a:pt x="2094" y="395"/>
                    </a:lnTo>
                    <a:lnTo>
                      <a:pt x="2094" y="451"/>
                    </a:lnTo>
                    <a:lnTo>
                      <a:pt x="2094" y="452"/>
                    </a:lnTo>
                    <a:lnTo>
                      <a:pt x="2094" y="454"/>
                    </a:lnTo>
                    <a:lnTo>
                      <a:pt x="2094" y="672"/>
                    </a:lnTo>
                    <a:lnTo>
                      <a:pt x="2094" y="673"/>
                    </a:lnTo>
                    <a:lnTo>
                      <a:pt x="2094" y="675"/>
                    </a:lnTo>
                    <a:lnTo>
                      <a:pt x="2094" y="731"/>
                    </a:lnTo>
                    <a:lnTo>
                      <a:pt x="2094" y="733"/>
                    </a:lnTo>
                    <a:lnTo>
                      <a:pt x="2094" y="734"/>
                    </a:lnTo>
                    <a:lnTo>
                      <a:pt x="2094" y="952"/>
                    </a:lnTo>
                    <a:lnTo>
                      <a:pt x="2094" y="954"/>
                    </a:lnTo>
                    <a:lnTo>
                      <a:pt x="2094" y="955"/>
                    </a:lnTo>
                    <a:lnTo>
                      <a:pt x="2094" y="1012"/>
                    </a:lnTo>
                    <a:lnTo>
                      <a:pt x="2094" y="1013"/>
                    </a:lnTo>
                    <a:lnTo>
                      <a:pt x="2094" y="1014"/>
                    </a:lnTo>
                    <a:lnTo>
                      <a:pt x="2094" y="1233"/>
                    </a:lnTo>
                    <a:lnTo>
                      <a:pt x="2094" y="1235"/>
                    </a:lnTo>
                    <a:lnTo>
                      <a:pt x="2094" y="1291"/>
                    </a:lnTo>
                    <a:lnTo>
                      <a:pt x="2094" y="1293"/>
                    </a:lnTo>
                    <a:lnTo>
                      <a:pt x="2094" y="1294"/>
                    </a:lnTo>
                    <a:lnTo>
                      <a:pt x="2094" y="1512"/>
                    </a:lnTo>
                    <a:lnTo>
                      <a:pt x="2094" y="1515"/>
                    </a:lnTo>
                    <a:lnTo>
                      <a:pt x="2094" y="1516"/>
                    </a:lnTo>
                    <a:lnTo>
                      <a:pt x="2094" y="1572"/>
                    </a:lnTo>
                    <a:lnTo>
                      <a:pt x="2094" y="1573"/>
                    </a:lnTo>
                    <a:lnTo>
                      <a:pt x="2094" y="1574"/>
                    </a:lnTo>
                    <a:lnTo>
                      <a:pt x="2094" y="1793"/>
                    </a:lnTo>
                    <a:lnTo>
                      <a:pt x="2094" y="1794"/>
                    </a:lnTo>
                    <a:lnTo>
                      <a:pt x="2094" y="1795"/>
                    </a:lnTo>
                    <a:lnTo>
                      <a:pt x="2094" y="1852"/>
                    </a:lnTo>
                    <a:lnTo>
                      <a:pt x="2094" y="1853"/>
                    </a:lnTo>
                    <a:lnTo>
                      <a:pt x="2094" y="1855"/>
                    </a:lnTo>
                    <a:lnTo>
                      <a:pt x="2094" y="2073"/>
                    </a:lnTo>
                    <a:lnTo>
                      <a:pt x="2094" y="2074"/>
                    </a:lnTo>
                    <a:lnTo>
                      <a:pt x="2094" y="2076"/>
                    </a:lnTo>
                    <a:lnTo>
                      <a:pt x="2094" y="2132"/>
                    </a:lnTo>
                    <a:lnTo>
                      <a:pt x="2094" y="2134"/>
                    </a:lnTo>
                    <a:lnTo>
                      <a:pt x="2094" y="2135"/>
                    </a:lnTo>
                    <a:lnTo>
                      <a:pt x="2094" y="2353"/>
                    </a:lnTo>
                    <a:lnTo>
                      <a:pt x="2094" y="2355"/>
                    </a:lnTo>
                    <a:lnTo>
                      <a:pt x="2094" y="2356"/>
                    </a:lnTo>
                    <a:lnTo>
                      <a:pt x="2094" y="2412"/>
                    </a:lnTo>
                    <a:lnTo>
                      <a:pt x="2094" y="2413"/>
                    </a:lnTo>
                    <a:lnTo>
                      <a:pt x="2094" y="2414"/>
                    </a:lnTo>
                    <a:lnTo>
                      <a:pt x="2094" y="2634"/>
                    </a:lnTo>
                    <a:lnTo>
                      <a:pt x="2094" y="2635"/>
                    </a:lnTo>
                    <a:lnTo>
                      <a:pt x="2094" y="2637"/>
                    </a:lnTo>
                    <a:lnTo>
                      <a:pt x="2094" y="2646"/>
                    </a:lnTo>
                    <a:lnTo>
                      <a:pt x="2105" y="2606"/>
                    </a:lnTo>
                    <a:lnTo>
                      <a:pt x="2111" y="2591"/>
                    </a:lnTo>
                    <a:lnTo>
                      <a:pt x="2120" y="2579"/>
                    </a:lnTo>
                    <a:lnTo>
                      <a:pt x="2132" y="2571"/>
                    </a:lnTo>
                    <a:lnTo>
                      <a:pt x="2145" y="2564"/>
                    </a:lnTo>
                    <a:lnTo>
                      <a:pt x="2160" y="2563"/>
                    </a:lnTo>
                    <a:lnTo>
                      <a:pt x="2176" y="2564"/>
                    </a:lnTo>
                    <a:lnTo>
                      <a:pt x="2190" y="2571"/>
                    </a:lnTo>
                    <a:lnTo>
                      <a:pt x="2202" y="2580"/>
                    </a:lnTo>
                    <a:lnTo>
                      <a:pt x="2211" y="2591"/>
                    </a:lnTo>
                    <a:lnTo>
                      <a:pt x="2217" y="2605"/>
                    </a:lnTo>
                    <a:lnTo>
                      <a:pt x="2218" y="2620"/>
                    </a:lnTo>
                    <a:lnTo>
                      <a:pt x="2216" y="2635"/>
                    </a:lnTo>
                    <a:lnTo>
                      <a:pt x="2202" y="2689"/>
                    </a:lnTo>
                    <a:lnTo>
                      <a:pt x="2196" y="2703"/>
                    </a:lnTo>
                    <a:lnTo>
                      <a:pt x="2187" y="2714"/>
                    </a:lnTo>
                    <a:lnTo>
                      <a:pt x="2175" y="2724"/>
                    </a:lnTo>
                    <a:lnTo>
                      <a:pt x="2161" y="2729"/>
                    </a:lnTo>
                    <a:lnTo>
                      <a:pt x="2146" y="2731"/>
                    </a:lnTo>
                    <a:lnTo>
                      <a:pt x="2131" y="2729"/>
                    </a:lnTo>
                    <a:lnTo>
                      <a:pt x="2115" y="2723"/>
                    </a:lnTo>
                    <a:lnTo>
                      <a:pt x="2102" y="2712"/>
                    </a:lnTo>
                    <a:lnTo>
                      <a:pt x="2094" y="2698"/>
                    </a:lnTo>
                    <a:lnTo>
                      <a:pt x="2094" y="2698"/>
                    </a:lnTo>
                    <a:lnTo>
                      <a:pt x="2094" y="2835"/>
                    </a:lnTo>
                    <a:lnTo>
                      <a:pt x="2098" y="2835"/>
                    </a:lnTo>
                    <a:lnTo>
                      <a:pt x="2102" y="2836"/>
                    </a:lnTo>
                    <a:lnTo>
                      <a:pt x="2119" y="2843"/>
                    </a:lnTo>
                    <a:lnTo>
                      <a:pt x="2132" y="2855"/>
                    </a:lnTo>
                    <a:lnTo>
                      <a:pt x="2142" y="2870"/>
                    </a:lnTo>
                    <a:lnTo>
                      <a:pt x="2145" y="2887"/>
                    </a:lnTo>
                    <a:lnTo>
                      <a:pt x="2143" y="2906"/>
                    </a:lnTo>
                    <a:lnTo>
                      <a:pt x="2129" y="2959"/>
                    </a:lnTo>
                    <a:lnTo>
                      <a:pt x="2124" y="2973"/>
                    </a:lnTo>
                    <a:lnTo>
                      <a:pt x="2115" y="2984"/>
                    </a:lnTo>
                    <a:lnTo>
                      <a:pt x="2105" y="2992"/>
                    </a:lnTo>
                    <a:lnTo>
                      <a:pt x="2094" y="2997"/>
                    </a:lnTo>
                    <a:lnTo>
                      <a:pt x="2094" y="3186"/>
                    </a:lnTo>
                    <a:lnTo>
                      <a:pt x="2090" y="3227"/>
                    </a:lnTo>
                    <a:lnTo>
                      <a:pt x="2081" y="3265"/>
                    </a:lnTo>
                    <a:lnTo>
                      <a:pt x="2065" y="3302"/>
                    </a:lnTo>
                    <a:lnTo>
                      <a:pt x="2044" y="3335"/>
                    </a:lnTo>
                    <a:lnTo>
                      <a:pt x="2018" y="3364"/>
                    </a:lnTo>
                    <a:lnTo>
                      <a:pt x="1988" y="3390"/>
                    </a:lnTo>
                    <a:lnTo>
                      <a:pt x="1955" y="3410"/>
                    </a:lnTo>
                    <a:lnTo>
                      <a:pt x="1918" y="3426"/>
                    </a:lnTo>
                    <a:lnTo>
                      <a:pt x="1880" y="3436"/>
                    </a:lnTo>
                    <a:lnTo>
                      <a:pt x="1838" y="3439"/>
                    </a:lnTo>
                    <a:lnTo>
                      <a:pt x="379" y="3439"/>
                    </a:lnTo>
                    <a:lnTo>
                      <a:pt x="338" y="3436"/>
                    </a:lnTo>
                    <a:lnTo>
                      <a:pt x="299" y="3426"/>
                    </a:lnTo>
                    <a:lnTo>
                      <a:pt x="262" y="3410"/>
                    </a:lnTo>
                    <a:lnTo>
                      <a:pt x="229" y="3390"/>
                    </a:lnTo>
                    <a:lnTo>
                      <a:pt x="200" y="3364"/>
                    </a:lnTo>
                    <a:lnTo>
                      <a:pt x="174" y="3335"/>
                    </a:lnTo>
                    <a:lnTo>
                      <a:pt x="153" y="3302"/>
                    </a:lnTo>
                    <a:lnTo>
                      <a:pt x="137" y="3265"/>
                    </a:lnTo>
                    <a:lnTo>
                      <a:pt x="128" y="3227"/>
                    </a:lnTo>
                    <a:lnTo>
                      <a:pt x="124" y="3186"/>
                    </a:lnTo>
                    <a:lnTo>
                      <a:pt x="124" y="2997"/>
                    </a:lnTo>
                    <a:lnTo>
                      <a:pt x="113" y="2991"/>
                    </a:lnTo>
                    <a:lnTo>
                      <a:pt x="103" y="2982"/>
                    </a:lnTo>
                    <a:lnTo>
                      <a:pt x="94" y="2972"/>
                    </a:lnTo>
                    <a:lnTo>
                      <a:pt x="89" y="2959"/>
                    </a:lnTo>
                    <a:lnTo>
                      <a:pt x="75" y="2906"/>
                    </a:lnTo>
                    <a:lnTo>
                      <a:pt x="73" y="2890"/>
                    </a:lnTo>
                    <a:lnTo>
                      <a:pt x="75" y="2875"/>
                    </a:lnTo>
                    <a:lnTo>
                      <a:pt x="80" y="2862"/>
                    </a:lnTo>
                    <a:lnTo>
                      <a:pt x="90" y="2851"/>
                    </a:lnTo>
                    <a:lnTo>
                      <a:pt x="102" y="2841"/>
                    </a:lnTo>
                    <a:lnTo>
                      <a:pt x="116" y="2836"/>
                    </a:lnTo>
                    <a:lnTo>
                      <a:pt x="119" y="2835"/>
                    </a:lnTo>
                    <a:lnTo>
                      <a:pt x="121" y="2835"/>
                    </a:lnTo>
                    <a:lnTo>
                      <a:pt x="124" y="2835"/>
                    </a:lnTo>
                    <a:lnTo>
                      <a:pt x="124" y="2698"/>
                    </a:lnTo>
                    <a:lnTo>
                      <a:pt x="116" y="2712"/>
                    </a:lnTo>
                    <a:lnTo>
                      <a:pt x="103" y="2723"/>
                    </a:lnTo>
                    <a:lnTo>
                      <a:pt x="87" y="2729"/>
                    </a:lnTo>
                    <a:lnTo>
                      <a:pt x="68" y="2731"/>
                    </a:lnTo>
                    <a:lnTo>
                      <a:pt x="51" y="2727"/>
                    </a:lnTo>
                    <a:lnTo>
                      <a:pt x="35" y="2719"/>
                    </a:lnTo>
                    <a:lnTo>
                      <a:pt x="23" y="2706"/>
                    </a:lnTo>
                    <a:lnTo>
                      <a:pt x="16" y="2689"/>
                    </a:lnTo>
                    <a:lnTo>
                      <a:pt x="2" y="2635"/>
                    </a:lnTo>
                    <a:lnTo>
                      <a:pt x="0" y="2620"/>
                    </a:lnTo>
                    <a:lnTo>
                      <a:pt x="2" y="2605"/>
                    </a:lnTo>
                    <a:lnTo>
                      <a:pt x="7" y="2591"/>
                    </a:lnTo>
                    <a:lnTo>
                      <a:pt x="16" y="2579"/>
                    </a:lnTo>
                    <a:lnTo>
                      <a:pt x="28" y="2571"/>
                    </a:lnTo>
                    <a:lnTo>
                      <a:pt x="43" y="2564"/>
                    </a:lnTo>
                    <a:lnTo>
                      <a:pt x="61" y="2562"/>
                    </a:lnTo>
                    <a:lnTo>
                      <a:pt x="78" y="2567"/>
                    </a:lnTo>
                    <a:lnTo>
                      <a:pt x="93" y="2575"/>
                    </a:lnTo>
                    <a:lnTo>
                      <a:pt x="106" y="2588"/>
                    </a:lnTo>
                    <a:lnTo>
                      <a:pt x="114" y="2605"/>
                    </a:lnTo>
                    <a:lnTo>
                      <a:pt x="124" y="2645"/>
                    </a:lnTo>
                    <a:lnTo>
                      <a:pt x="124" y="253"/>
                    </a:lnTo>
                    <a:lnTo>
                      <a:pt x="128" y="212"/>
                    </a:lnTo>
                    <a:lnTo>
                      <a:pt x="137" y="173"/>
                    </a:lnTo>
                    <a:lnTo>
                      <a:pt x="153" y="137"/>
                    </a:lnTo>
                    <a:lnTo>
                      <a:pt x="174" y="104"/>
                    </a:lnTo>
                    <a:lnTo>
                      <a:pt x="200" y="74"/>
                    </a:lnTo>
                    <a:lnTo>
                      <a:pt x="229" y="49"/>
                    </a:lnTo>
                    <a:lnTo>
                      <a:pt x="262" y="29"/>
                    </a:lnTo>
                    <a:lnTo>
                      <a:pt x="299" y="13"/>
                    </a:lnTo>
                    <a:lnTo>
                      <a:pt x="338" y="3"/>
                    </a:lnTo>
                    <a:lnTo>
                      <a:pt x="379"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50" name="Freeform 39"/>
              <p:cNvSpPr/>
              <p:nvPr/>
            </p:nvSpPr>
            <p:spPr bwMode="auto">
              <a:xfrm>
                <a:off x="5843588" y="3167063"/>
                <a:ext cx="22225" cy="28575"/>
              </a:xfrm>
              <a:custGeom>
                <a:avLst/>
                <a:gdLst>
                  <a:gd name="T0" fmla="*/ 70 w 132"/>
                  <a:gd name="T1" fmla="*/ 0 h 168"/>
                  <a:gd name="T2" fmla="*/ 89 w 132"/>
                  <a:gd name="T3" fmla="*/ 2 h 168"/>
                  <a:gd name="T4" fmla="*/ 102 w 132"/>
                  <a:gd name="T5" fmla="*/ 7 h 168"/>
                  <a:gd name="T6" fmla="*/ 114 w 132"/>
                  <a:gd name="T7" fmla="*/ 17 h 168"/>
                  <a:gd name="T8" fmla="*/ 124 w 132"/>
                  <a:gd name="T9" fmla="*/ 29 h 168"/>
                  <a:gd name="T10" fmla="*/ 129 w 132"/>
                  <a:gd name="T11" fmla="*/ 41 h 168"/>
                  <a:gd name="T12" fmla="*/ 132 w 132"/>
                  <a:gd name="T13" fmla="*/ 56 h 168"/>
                  <a:gd name="T14" fmla="*/ 129 w 132"/>
                  <a:gd name="T15" fmla="*/ 72 h 168"/>
                  <a:gd name="T16" fmla="*/ 114 w 132"/>
                  <a:gd name="T17" fmla="*/ 125 h 168"/>
                  <a:gd name="T18" fmla="*/ 109 w 132"/>
                  <a:gd name="T19" fmla="*/ 140 h 168"/>
                  <a:gd name="T20" fmla="*/ 99 w 132"/>
                  <a:gd name="T21" fmla="*/ 152 h 168"/>
                  <a:gd name="T22" fmla="*/ 87 w 132"/>
                  <a:gd name="T23" fmla="*/ 161 h 168"/>
                  <a:gd name="T24" fmla="*/ 73 w 132"/>
                  <a:gd name="T25" fmla="*/ 167 h 168"/>
                  <a:gd name="T26" fmla="*/ 58 w 132"/>
                  <a:gd name="T27" fmla="*/ 168 h 168"/>
                  <a:gd name="T28" fmla="*/ 51 w 132"/>
                  <a:gd name="T29" fmla="*/ 168 h 168"/>
                  <a:gd name="T30" fmla="*/ 43 w 132"/>
                  <a:gd name="T31" fmla="*/ 167 h 168"/>
                  <a:gd name="T32" fmla="*/ 27 w 132"/>
                  <a:gd name="T33" fmla="*/ 158 h 168"/>
                  <a:gd name="T34" fmla="*/ 13 w 132"/>
                  <a:gd name="T35" fmla="*/ 147 h 168"/>
                  <a:gd name="T36" fmla="*/ 5 w 132"/>
                  <a:gd name="T37" fmla="*/ 132 h 168"/>
                  <a:gd name="T38" fmla="*/ 0 w 132"/>
                  <a:gd name="T39" fmla="*/ 115 h 168"/>
                  <a:gd name="T40" fmla="*/ 3 w 132"/>
                  <a:gd name="T41" fmla="*/ 97 h 168"/>
                  <a:gd name="T42" fmla="*/ 18 w 132"/>
                  <a:gd name="T43" fmla="*/ 41 h 168"/>
                  <a:gd name="T44" fmla="*/ 25 w 132"/>
                  <a:gd name="T45" fmla="*/ 26 h 168"/>
                  <a:gd name="T46" fmla="*/ 37 w 132"/>
                  <a:gd name="T47" fmla="*/ 13 h 168"/>
                  <a:gd name="T48" fmla="*/ 52 w 132"/>
                  <a:gd name="T49" fmla="*/ 3 h 168"/>
                  <a:gd name="T50" fmla="*/ 70 w 132"/>
                  <a:gd name="T51"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2" h="168">
                    <a:moveTo>
                      <a:pt x="70" y="0"/>
                    </a:moveTo>
                    <a:lnTo>
                      <a:pt x="89" y="2"/>
                    </a:lnTo>
                    <a:lnTo>
                      <a:pt x="102" y="7"/>
                    </a:lnTo>
                    <a:lnTo>
                      <a:pt x="114" y="17"/>
                    </a:lnTo>
                    <a:lnTo>
                      <a:pt x="124" y="29"/>
                    </a:lnTo>
                    <a:lnTo>
                      <a:pt x="129" y="41"/>
                    </a:lnTo>
                    <a:lnTo>
                      <a:pt x="132" y="56"/>
                    </a:lnTo>
                    <a:lnTo>
                      <a:pt x="129" y="72"/>
                    </a:lnTo>
                    <a:lnTo>
                      <a:pt x="114" y="125"/>
                    </a:lnTo>
                    <a:lnTo>
                      <a:pt x="109" y="140"/>
                    </a:lnTo>
                    <a:lnTo>
                      <a:pt x="99" y="152"/>
                    </a:lnTo>
                    <a:lnTo>
                      <a:pt x="87" y="161"/>
                    </a:lnTo>
                    <a:lnTo>
                      <a:pt x="73" y="167"/>
                    </a:lnTo>
                    <a:lnTo>
                      <a:pt x="58" y="168"/>
                    </a:lnTo>
                    <a:lnTo>
                      <a:pt x="51" y="168"/>
                    </a:lnTo>
                    <a:lnTo>
                      <a:pt x="43" y="167"/>
                    </a:lnTo>
                    <a:lnTo>
                      <a:pt x="27" y="158"/>
                    </a:lnTo>
                    <a:lnTo>
                      <a:pt x="13" y="147"/>
                    </a:lnTo>
                    <a:lnTo>
                      <a:pt x="5" y="132"/>
                    </a:lnTo>
                    <a:lnTo>
                      <a:pt x="0" y="115"/>
                    </a:lnTo>
                    <a:lnTo>
                      <a:pt x="3" y="97"/>
                    </a:lnTo>
                    <a:lnTo>
                      <a:pt x="18" y="41"/>
                    </a:lnTo>
                    <a:lnTo>
                      <a:pt x="25" y="26"/>
                    </a:lnTo>
                    <a:lnTo>
                      <a:pt x="37" y="13"/>
                    </a:lnTo>
                    <a:lnTo>
                      <a:pt x="52" y="3"/>
                    </a:lnTo>
                    <a:lnTo>
                      <a:pt x="70"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51" name="Freeform 40"/>
              <p:cNvSpPr/>
              <p:nvPr/>
            </p:nvSpPr>
            <p:spPr bwMode="auto">
              <a:xfrm>
                <a:off x="5829301" y="3214688"/>
                <a:ext cx="23813" cy="28575"/>
              </a:xfrm>
              <a:custGeom>
                <a:avLst/>
                <a:gdLst>
                  <a:gd name="T0" fmla="*/ 69 w 131"/>
                  <a:gd name="T1" fmla="*/ 0 h 169"/>
                  <a:gd name="T2" fmla="*/ 88 w 131"/>
                  <a:gd name="T3" fmla="*/ 2 h 169"/>
                  <a:gd name="T4" fmla="*/ 102 w 131"/>
                  <a:gd name="T5" fmla="*/ 9 h 169"/>
                  <a:gd name="T6" fmla="*/ 114 w 131"/>
                  <a:gd name="T7" fmla="*/ 17 h 169"/>
                  <a:gd name="T8" fmla="*/ 123 w 131"/>
                  <a:gd name="T9" fmla="*/ 29 h 169"/>
                  <a:gd name="T10" fmla="*/ 129 w 131"/>
                  <a:gd name="T11" fmla="*/ 43 h 169"/>
                  <a:gd name="T12" fmla="*/ 131 w 131"/>
                  <a:gd name="T13" fmla="*/ 58 h 169"/>
                  <a:gd name="T14" fmla="*/ 129 w 131"/>
                  <a:gd name="T15" fmla="*/ 72 h 169"/>
                  <a:gd name="T16" fmla="*/ 114 w 131"/>
                  <a:gd name="T17" fmla="*/ 127 h 169"/>
                  <a:gd name="T18" fmla="*/ 109 w 131"/>
                  <a:gd name="T19" fmla="*/ 141 h 169"/>
                  <a:gd name="T20" fmla="*/ 99 w 131"/>
                  <a:gd name="T21" fmla="*/ 152 h 169"/>
                  <a:gd name="T22" fmla="*/ 87 w 131"/>
                  <a:gd name="T23" fmla="*/ 162 h 169"/>
                  <a:gd name="T24" fmla="*/ 73 w 131"/>
                  <a:gd name="T25" fmla="*/ 167 h 169"/>
                  <a:gd name="T26" fmla="*/ 58 w 131"/>
                  <a:gd name="T27" fmla="*/ 169 h 169"/>
                  <a:gd name="T28" fmla="*/ 51 w 131"/>
                  <a:gd name="T29" fmla="*/ 168 h 169"/>
                  <a:gd name="T30" fmla="*/ 43 w 131"/>
                  <a:gd name="T31" fmla="*/ 167 h 169"/>
                  <a:gd name="T32" fmla="*/ 26 w 131"/>
                  <a:gd name="T33" fmla="*/ 160 h 169"/>
                  <a:gd name="T34" fmla="*/ 13 w 131"/>
                  <a:gd name="T35" fmla="*/ 148 h 169"/>
                  <a:gd name="T36" fmla="*/ 5 w 131"/>
                  <a:gd name="T37" fmla="*/ 132 h 169"/>
                  <a:gd name="T38" fmla="*/ 0 w 131"/>
                  <a:gd name="T39" fmla="*/ 115 h 169"/>
                  <a:gd name="T40" fmla="*/ 2 w 131"/>
                  <a:gd name="T41" fmla="*/ 97 h 169"/>
                  <a:gd name="T42" fmla="*/ 17 w 131"/>
                  <a:gd name="T43" fmla="*/ 43 h 169"/>
                  <a:gd name="T44" fmla="*/ 25 w 131"/>
                  <a:gd name="T45" fmla="*/ 26 h 169"/>
                  <a:gd name="T46" fmla="*/ 37 w 131"/>
                  <a:gd name="T47" fmla="*/ 13 h 169"/>
                  <a:gd name="T48" fmla="*/ 52 w 131"/>
                  <a:gd name="T49" fmla="*/ 4 h 169"/>
                  <a:gd name="T50" fmla="*/ 69 w 131"/>
                  <a:gd name="T5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1" h="169">
                    <a:moveTo>
                      <a:pt x="69" y="0"/>
                    </a:moveTo>
                    <a:lnTo>
                      <a:pt x="88" y="2"/>
                    </a:lnTo>
                    <a:lnTo>
                      <a:pt x="102" y="9"/>
                    </a:lnTo>
                    <a:lnTo>
                      <a:pt x="114" y="17"/>
                    </a:lnTo>
                    <a:lnTo>
                      <a:pt x="123" y="29"/>
                    </a:lnTo>
                    <a:lnTo>
                      <a:pt x="129" y="43"/>
                    </a:lnTo>
                    <a:lnTo>
                      <a:pt x="131" y="58"/>
                    </a:lnTo>
                    <a:lnTo>
                      <a:pt x="129" y="72"/>
                    </a:lnTo>
                    <a:lnTo>
                      <a:pt x="114" y="127"/>
                    </a:lnTo>
                    <a:lnTo>
                      <a:pt x="109" y="141"/>
                    </a:lnTo>
                    <a:lnTo>
                      <a:pt x="99" y="152"/>
                    </a:lnTo>
                    <a:lnTo>
                      <a:pt x="87" y="162"/>
                    </a:lnTo>
                    <a:lnTo>
                      <a:pt x="73" y="167"/>
                    </a:lnTo>
                    <a:lnTo>
                      <a:pt x="58" y="169"/>
                    </a:lnTo>
                    <a:lnTo>
                      <a:pt x="51" y="168"/>
                    </a:lnTo>
                    <a:lnTo>
                      <a:pt x="43" y="167"/>
                    </a:lnTo>
                    <a:lnTo>
                      <a:pt x="26" y="160"/>
                    </a:lnTo>
                    <a:lnTo>
                      <a:pt x="13" y="148"/>
                    </a:lnTo>
                    <a:lnTo>
                      <a:pt x="5" y="132"/>
                    </a:lnTo>
                    <a:lnTo>
                      <a:pt x="0" y="115"/>
                    </a:lnTo>
                    <a:lnTo>
                      <a:pt x="2" y="97"/>
                    </a:lnTo>
                    <a:lnTo>
                      <a:pt x="17" y="43"/>
                    </a:lnTo>
                    <a:lnTo>
                      <a:pt x="25" y="26"/>
                    </a:lnTo>
                    <a:lnTo>
                      <a:pt x="37" y="13"/>
                    </a:lnTo>
                    <a:lnTo>
                      <a:pt x="52" y="4"/>
                    </a:lnTo>
                    <a:lnTo>
                      <a:pt x="69"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52" name="Freeform 41"/>
              <p:cNvSpPr/>
              <p:nvPr/>
            </p:nvSpPr>
            <p:spPr bwMode="auto">
              <a:xfrm>
                <a:off x="5856288" y="3119438"/>
                <a:ext cx="22225" cy="28575"/>
              </a:xfrm>
              <a:custGeom>
                <a:avLst/>
                <a:gdLst>
                  <a:gd name="T0" fmla="*/ 68 w 130"/>
                  <a:gd name="T1" fmla="*/ 0 h 169"/>
                  <a:gd name="T2" fmla="*/ 87 w 130"/>
                  <a:gd name="T3" fmla="*/ 2 h 169"/>
                  <a:gd name="T4" fmla="*/ 101 w 130"/>
                  <a:gd name="T5" fmla="*/ 8 h 169"/>
                  <a:gd name="T6" fmla="*/ 112 w 130"/>
                  <a:gd name="T7" fmla="*/ 17 h 169"/>
                  <a:gd name="T8" fmla="*/ 122 w 130"/>
                  <a:gd name="T9" fmla="*/ 28 h 169"/>
                  <a:gd name="T10" fmla="*/ 127 w 130"/>
                  <a:gd name="T11" fmla="*/ 42 h 169"/>
                  <a:gd name="T12" fmla="*/ 130 w 130"/>
                  <a:gd name="T13" fmla="*/ 57 h 169"/>
                  <a:gd name="T14" fmla="*/ 127 w 130"/>
                  <a:gd name="T15" fmla="*/ 72 h 169"/>
                  <a:gd name="T16" fmla="*/ 112 w 130"/>
                  <a:gd name="T17" fmla="*/ 126 h 169"/>
                  <a:gd name="T18" fmla="*/ 107 w 130"/>
                  <a:gd name="T19" fmla="*/ 140 h 169"/>
                  <a:gd name="T20" fmla="*/ 97 w 130"/>
                  <a:gd name="T21" fmla="*/ 152 h 169"/>
                  <a:gd name="T22" fmla="*/ 86 w 130"/>
                  <a:gd name="T23" fmla="*/ 161 h 169"/>
                  <a:gd name="T24" fmla="*/ 73 w 130"/>
                  <a:gd name="T25" fmla="*/ 167 h 169"/>
                  <a:gd name="T26" fmla="*/ 58 w 130"/>
                  <a:gd name="T27" fmla="*/ 169 h 169"/>
                  <a:gd name="T28" fmla="*/ 50 w 130"/>
                  <a:gd name="T29" fmla="*/ 168 h 169"/>
                  <a:gd name="T30" fmla="*/ 43 w 130"/>
                  <a:gd name="T31" fmla="*/ 167 h 169"/>
                  <a:gd name="T32" fmla="*/ 27 w 130"/>
                  <a:gd name="T33" fmla="*/ 160 h 169"/>
                  <a:gd name="T34" fmla="*/ 16 w 130"/>
                  <a:gd name="T35" fmla="*/ 152 h 169"/>
                  <a:gd name="T36" fmla="*/ 7 w 130"/>
                  <a:gd name="T37" fmla="*/ 140 h 169"/>
                  <a:gd name="T38" fmla="*/ 2 w 130"/>
                  <a:gd name="T39" fmla="*/ 126 h 169"/>
                  <a:gd name="T40" fmla="*/ 0 w 130"/>
                  <a:gd name="T41" fmla="*/ 111 h 169"/>
                  <a:gd name="T42" fmla="*/ 2 w 130"/>
                  <a:gd name="T43" fmla="*/ 97 h 169"/>
                  <a:gd name="T44" fmla="*/ 16 w 130"/>
                  <a:gd name="T45" fmla="*/ 42 h 169"/>
                  <a:gd name="T46" fmla="*/ 23 w 130"/>
                  <a:gd name="T47" fmla="*/ 25 h 169"/>
                  <a:gd name="T48" fmla="*/ 35 w 130"/>
                  <a:gd name="T49" fmla="*/ 13 h 169"/>
                  <a:gd name="T50" fmla="*/ 51 w 130"/>
                  <a:gd name="T51" fmla="*/ 3 h 169"/>
                  <a:gd name="T52" fmla="*/ 68 w 130"/>
                  <a:gd name="T53"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69">
                    <a:moveTo>
                      <a:pt x="68" y="0"/>
                    </a:moveTo>
                    <a:lnTo>
                      <a:pt x="87" y="2"/>
                    </a:lnTo>
                    <a:lnTo>
                      <a:pt x="101" y="8"/>
                    </a:lnTo>
                    <a:lnTo>
                      <a:pt x="112" y="17"/>
                    </a:lnTo>
                    <a:lnTo>
                      <a:pt x="122" y="28"/>
                    </a:lnTo>
                    <a:lnTo>
                      <a:pt x="127" y="42"/>
                    </a:lnTo>
                    <a:lnTo>
                      <a:pt x="130" y="57"/>
                    </a:lnTo>
                    <a:lnTo>
                      <a:pt x="127" y="72"/>
                    </a:lnTo>
                    <a:lnTo>
                      <a:pt x="112" y="126"/>
                    </a:lnTo>
                    <a:lnTo>
                      <a:pt x="107" y="140"/>
                    </a:lnTo>
                    <a:lnTo>
                      <a:pt x="97" y="152"/>
                    </a:lnTo>
                    <a:lnTo>
                      <a:pt x="86" y="161"/>
                    </a:lnTo>
                    <a:lnTo>
                      <a:pt x="73" y="167"/>
                    </a:lnTo>
                    <a:lnTo>
                      <a:pt x="58" y="169"/>
                    </a:lnTo>
                    <a:lnTo>
                      <a:pt x="50" y="168"/>
                    </a:lnTo>
                    <a:lnTo>
                      <a:pt x="43" y="167"/>
                    </a:lnTo>
                    <a:lnTo>
                      <a:pt x="27" y="160"/>
                    </a:lnTo>
                    <a:lnTo>
                      <a:pt x="16" y="152"/>
                    </a:lnTo>
                    <a:lnTo>
                      <a:pt x="7" y="140"/>
                    </a:lnTo>
                    <a:lnTo>
                      <a:pt x="2" y="126"/>
                    </a:lnTo>
                    <a:lnTo>
                      <a:pt x="0" y="111"/>
                    </a:lnTo>
                    <a:lnTo>
                      <a:pt x="2" y="97"/>
                    </a:lnTo>
                    <a:lnTo>
                      <a:pt x="16" y="42"/>
                    </a:lnTo>
                    <a:lnTo>
                      <a:pt x="23" y="25"/>
                    </a:lnTo>
                    <a:lnTo>
                      <a:pt x="35" y="13"/>
                    </a:lnTo>
                    <a:lnTo>
                      <a:pt x="51" y="3"/>
                    </a:lnTo>
                    <a:lnTo>
                      <a:pt x="68"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53" name="Freeform 42"/>
              <p:cNvSpPr/>
              <p:nvPr/>
            </p:nvSpPr>
            <p:spPr bwMode="auto">
              <a:xfrm>
                <a:off x="5868988" y="3071813"/>
                <a:ext cx="22225" cy="28575"/>
              </a:xfrm>
              <a:custGeom>
                <a:avLst/>
                <a:gdLst>
                  <a:gd name="T0" fmla="*/ 68 w 130"/>
                  <a:gd name="T1" fmla="*/ 0 h 168"/>
                  <a:gd name="T2" fmla="*/ 87 w 130"/>
                  <a:gd name="T3" fmla="*/ 2 h 168"/>
                  <a:gd name="T4" fmla="*/ 102 w 130"/>
                  <a:gd name="T5" fmla="*/ 7 h 168"/>
                  <a:gd name="T6" fmla="*/ 114 w 130"/>
                  <a:gd name="T7" fmla="*/ 17 h 168"/>
                  <a:gd name="T8" fmla="*/ 122 w 130"/>
                  <a:gd name="T9" fmla="*/ 28 h 168"/>
                  <a:gd name="T10" fmla="*/ 128 w 130"/>
                  <a:gd name="T11" fmla="*/ 41 h 168"/>
                  <a:gd name="T12" fmla="*/ 130 w 130"/>
                  <a:gd name="T13" fmla="*/ 56 h 168"/>
                  <a:gd name="T14" fmla="*/ 128 w 130"/>
                  <a:gd name="T15" fmla="*/ 72 h 168"/>
                  <a:gd name="T16" fmla="*/ 114 w 130"/>
                  <a:gd name="T17" fmla="*/ 125 h 168"/>
                  <a:gd name="T18" fmla="*/ 107 w 130"/>
                  <a:gd name="T19" fmla="*/ 140 h 168"/>
                  <a:gd name="T20" fmla="*/ 97 w 130"/>
                  <a:gd name="T21" fmla="*/ 152 h 168"/>
                  <a:gd name="T22" fmla="*/ 86 w 130"/>
                  <a:gd name="T23" fmla="*/ 160 h 168"/>
                  <a:gd name="T24" fmla="*/ 73 w 130"/>
                  <a:gd name="T25" fmla="*/ 166 h 168"/>
                  <a:gd name="T26" fmla="*/ 58 w 130"/>
                  <a:gd name="T27" fmla="*/ 168 h 168"/>
                  <a:gd name="T28" fmla="*/ 50 w 130"/>
                  <a:gd name="T29" fmla="*/ 168 h 168"/>
                  <a:gd name="T30" fmla="*/ 43 w 130"/>
                  <a:gd name="T31" fmla="*/ 167 h 168"/>
                  <a:gd name="T32" fmla="*/ 28 w 130"/>
                  <a:gd name="T33" fmla="*/ 160 h 168"/>
                  <a:gd name="T34" fmla="*/ 16 w 130"/>
                  <a:gd name="T35" fmla="*/ 151 h 168"/>
                  <a:gd name="T36" fmla="*/ 7 w 130"/>
                  <a:gd name="T37" fmla="*/ 139 h 168"/>
                  <a:gd name="T38" fmla="*/ 2 w 130"/>
                  <a:gd name="T39" fmla="*/ 126 h 168"/>
                  <a:gd name="T40" fmla="*/ 0 w 130"/>
                  <a:gd name="T41" fmla="*/ 111 h 168"/>
                  <a:gd name="T42" fmla="*/ 2 w 130"/>
                  <a:gd name="T43" fmla="*/ 96 h 168"/>
                  <a:gd name="T44" fmla="*/ 16 w 130"/>
                  <a:gd name="T45" fmla="*/ 42 h 168"/>
                  <a:gd name="T46" fmla="*/ 23 w 130"/>
                  <a:gd name="T47" fmla="*/ 25 h 168"/>
                  <a:gd name="T48" fmla="*/ 36 w 130"/>
                  <a:gd name="T49" fmla="*/ 12 h 168"/>
                  <a:gd name="T50" fmla="*/ 51 w 130"/>
                  <a:gd name="T51" fmla="*/ 3 h 168"/>
                  <a:gd name="T52" fmla="*/ 68 w 130"/>
                  <a:gd name="T53"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68">
                    <a:moveTo>
                      <a:pt x="68" y="0"/>
                    </a:moveTo>
                    <a:lnTo>
                      <a:pt x="87" y="2"/>
                    </a:lnTo>
                    <a:lnTo>
                      <a:pt x="102" y="7"/>
                    </a:lnTo>
                    <a:lnTo>
                      <a:pt x="114" y="17"/>
                    </a:lnTo>
                    <a:lnTo>
                      <a:pt x="122" y="28"/>
                    </a:lnTo>
                    <a:lnTo>
                      <a:pt x="128" y="41"/>
                    </a:lnTo>
                    <a:lnTo>
                      <a:pt x="130" y="56"/>
                    </a:lnTo>
                    <a:lnTo>
                      <a:pt x="128" y="72"/>
                    </a:lnTo>
                    <a:lnTo>
                      <a:pt x="114" y="125"/>
                    </a:lnTo>
                    <a:lnTo>
                      <a:pt x="107" y="140"/>
                    </a:lnTo>
                    <a:lnTo>
                      <a:pt x="97" y="152"/>
                    </a:lnTo>
                    <a:lnTo>
                      <a:pt x="86" y="160"/>
                    </a:lnTo>
                    <a:lnTo>
                      <a:pt x="73" y="166"/>
                    </a:lnTo>
                    <a:lnTo>
                      <a:pt x="58" y="168"/>
                    </a:lnTo>
                    <a:lnTo>
                      <a:pt x="50" y="168"/>
                    </a:lnTo>
                    <a:lnTo>
                      <a:pt x="43" y="167"/>
                    </a:lnTo>
                    <a:lnTo>
                      <a:pt x="28" y="160"/>
                    </a:lnTo>
                    <a:lnTo>
                      <a:pt x="16" y="151"/>
                    </a:lnTo>
                    <a:lnTo>
                      <a:pt x="7" y="139"/>
                    </a:lnTo>
                    <a:lnTo>
                      <a:pt x="2" y="126"/>
                    </a:lnTo>
                    <a:lnTo>
                      <a:pt x="0" y="111"/>
                    </a:lnTo>
                    <a:lnTo>
                      <a:pt x="2" y="96"/>
                    </a:lnTo>
                    <a:lnTo>
                      <a:pt x="16" y="42"/>
                    </a:lnTo>
                    <a:lnTo>
                      <a:pt x="23" y="25"/>
                    </a:lnTo>
                    <a:lnTo>
                      <a:pt x="36" y="12"/>
                    </a:lnTo>
                    <a:lnTo>
                      <a:pt x="51" y="3"/>
                    </a:lnTo>
                    <a:lnTo>
                      <a:pt x="68" y="0"/>
                    </a:lnTo>
                    <a:close/>
                  </a:path>
                </a:pathLst>
              </a:custGeom>
              <a:solidFill>
                <a:srgbClr val="595F6F"/>
              </a:solidFill>
              <a:ln w="0">
                <a:solidFill>
                  <a:srgbClr val="00B0F0"/>
                </a:solid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grpSp>
      </p:grpSp>
      <p:grpSp>
        <p:nvGrpSpPr>
          <p:cNvPr id="154" name="组合 153"/>
          <p:cNvGrpSpPr/>
          <p:nvPr/>
        </p:nvGrpSpPr>
        <p:grpSpPr>
          <a:xfrm>
            <a:off x="3161951" y="4570475"/>
            <a:ext cx="756000" cy="756000"/>
            <a:chOff x="3601073" y="4272088"/>
            <a:chExt cx="756000" cy="756000"/>
          </a:xfrm>
        </p:grpSpPr>
        <p:sp>
          <p:nvSpPr>
            <p:cNvPr id="155" name="Oval 26"/>
            <p:cNvSpPr>
              <a:spLocks noChangeAspect="1"/>
            </p:cNvSpPr>
            <p:nvPr/>
          </p:nvSpPr>
          <p:spPr>
            <a:xfrm flipH="1">
              <a:off x="3601073" y="4272088"/>
              <a:ext cx="756000" cy="756000"/>
            </a:xfrm>
            <a:prstGeom prst="ellipse">
              <a:avLst/>
            </a:prstGeom>
            <a:gradFill>
              <a:gsLst>
                <a:gs pos="14000">
                  <a:srgbClr val="00B0F0"/>
                </a:gs>
                <a:gs pos="64000">
                  <a:srgbClr val="0BB0AD"/>
                </a:gs>
                <a:gs pos="42000">
                  <a:srgbClr val="13FFEC"/>
                </a:gs>
              </a:gsLst>
              <a:lin ang="5400000" scaled="0"/>
            </a:gradFill>
            <a:ln w="12700" cap="flat" cmpd="sng" algn="ctr">
              <a:noFill/>
              <a:prstDash val="solid"/>
              <a:miter lim="800000"/>
            </a:ln>
            <a:effectLst>
              <a:outerShdw blurRad="508000" dist="190500" dir="5400000" algn="tl" rotWithShape="0">
                <a:srgbClr val="222328">
                  <a:alpha val="5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dirty="0">
                <a:ln>
                  <a:noFill/>
                </a:ln>
                <a:solidFill>
                  <a:schemeClr val="bg1"/>
                </a:solidFill>
                <a:effectLst/>
                <a:uLnTx/>
                <a:uFillTx/>
                <a:cs typeface="+mn-ea"/>
                <a:sym typeface="+mn-lt"/>
              </a:endParaRPr>
            </a:p>
          </p:txBody>
        </p:sp>
        <p:grpSp>
          <p:nvGrpSpPr>
            <p:cNvPr id="156" name="Group 82"/>
            <p:cNvGrpSpPr>
              <a:grpSpLocks noChangeAspect="1"/>
            </p:cNvGrpSpPr>
            <p:nvPr/>
          </p:nvGrpSpPr>
          <p:grpSpPr>
            <a:xfrm>
              <a:off x="3849247" y="4534602"/>
              <a:ext cx="252000" cy="252000"/>
              <a:chOff x="5319713" y="3014663"/>
              <a:chExt cx="609600" cy="609600"/>
            </a:xfrm>
            <a:solidFill>
              <a:srgbClr val="FFFFFF"/>
            </a:solidFill>
          </p:grpSpPr>
          <p:sp>
            <p:nvSpPr>
              <p:cNvPr id="157" name="Freeform 47"/>
              <p:cNvSpPr>
                <a:spLocks noEditPoints="1"/>
              </p:cNvSpPr>
              <p:nvPr/>
            </p:nvSpPr>
            <p:spPr bwMode="auto">
              <a:xfrm>
                <a:off x="5776913" y="3238501"/>
                <a:ext cx="101600" cy="101600"/>
              </a:xfrm>
              <a:custGeom>
                <a:avLst/>
                <a:gdLst>
                  <a:gd name="T0" fmla="*/ 257 w 576"/>
                  <a:gd name="T1" fmla="*/ 119 h 576"/>
                  <a:gd name="T2" fmla="*/ 201 w 576"/>
                  <a:gd name="T3" fmla="*/ 139 h 576"/>
                  <a:gd name="T4" fmla="*/ 156 w 576"/>
                  <a:gd name="T5" fmla="*/ 177 h 576"/>
                  <a:gd name="T6" fmla="*/ 126 w 576"/>
                  <a:gd name="T7" fmla="*/ 229 h 576"/>
                  <a:gd name="T8" fmla="*/ 115 w 576"/>
                  <a:gd name="T9" fmla="*/ 288 h 576"/>
                  <a:gd name="T10" fmla="*/ 126 w 576"/>
                  <a:gd name="T11" fmla="*/ 349 h 576"/>
                  <a:gd name="T12" fmla="*/ 156 w 576"/>
                  <a:gd name="T13" fmla="*/ 399 h 576"/>
                  <a:gd name="T14" fmla="*/ 201 w 576"/>
                  <a:gd name="T15" fmla="*/ 437 h 576"/>
                  <a:gd name="T16" fmla="*/ 257 w 576"/>
                  <a:gd name="T17" fmla="*/ 458 h 576"/>
                  <a:gd name="T18" fmla="*/ 319 w 576"/>
                  <a:gd name="T19" fmla="*/ 458 h 576"/>
                  <a:gd name="T20" fmla="*/ 375 w 576"/>
                  <a:gd name="T21" fmla="*/ 437 h 576"/>
                  <a:gd name="T22" fmla="*/ 420 w 576"/>
                  <a:gd name="T23" fmla="*/ 399 h 576"/>
                  <a:gd name="T24" fmla="*/ 450 w 576"/>
                  <a:gd name="T25" fmla="*/ 349 h 576"/>
                  <a:gd name="T26" fmla="*/ 461 w 576"/>
                  <a:gd name="T27" fmla="*/ 288 h 576"/>
                  <a:gd name="T28" fmla="*/ 450 w 576"/>
                  <a:gd name="T29" fmla="*/ 229 h 576"/>
                  <a:gd name="T30" fmla="*/ 420 w 576"/>
                  <a:gd name="T31" fmla="*/ 177 h 576"/>
                  <a:gd name="T32" fmla="*/ 375 w 576"/>
                  <a:gd name="T33" fmla="*/ 139 h 576"/>
                  <a:gd name="T34" fmla="*/ 319 w 576"/>
                  <a:gd name="T35" fmla="*/ 119 h 576"/>
                  <a:gd name="T36" fmla="*/ 288 w 576"/>
                  <a:gd name="T37" fmla="*/ 0 h 576"/>
                  <a:gd name="T38" fmla="*/ 371 w 576"/>
                  <a:gd name="T39" fmla="*/ 13 h 576"/>
                  <a:gd name="T40" fmla="*/ 445 w 576"/>
                  <a:gd name="T41" fmla="*/ 46 h 576"/>
                  <a:gd name="T42" fmla="*/ 505 w 576"/>
                  <a:gd name="T43" fmla="*/ 100 h 576"/>
                  <a:gd name="T44" fmla="*/ 549 w 576"/>
                  <a:gd name="T45" fmla="*/ 167 h 576"/>
                  <a:gd name="T46" fmla="*/ 573 w 576"/>
                  <a:gd name="T47" fmla="*/ 246 h 576"/>
                  <a:gd name="T48" fmla="*/ 573 w 576"/>
                  <a:gd name="T49" fmla="*/ 331 h 576"/>
                  <a:gd name="T50" fmla="*/ 549 w 576"/>
                  <a:gd name="T51" fmla="*/ 410 h 576"/>
                  <a:gd name="T52" fmla="*/ 505 w 576"/>
                  <a:gd name="T53" fmla="*/ 477 h 576"/>
                  <a:gd name="T54" fmla="*/ 445 w 576"/>
                  <a:gd name="T55" fmla="*/ 530 h 576"/>
                  <a:gd name="T56" fmla="*/ 371 w 576"/>
                  <a:gd name="T57" fmla="*/ 564 h 576"/>
                  <a:gd name="T58" fmla="*/ 288 w 576"/>
                  <a:gd name="T59" fmla="*/ 576 h 576"/>
                  <a:gd name="T60" fmla="*/ 205 w 576"/>
                  <a:gd name="T61" fmla="*/ 564 h 576"/>
                  <a:gd name="T62" fmla="*/ 131 w 576"/>
                  <a:gd name="T63" fmla="*/ 530 h 576"/>
                  <a:gd name="T64" fmla="*/ 71 w 576"/>
                  <a:gd name="T65" fmla="*/ 477 h 576"/>
                  <a:gd name="T66" fmla="*/ 27 w 576"/>
                  <a:gd name="T67" fmla="*/ 410 h 576"/>
                  <a:gd name="T68" fmla="*/ 3 w 576"/>
                  <a:gd name="T69" fmla="*/ 331 h 576"/>
                  <a:gd name="T70" fmla="*/ 3 w 576"/>
                  <a:gd name="T71" fmla="*/ 246 h 576"/>
                  <a:gd name="T72" fmla="*/ 27 w 576"/>
                  <a:gd name="T73" fmla="*/ 167 h 576"/>
                  <a:gd name="T74" fmla="*/ 71 w 576"/>
                  <a:gd name="T75" fmla="*/ 100 h 576"/>
                  <a:gd name="T76" fmla="*/ 131 w 576"/>
                  <a:gd name="T77" fmla="*/ 46 h 576"/>
                  <a:gd name="T78" fmla="*/ 205 w 576"/>
                  <a:gd name="T79" fmla="*/ 13 h 576"/>
                  <a:gd name="T80" fmla="*/ 288 w 576"/>
                  <a:gd name="T81" fmla="*/ 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6" h="576">
                    <a:moveTo>
                      <a:pt x="288" y="115"/>
                    </a:moveTo>
                    <a:lnTo>
                      <a:pt x="257" y="119"/>
                    </a:lnTo>
                    <a:lnTo>
                      <a:pt x="227" y="126"/>
                    </a:lnTo>
                    <a:lnTo>
                      <a:pt x="201" y="139"/>
                    </a:lnTo>
                    <a:lnTo>
                      <a:pt x="177" y="156"/>
                    </a:lnTo>
                    <a:lnTo>
                      <a:pt x="156" y="177"/>
                    </a:lnTo>
                    <a:lnTo>
                      <a:pt x="139" y="201"/>
                    </a:lnTo>
                    <a:lnTo>
                      <a:pt x="126" y="229"/>
                    </a:lnTo>
                    <a:lnTo>
                      <a:pt x="118" y="257"/>
                    </a:lnTo>
                    <a:lnTo>
                      <a:pt x="115" y="288"/>
                    </a:lnTo>
                    <a:lnTo>
                      <a:pt x="118" y="320"/>
                    </a:lnTo>
                    <a:lnTo>
                      <a:pt x="126" y="349"/>
                    </a:lnTo>
                    <a:lnTo>
                      <a:pt x="139" y="375"/>
                    </a:lnTo>
                    <a:lnTo>
                      <a:pt x="156" y="399"/>
                    </a:lnTo>
                    <a:lnTo>
                      <a:pt x="177" y="420"/>
                    </a:lnTo>
                    <a:lnTo>
                      <a:pt x="201" y="437"/>
                    </a:lnTo>
                    <a:lnTo>
                      <a:pt x="227" y="451"/>
                    </a:lnTo>
                    <a:lnTo>
                      <a:pt x="257" y="458"/>
                    </a:lnTo>
                    <a:lnTo>
                      <a:pt x="288" y="461"/>
                    </a:lnTo>
                    <a:lnTo>
                      <a:pt x="319" y="458"/>
                    </a:lnTo>
                    <a:lnTo>
                      <a:pt x="349" y="451"/>
                    </a:lnTo>
                    <a:lnTo>
                      <a:pt x="375" y="437"/>
                    </a:lnTo>
                    <a:lnTo>
                      <a:pt x="399" y="420"/>
                    </a:lnTo>
                    <a:lnTo>
                      <a:pt x="420" y="399"/>
                    </a:lnTo>
                    <a:lnTo>
                      <a:pt x="437" y="375"/>
                    </a:lnTo>
                    <a:lnTo>
                      <a:pt x="450" y="349"/>
                    </a:lnTo>
                    <a:lnTo>
                      <a:pt x="458" y="320"/>
                    </a:lnTo>
                    <a:lnTo>
                      <a:pt x="461" y="288"/>
                    </a:lnTo>
                    <a:lnTo>
                      <a:pt x="458" y="257"/>
                    </a:lnTo>
                    <a:lnTo>
                      <a:pt x="450" y="229"/>
                    </a:lnTo>
                    <a:lnTo>
                      <a:pt x="437" y="201"/>
                    </a:lnTo>
                    <a:lnTo>
                      <a:pt x="420" y="177"/>
                    </a:lnTo>
                    <a:lnTo>
                      <a:pt x="399" y="156"/>
                    </a:lnTo>
                    <a:lnTo>
                      <a:pt x="375" y="139"/>
                    </a:lnTo>
                    <a:lnTo>
                      <a:pt x="349" y="126"/>
                    </a:lnTo>
                    <a:lnTo>
                      <a:pt x="319" y="119"/>
                    </a:lnTo>
                    <a:lnTo>
                      <a:pt x="288" y="115"/>
                    </a:lnTo>
                    <a:close/>
                    <a:moveTo>
                      <a:pt x="288" y="0"/>
                    </a:moveTo>
                    <a:lnTo>
                      <a:pt x="331" y="3"/>
                    </a:lnTo>
                    <a:lnTo>
                      <a:pt x="371" y="13"/>
                    </a:lnTo>
                    <a:lnTo>
                      <a:pt x="409" y="27"/>
                    </a:lnTo>
                    <a:lnTo>
                      <a:pt x="445" y="46"/>
                    </a:lnTo>
                    <a:lnTo>
                      <a:pt x="477" y="71"/>
                    </a:lnTo>
                    <a:lnTo>
                      <a:pt x="505" y="100"/>
                    </a:lnTo>
                    <a:lnTo>
                      <a:pt x="530" y="131"/>
                    </a:lnTo>
                    <a:lnTo>
                      <a:pt x="549" y="167"/>
                    </a:lnTo>
                    <a:lnTo>
                      <a:pt x="563" y="205"/>
                    </a:lnTo>
                    <a:lnTo>
                      <a:pt x="573" y="246"/>
                    </a:lnTo>
                    <a:lnTo>
                      <a:pt x="576" y="288"/>
                    </a:lnTo>
                    <a:lnTo>
                      <a:pt x="573" y="331"/>
                    </a:lnTo>
                    <a:lnTo>
                      <a:pt x="563" y="371"/>
                    </a:lnTo>
                    <a:lnTo>
                      <a:pt x="549" y="410"/>
                    </a:lnTo>
                    <a:lnTo>
                      <a:pt x="530" y="445"/>
                    </a:lnTo>
                    <a:lnTo>
                      <a:pt x="505" y="477"/>
                    </a:lnTo>
                    <a:lnTo>
                      <a:pt x="477" y="506"/>
                    </a:lnTo>
                    <a:lnTo>
                      <a:pt x="445" y="530"/>
                    </a:lnTo>
                    <a:lnTo>
                      <a:pt x="409" y="550"/>
                    </a:lnTo>
                    <a:lnTo>
                      <a:pt x="371" y="564"/>
                    </a:lnTo>
                    <a:lnTo>
                      <a:pt x="331" y="573"/>
                    </a:lnTo>
                    <a:lnTo>
                      <a:pt x="288" y="576"/>
                    </a:lnTo>
                    <a:lnTo>
                      <a:pt x="245" y="573"/>
                    </a:lnTo>
                    <a:lnTo>
                      <a:pt x="205" y="564"/>
                    </a:lnTo>
                    <a:lnTo>
                      <a:pt x="167" y="550"/>
                    </a:lnTo>
                    <a:lnTo>
                      <a:pt x="131" y="530"/>
                    </a:lnTo>
                    <a:lnTo>
                      <a:pt x="99" y="506"/>
                    </a:lnTo>
                    <a:lnTo>
                      <a:pt x="71" y="477"/>
                    </a:lnTo>
                    <a:lnTo>
                      <a:pt x="46" y="445"/>
                    </a:lnTo>
                    <a:lnTo>
                      <a:pt x="27" y="410"/>
                    </a:lnTo>
                    <a:lnTo>
                      <a:pt x="13" y="371"/>
                    </a:lnTo>
                    <a:lnTo>
                      <a:pt x="3" y="331"/>
                    </a:lnTo>
                    <a:lnTo>
                      <a:pt x="0" y="288"/>
                    </a:lnTo>
                    <a:lnTo>
                      <a:pt x="3" y="246"/>
                    </a:lnTo>
                    <a:lnTo>
                      <a:pt x="13" y="205"/>
                    </a:lnTo>
                    <a:lnTo>
                      <a:pt x="27" y="167"/>
                    </a:lnTo>
                    <a:lnTo>
                      <a:pt x="46" y="131"/>
                    </a:lnTo>
                    <a:lnTo>
                      <a:pt x="71" y="100"/>
                    </a:lnTo>
                    <a:lnTo>
                      <a:pt x="99" y="71"/>
                    </a:lnTo>
                    <a:lnTo>
                      <a:pt x="131" y="46"/>
                    </a:lnTo>
                    <a:lnTo>
                      <a:pt x="167" y="27"/>
                    </a:lnTo>
                    <a:lnTo>
                      <a:pt x="205" y="13"/>
                    </a:lnTo>
                    <a:lnTo>
                      <a:pt x="245" y="3"/>
                    </a:lnTo>
                    <a:lnTo>
                      <a:pt x="288" y="0"/>
                    </a:lnTo>
                    <a:close/>
                  </a:path>
                </a:pathLst>
              </a:custGeom>
              <a:grpFill/>
              <a:ln w="0">
                <a:no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58" name="Freeform 48"/>
              <p:cNvSpPr/>
              <p:nvPr/>
            </p:nvSpPr>
            <p:spPr bwMode="auto">
              <a:xfrm>
                <a:off x="5492751" y="3451226"/>
                <a:ext cx="263525" cy="20638"/>
              </a:xfrm>
              <a:custGeom>
                <a:avLst/>
                <a:gdLst>
                  <a:gd name="T0" fmla="*/ 58 w 1498"/>
                  <a:gd name="T1" fmla="*/ 0 h 115"/>
                  <a:gd name="T2" fmla="*/ 1440 w 1498"/>
                  <a:gd name="T3" fmla="*/ 0 h 115"/>
                  <a:gd name="T4" fmla="*/ 1458 w 1498"/>
                  <a:gd name="T5" fmla="*/ 3 h 115"/>
                  <a:gd name="T6" fmla="*/ 1474 w 1498"/>
                  <a:gd name="T7" fmla="*/ 11 h 115"/>
                  <a:gd name="T8" fmla="*/ 1486 w 1498"/>
                  <a:gd name="T9" fmla="*/ 23 h 115"/>
                  <a:gd name="T10" fmla="*/ 1495 w 1498"/>
                  <a:gd name="T11" fmla="*/ 40 h 115"/>
                  <a:gd name="T12" fmla="*/ 1498 w 1498"/>
                  <a:gd name="T13" fmla="*/ 57 h 115"/>
                  <a:gd name="T14" fmla="*/ 1495 w 1498"/>
                  <a:gd name="T15" fmla="*/ 75 h 115"/>
                  <a:gd name="T16" fmla="*/ 1486 w 1498"/>
                  <a:gd name="T17" fmla="*/ 91 h 115"/>
                  <a:gd name="T18" fmla="*/ 1474 w 1498"/>
                  <a:gd name="T19" fmla="*/ 103 h 115"/>
                  <a:gd name="T20" fmla="*/ 1458 w 1498"/>
                  <a:gd name="T21" fmla="*/ 112 h 115"/>
                  <a:gd name="T22" fmla="*/ 1440 w 1498"/>
                  <a:gd name="T23" fmla="*/ 115 h 115"/>
                  <a:gd name="T24" fmla="*/ 58 w 1498"/>
                  <a:gd name="T25" fmla="*/ 115 h 115"/>
                  <a:gd name="T26" fmla="*/ 40 w 1498"/>
                  <a:gd name="T27" fmla="*/ 112 h 115"/>
                  <a:gd name="T28" fmla="*/ 24 w 1498"/>
                  <a:gd name="T29" fmla="*/ 103 h 115"/>
                  <a:gd name="T30" fmla="*/ 12 w 1498"/>
                  <a:gd name="T31" fmla="*/ 91 h 115"/>
                  <a:gd name="T32" fmla="*/ 3 w 1498"/>
                  <a:gd name="T33" fmla="*/ 75 h 115"/>
                  <a:gd name="T34" fmla="*/ 0 w 1498"/>
                  <a:gd name="T35" fmla="*/ 57 h 115"/>
                  <a:gd name="T36" fmla="*/ 3 w 1498"/>
                  <a:gd name="T37" fmla="*/ 40 h 115"/>
                  <a:gd name="T38" fmla="*/ 12 w 1498"/>
                  <a:gd name="T39" fmla="*/ 23 h 115"/>
                  <a:gd name="T40" fmla="*/ 24 w 1498"/>
                  <a:gd name="T41" fmla="*/ 11 h 115"/>
                  <a:gd name="T42" fmla="*/ 40 w 1498"/>
                  <a:gd name="T43" fmla="*/ 3 h 115"/>
                  <a:gd name="T44" fmla="*/ 58 w 1498"/>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8" h="115">
                    <a:moveTo>
                      <a:pt x="58" y="0"/>
                    </a:moveTo>
                    <a:lnTo>
                      <a:pt x="1440" y="0"/>
                    </a:lnTo>
                    <a:lnTo>
                      <a:pt x="1458" y="3"/>
                    </a:lnTo>
                    <a:lnTo>
                      <a:pt x="1474" y="11"/>
                    </a:lnTo>
                    <a:lnTo>
                      <a:pt x="1486" y="23"/>
                    </a:lnTo>
                    <a:lnTo>
                      <a:pt x="1495" y="40"/>
                    </a:lnTo>
                    <a:lnTo>
                      <a:pt x="1498" y="57"/>
                    </a:lnTo>
                    <a:lnTo>
                      <a:pt x="1495" y="75"/>
                    </a:lnTo>
                    <a:lnTo>
                      <a:pt x="1486" y="91"/>
                    </a:lnTo>
                    <a:lnTo>
                      <a:pt x="1474" y="103"/>
                    </a:lnTo>
                    <a:lnTo>
                      <a:pt x="1458" y="112"/>
                    </a:lnTo>
                    <a:lnTo>
                      <a:pt x="1440" y="115"/>
                    </a:lnTo>
                    <a:lnTo>
                      <a:pt x="58" y="115"/>
                    </a:lnTo>
                    <a:lnTo>
                      <a:pt x="40" y="112"/>
                    </a:lnTo>
                    <a:lnTo>
                      <a:pt x="24" y="103"/>
                    </a:lnTo>
                    <a:lnTo>
                      <a:pt x="12" y="91"/>
                    </a:lnTo>
                    <a:lnTo>
                      <a:pt x="3" y="75"/>
                    </a:lnTo>
                    <a:lnTo>
                      <a:pt x="0" y="57"/>
                    </a:lnTo>
                    <a:lnTo>
                      <a:pt x="3" y="40"/>
                    </a:lnTo>
                    <a:lnTo>
                      <a:pt x="12" y="23"/>
                    </a:lnTo>
                    <a:lnTo>
                      <a:pt x="24" y="11"/>
                    </a:lnTo>
                    <a:lnTo>
                      <a:pt x="40" y="3"/>
                    </a:lnTo>
                    <a:lnTo>
                      <a:pt x="58" y="0"/>
                    </a:lnTo>
                    <a:close/>
                  </a:path>
                </a:pathLst>
              </a:custGeom>
              <a:grpFill/>
              <a:ln w="0">
                <a:no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59" name="Freeform 49"/>
              <p:cNvSpPr/>
              <p:nvPr/>
            </p:nvSpPr>
            <p:spPr bwMode="auto">
              <a:xfrm>
                <a:off x="5492751" y="3502026"/>
                <a:ext cx="263525" cy="20638"/>
              </a:xfrm>
              <a:custGeom>
                <a:avLst/>
                <a:gdLst>
                  <a:gd name="T0" fmla="*/ 58 w 1498"/>
                  <a:gd name="T1" fmla="*/ 0 h 115"/>
                  <a:gd name="T2" fmla="*/ 1440 w 1498"/>
                  <a:gd name="T3" fmla="*/ 0 h 115"/>
                  <a:gd name="T4" fmla="*/ 1458 w 1498"/>
                  <a:gd name="T5" fmla="*/ 3 h 115"/>
                  <a:gd name="T6" fmla="*/ 1474 w 1498"/>
                  <a:gd name="T7" fmla="*/ 11 h 115"/>
                  <a:gd name="T8" fmla="*/ 1486 w 1498"/>
                  <a:gd name="T9" fmla="*/ 23 h 115"/>
                  <a:gd name="T10" fmla="*/ 1495 w 1498"/>
                  <a:gd name="T11" fmla="*/ 40 h 115"/>
                  <a:gd name="T12" fmla="*/ 1498 w 1498"/>
                  <a:gd name="T13" fmla="*/ 57 h 115"/>
                  <a:gd name="T14" fmla="*/ 1495 w 1498"/>
                  <a:gd name="T15" fmla="*/ 75 h 115"/>
                  <a:gd name="T16" fmla="*/ 1486 w 1498"/>
                  <a:gd name="T17" fmla="*/ 91 h 115"/>
                  <a:gd name="T18" fmla="*/ 1474 w 1498"/>
                  <a:gd name="T19" fmla="*/ 103 h 115"/>
                  <a:gd name="T20" fmla="*/ 1458 w 1498"/>
                  <a:gd name="T21" fmla="*/ 112 h 115"/>
                  <a:gd name="T22" fmla="*/ 1440 w 1498"/>
                  <a:gd name="T23" fmla="*/ 115 h 115"/>
                  <a:gd name="T24" fmla="*/ 58 w 1498"/>
                  <a:gd name="T25" fmla="*/ 115 h 115"/>
                  <a:gd name="T26" fmla="*/ 40 w 1498"/>
                  <a:gd name="T27" fmla="*/ 112 h 115"/>
                  <a:gd name="T28" fmla="*/ 24 w 1498"/>
                  <a:gd name="T29" fmla="*/ 103 h 115"/>
                  <a:gd name="T30" fmla="*/ 12 w 1498"/>
                  <a:gd name="T31" fmla="*/ 91 h 115"/>
                  <a:gd name="T32" fmla="*/ 3 w 1498"/>
                  <a:gd name="T33" fmla="*/ 75 h 115"/>
                  <a:gd name="T34" fmla="*/ 0 w 1498"/>
                  <a:gd name="T35" fmla="*/ 57 h 115"/>
                  <a:gd name="T36" fmla="*/ 3 w 1498"/>
                  <a:gd name="T37" fmla="*/ 40 h 115"/>
                  <a:gd name="T38" fmla="*/ 12 w 1498"/>
                  <a:gd name="T39" fmla="*/ 23 h 115"/>
                  <a:gd name="T40" fmla="*/ 24 w 1498"/>
                  <a:gd name="T41" fmla="*/ 11 h 115"/>
                  <a:gd name="T42" fmla="*/ 40 w 1498"/>
                  <a:gd name="T43" fmla="*/ 3 h 115"/>
                  <a:gd name="T44" fmla="*/ 58 w 1498"/>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8" h="115">
                    <a:moveTo>
                      <a:pt x="58" y="0"/>
                    </a:moveTo>
                    <a:lnTo>
                      <a:pt x="1440" y="0"/>
                    </a:lnTo>
                    <a:lnTo>
                      <a:pt x="1458" y="3"/>
                    </a:lnTo>
                    <a:lnTo>
                      <a:pt x="1474" y="11"/>
                    </a:lnTo>
                    <a:lnTo>
                      <a:pt x="1486" y="23"/>
                    </a:lnTo>
                    <a:lnTo>
                      <a:pt x="1495" y="40"/>
                    </a:lnTo>
                    <a:lnTo>
                      <a:pt x="1498" y="57"/>
                    </a:lnTo>
                    <a:lnTo>
                      <a:pt x="1495" y="75"/>
                    </a:lnTo>
                    <a:lnTo>
                      <a:pt x="1486" y="91"/>
                    </a:lnTo>
                    <a:lnTo>
                      <a:pt x="1474" y="103"/>
                    </a:lnTo>
                    <a:lnTo>
                      <a:pt x="1458" y="112"/>
                    </a:lnTo>
                    <a:lnTo>
                      <a:pt x="1440" y="115"/>
                    </a:lnTo>
                    <a:lnTo>
                      <a:pt x="58" y="115"/>
                    </a:lnTo>
                    <a:lnTo>
                      <a:pt x="40" y="112"/>
                    </a:lnTo>
                    <a:lnTo>
                      <a:pt x="24" y="103"/>
                    </a:lnTo>
                    <a:lnTo>
                      <a:pt x="12" y="91"/>
                    </a:lnTo>
                    <a:lnTo>
                      <a:pt x="3" y="75"/>
                    </a:lnTo>
                    <a:lnTo>
                      <a:pt x="0" y="57"/>
                    </a:lnTo>
                    <a:lnTo>
                      <a:pt x="3" y="40"/>
                    </a:lnTo>
                    <a:lnTo>
                      <a:pt x="12" y="23"/>
                    </a:lnTo>
                    <a:lnTo>
                      <a:pt x="24" y="11"/>
                    </a:lnTo>
                    <a:lnTo>
                      <a:pt x="40" y="3"/>
                    </a:lnTo>
                    <a:lnTo>
                      <a:pt x="58" y="0"/>
                    </a:lnTo>
                    <a:close/>
                  </a:path>
                </a:pathLst>
              </a:custGeom>
              <a:grpFill/>
              <a:ln w="0">
                <a:no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sp>
            <p:nvSpPr>
              <p:cNvPr id="160" name="Freeform 50"/>
              <p:cNvSpPr>
                <a:spLocks noEditPoints="1"/>
              </p:cNvSpPr>
              <p:nvPr/>
            </p:nvSpPr>
            <p:spPr bwMode="auto">
              <a:xfrm>
                <a:off x="5319713" y="3014663"/>
                <a:ext cx="609600" cy="609600"/>
              </a:xfrm>
              <a:custGeom>
                <a:avLst/>
                <a:gdLst>
                  <a:gd name="T0" fmla="*/ 2938 w 3456"/>
                  <a:gd name="T1" fmla="*/ 2995 h 3456"/>
                  <a:gd name="T2" fmla="*/ 2995 w 3456"/>
                  <a:gd name="T3" fmla="*/ 2592 h 3456"/>
                  <a:gd name="T4" fmla="*/ 3007 w 3456"/>
                  <a:gd name="T5" fmla="*/ 2558 h 3456"/>
                  <a:gd name="T6" fmla="*/ 3035 w 3456"/>
                  <a:gd name="T7" fmla="*/ 2538 h 3456"/>
                  <a:gd name="T8" fmla="*/ 3071 w 3456"/>
                  <a:gd name="T9" fmla="*/ 2538 h 3456"/>
                  <a:gd name="T10" fmla="*/ 3099 w 3456"/>
                  <a:gd name="T11" fmla="*/ 2558 h 3456"/>
                  <a:gd name="T12" fmla="*/ 3110 w 3456"/>
                  <a:gd name="T13" fmla="*/ 2592 h 3456"/>
                  <a:gd name="T14" fmla="*/ 3341 w 3456"/>
                  <a:gd name="T15" fmla="*/ 2822 h 3456"/>
                  <a:gd name="T16" fmla="*/ 2938 w 3456"/>
                  <a:gd name="T17" fmla="*/ 2131 h 3456"/>
                  <a:gd name="T18" fmla="*/ 634 w 3456"/>
                  <a:gd name="T19" fmla="*/ 3341 h 3456"/>
                  <a:gd name="T20" fmla="*/ 2822 w 3456"/>
                  <a:gd name="T21" fmla="*/ 2131 h 3456"/>
                  <a:gd name="T22" fmla="*/ 115 w 3456"/>
                  <a:gd name="T23" fmla="*/ 2131 h 3456"/>
                  <a:gd name="T24" fmla="*/ 346 w 3456"/>
                  <a:gd name="T25" fmla="*/ 2822 h 3456"/>
                  <a:gd name="T26" fmla="*/ 349 w 3456"/>
                  <a:gd name="T27" fmla="*/ 2574 h 3456"/>
                  <a:gd name="T28" fmla="*/ 370 w 3456"/>
                  <a:gd name="T29" fmla="*/ 2546 h 3456"/>
                  <a:gd name="T30" fmla="*/ 403 w 3456"/>
                  <a:gd name="T31" fmla="*/ 2534 h 3456"/>
                  <a:gd name="T32" fmla="*/ 437 w 3456"/>
                  <a:gd name="T33" fmla="*/ 2546 h 3456"/>
                  <a:gd name="T34" fmla="*/ 458 w 3456"/>
                  <a:gd name="T35" fmla="*/ 2574 h 3456"/>
                  <a:gd name="T36" fmla="*/ 461 w 3456"/>
                  <a:gd name="T37" fmla="*/ 2995 h 3456"/>
                  <a:gd name="T38" fmla="*/ 518 w 3456"/>
                  <a:gd name="T39" fmla="*/ 2131 h 3456"/>
                  <a:gd name="T40" fmla="*/ 115 w 3456"/>
                  <a:gd name="T41" fmla="*/ 1094 h 3456"/>
                  <a:gd name="T42" fmla="*/ 3341 w 3456"/>
                  <a:gd name="T43" fmla="*/ 2016 h 3456"/>
                  <a:gd name="T44" fmla="*/ 115 w 3456"/>
                  <a:gd name="T45" fmla="*/ 1094 h 3456"/>
                  <a:gd name="T46" fmla="*/ 634 w 3456"/>
                  <a:gd name="T47" fmla="*/ 979 h 3456"/>
                  <a:gd name="T48" fmla="*/ 2822 w 3456"/>
                  <a:gd name="T49" fmla="*/ 115 h 3456"/>
                  <a:gd name="T50" fmla="*/ 518 w 3456"/>
                  <a:gd name="T51" fmla="*/ 0 h 3456"/>
                  <a:gd name="T52" fmla="*/ 2938 w 3456"/>
                  <a:gd name="T53" fmla="*/ 979 h 3456"/>
                  <a:gd name="T54" fmla="*/ 3456 w 3456"/>
                  <a:gd name="T55" fmla="*/ 2938 h 3456"/>
                  <a:gd name="T56" fmla="*/ 3110 w 3456"/>
                  <a:gd name="T57" fmla="*/ 3110 h 3456"/>
                  <a:gd name="T58" fmla="*/ 2938 w 3456"/>
                  <a:gd name="T59" fmla="*/ 3456 h 3456"/>
                  <a:gd name="T60" fmla="*/ 518 w 3456"/>
                  <a:gd name="T61" fmla="*/ 3110 h 3456"/>
                  <a:gd name="T62" fmla="*/ 346 w 3456"/>
                  <a:gd name="T63" fmla="*/ 2938 h 3456"/>
                  <a:gd name="T64" fmla="*/ 0 w 3456"/>
                  <a:gd name="T65" fmla="*/ 979 h 3456"/>
                  <a:gd name="T66" fmla="*/ 518 w 3456"/>
                  <a:gd name="T67"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56" h="3456">
                    <a:moveTo>
                      <a:pt x="2938" y="2131"/>
                    </a:moveTo>
                    <a:lnTo>
                      <a:pt x="2938" y="2995"/>
                    </a:lnTo>
                    <a:lnTo>
                      <a:pt x="2995" y="2995"/>
                    </a:lnTo>
                    <a:lnTo>
                      <a:pt x="2995" y="2592"/>
                    </a:lnTo>
                    <a:lnTo>
                      <a:pt x="2998" y="2574"/>
                    </a:lnTo>
                    <a:lnTo>
                      <a:pt x="3007" y="2558"/>
                    </a:lnTo>
                    <a:lnTo>
                      <a:pt x="3019" y="2546"/>
                    </a:lnTo>
                    <a:lnTo>
                      <a:pt x="3035" y="2538"/>
                    </a:lnTo>
                    <a:lnTo>
                      <a:pt x="3053" y="2534"/>
                    </a:lnTo>
                    <a:lnTo>
                      <a:pt x="3071" y="2538"/>
                    </a:lnTo>
                    <a:lnTo>
                      <a:pt x="3086" y="2546"/>
                    </a:lnTo>
                    <a:lnTo>
                      <a:pt x="3099" y="2558"/>
                    </a:lnTo>
                    <a:lnTo>
                      <a:pt x="3107" y="2574"/>
                    </a:lnTo>
                    <a:lnTo>
                      <a:pt x="3110" y="2592"/>
                    </a:lnTo>
                    <a:lnTo>
                      <a:pt x="3110" y="2822"/>
                    </a:lnTo>
                    <a:lnTo>
                      <a:pt x="3341" y="2822"/>
                    </a:lnTo>
                    <a:lnTo>
                      <a:pt x="3341" y="2131"/>
                    </a:lnTo>
                    <a:lnTo>
                      <a:pt x="2938" y="2131"/>
                    </a:lnTo>
                    <a:close/>
                    <a:moveTo>
                      <a:pt x="634" y="2131"/>
                    </a:moveTo>
                    <a:lnTo>
                      <a:pt x="634" y="3341"/>
                    </a:lnTo>
                    <a:lnTo>
                      <a:pt x="2822" y="3341"/>
                    </a:lnTo>
                    <a:lnTo>
                      <a:pt x="2822" y="2131"/>
                    </a:lnTo>
                    <a:lnTo>
                      <a:pt x="634" y="2131"/>
                    </a:lnTo>
                    <a:close/>
                    <a:moveTo>
                      <a:pt x="115" y="2131"/>
                    </a:moveTo>
                    <a:lnTo>
                      <a:pt x="115" y="2822"/>
                    </a:lnTo>
                    <a:lnTo>
                      <a:pt x="346" y="2822"/>
                    </a:lnTo>
                    <a:lnTo>
                      <a:pt x="346" y="2592"/>
                    </a:lnTo>
                    <a:lnTo>
                      <a:pt x="349" y="2574"/>
                    </a:lnTo>
                    <a:lnTo>
                      <a:pt x="357" y="2558"/>
                    </a:lnTo>
                    <a:lnTo>
                      <a:pt x="370" y="2546"/>
                    </a:lnTo>
                    <a:lnTo>
                      <a:pt x="385" y="2538"/>
                    </a:lnTo>
                    <a:lnTo>
                      <a:pt x="403" y="2534"/>
                    </a:lnTo>
                    <a:lnTo>
                      <a:pt x="421" y="2538"/>
                    </a:lnTo>
                    <a:lnTo>
                      <a:pt x="437" y="2546"/>
                    </a:lnTo>
                    <a:lnTo>
                      <a:pt x="449" y="2558"/>
                    </a:lnTo>
                    <a:lnTo>
                      <a:pt x="458" y="2574"/>
                    </a:lnTo>
                    <a:lnTo>
                      <a:pt x="461" y="2592"/>
                    </a:lnTo>
                    <a:lnTo>
                      <a:pt x="461" y="2995"/>
                    </a:lnTo>
                    <a:lnTo>
                      <a:pt x="518" y="2995"/>
                    </a:lnTo>
                    <a:lnTo>
                      <a:pt x="518" y="2131"/>
                    </a:lnTo>
                    <a:lnTo>
                      <a:pt x="115" y="2131"/>
                    </a:lnTo>
                    <a:close/>
                    <a:moveTo>
                      <a:pt x="115" y="1094"/>
                    </a:moveTo>
                    <a:lnTo>
                      <a:pt x="115" y="2016"/>
                    </a:lnTo>
                    <a:lnTo>
                      <a:pt x="3341" y="2016"/>
                    </a:lnTo>
                    <a:lnTo>
                      <a:pt x="3341" y="1094"/>
                    </a:lnTo>
                    <a:lnTo>
                      <a:pt x="115" y="1094"/>
                    </a:lnTo>
                    <a:close/>
                    <a:moveTo>
                      <a:pt x="634" y="115"/>
                    </a:moveTo>
                    <a:lnTo>
                      <a:pt x="634" y="979"/>
                    </a:lnTo>
                    <a:lnTo>
                      <a:pt x="2822" y="979"/>
                    </a:lnTo>
                    <a:lnTo>
                      <a:pt x="2822" y="115"/>
                    </a:lnTo>
                    <a:lnTo>
                      <a:pt x="634" y="115"/>
                    </a:lnTo>
                    <a:close/>
                    <a:moveTo>
                      <a:pt x="518" y="0"/>
                    </a:moveTo>
                    <a:lnTo>
                      <a:pt x="2938" y="0"/>
                    </a:lnTo>
                    <a:lnTo>
                      <a:pt x="2938" y="979"/>
                    </a:lnTo>
                    <a:lnTo>
                      <a:pt x="3456" y="979"/>
                    </a:lnTo>
                    <a:lnTo>
                      <a:pt x="3456" y="2938"/>
                    </a:lnTo>
                    <a:lnTo>
                      <a:pt x="3110" y="2938"/>
                    </a:lnTo>
                    <a:lnTo>
                      <a:pt x="3110" y="3110"/>
                    </a:lnTo>
                    <a:lnTo>
                      <a:pt x="2938" y="3110"/>
                    </a:lnTo>
                    <a:lnTo>
                      <a:pt x="2938" y="3456"/>
                    </a:lnTo>
                    <a:lnTo>
                      <a:pt x="518" y="3456"/>
                    </a:lnTo>
                    <a:lnTo>
                      <a:pt x="518" y="3110"/>
                    </a:lnTo>
                    <a:lnTo>
                      <a:pt x="346" y="3110"/>
                    </a:lnTo>
                    <a:lnTo>
                      <a:pt x="346" y="2938"/>
                    </a:lnTo>
                    <a:lnTo>
                      <a:pt x="0" y="2938"/>
                    </a:lnTo>
                    <a:lnTo>
                      <a:pt x="0" y="979"/>
                    </a:lnTo>
                    <a:lnTo>
                      <a:pt x="518" y="979"/>
                    </a:lnTo>
                    <a:lnTo>
                      <a:pt x="518" y="0"/>
                    </a:lnTo>
                    <a:close/>
                  </a:path>
                </a:pathLst>
              </a:custGeom>
              <a:grpFill/>
              <a:ln w="0">
                <a:noFill/>
                <a:prstDash val="solid"/>
                <a:round/>
              </a:ln>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bg-BG" sz="1800" b="0" i="0" u="none" strike="noStrike" kern="0" cap="none" spc="0" normalizeH="0" baseline="0" noProof="0">
                  <a:ln>
                    <a:noFill/>
                  </a:ln>
                  <a:solidFill>
                    <a:schemeClr val="bg1"/>
                  </a:solidFill>
                  <a:effectLst/>
                  <a:uLnTx/>
                  <a:uFillTx/>
                  <a:cs typeface="+mn-ea"/>
                  <a:sym typeface="+mn-lt"/>
                </a:endParaRPr>
              </a:p>
            </p:txBody>
          </p:sp>
        </p:grpSp>
      </p:grpSp>
    </p:spTree>
  </p:cSld>
  <p:clrMapOvr>
    <a:masterClrMapping/>
  </p:clrMapOvr>
  <mc:AlternateContent xmlns:mc="http://schemas.openxmlformats.org/markup-compatibility/2006" xmlns:p14="http://schemas.microsoft.com/office/powerpoint/2010/main">
    <mc:Choice Requires="p14">
      <p:transition spd="slow" advTm="0">
        <p14:flash/>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6" decel="100000" fill="hold" nodeType="withEffect">
                                  <p:stCondLst>
                                    <p:cond delay="1000"/>
                                  </p:stCondLst>
                                  <p:childTnLst>
                                    <p:set>
                                      <p:cBhvr>
                                        <p:cTn id="17" dur="1" fill="hold">
                                          <p:stCondLst>
                                            <p:cond delay="0"/>
                                          </p:stCondLst>
                                        </p:cTn>
                                        <p:tgtEl>
                                          <p:spTgt spid="75"/>
                                        </p:tgtEl>
                                        <p:attrNameLst>
                                          <p:attrName>style.visibility</p:attrName>
                                        </p:attrNameLst>
                                      </p:cBhvr>
                                      <p:to>
                                        <p:strVal val="visible"/>
                                      </p:to>
                                    </p:set>
                                    <p:anim calcmode="lin" valueType="num">
                                      <p:cBhvr additive="base">
                                        <p:cTn id="18" dur="1500" fill="hold"/>
                                        <p:tgtEl>
                                          <p:spTgt spid="75"/>
                                        </p:tgtEl>
                                        <p:attrNameLst>
                                          <p:attrName>ppt_x</p:attrName>
                                        </p:attrNameLst>
                                      </p:cBhvr>
                                      <p:tavLst>
                                        <p:tav tm="0">
                                          <p:val>
                                            <p:strVal val="1+#ppt_w/2"/>
                                          </p:val>
                                        </p:tav>
                                        <p:tav tm="100000">
                                          <p:val>
                                            <p:strVal val="#ppt_x"/>
                                          </p:val>
                                        </p:tav>
                                      </p:tavLst>
                                    </p:anim>
                                    <p:anim calcmode="lin" valueType="num">
                                      <p:cBhvr additive="base">
                                        <p:cTn id="19" dur="1500" fill="hold"/>
                                        <p:tgtEl>
                                          <p:spTgt spid="75"/>
                                        </p:tgtEl>
                                        <p:attrNameLst>
                                          <p:attrName>ppt_y</p:attrName>
                                        </p:attrNameLst>
                                      </p:cBhvr>
                                      <p:tavLst>
                                        <p:tav tm="0">
                                          <p:val>
                                            <p:strVal val="1+#ppt_h/2"/>
                                          </p:val>
                                        </p:tav>
                                        <p:tav tm="100000">
                                          <p:val>
                                            <p:strVal val="#ppt_y"/>
                                          </p:val>
                                        </p:tav>
                                      </p:tavLst>
                                    </p:anim>
                                  </p:childTnLst>
                                </p:cTn>
                              </p:par>
                            </p:childTnLst>
                          </p:cTn>
                        </p:par>
                        <p:par>
                          <p:cTn id="20" fill="hold">
                            <p:stCondLst>
                              <p:cond delay="0"/>
                            </p:stCondLst>
                            <p:childTnLst>
                              <p:par>
                                <p:cTn id="21" presetID="53" presetClass="entr" presetSubtype="16" fill="hold" grpId="0" nodeType="afterEffect">
                                  <p:stCondLst>
                                    <p:cond delay="0"/>
                                  </p:stCondLst>
                                  <p:childTnLst>
                                    <p:set>
                                      <p:cBhvr>
                                        <p:cTn id="22" dur="1" fill="hold">
                                          <p:stCondLst>
                                            <p:cond delay="0"/>
                                          </p:stCondLst>
                                        </p:cTn>
                                        <p:tgtEl>
                                          <p:spTgt spid="105"/>
                                        </p:tgtEl>
                                        <p:attrNameLst>
                                          <p:attrName>style.visibility</p:attrName>
                                        </p:attrNameLst>
                                      </p:cBhvr>
                                      <p:to>
                                        <p:strVal val="visible"/>
                                      </p:to>
                                    </p:set>
                                    <p:anim calcmode="lin" valueType="num">
                                      <p:cBhvr>
                                        <p:cTn id="23" dur="500" fill="hold"/>
                                        <p:tgtEl>
                                          <p:spTgt spid="105"/>
                                        </p:tgtEl>
                                        <p:attrNameLst>
                                          <p:attrName>ppt_w</p:attrName>
                                        </p:attrNameLst>
                                      </p:cBhvr>
                                      <p:tavLst>
                                        <p:tav tm="0">
                                          <p:val>
                                            <p:fltVal val="0"/>
                                          </p:val>
                                        </p:tav>
                                        <p:tav tm="100000">
                                          <p:val>
                                            <p:strVal val="#ppt_w"/>
                                          </p:val>
                                        </p:tav>
                                      </p:tavLst>
                                    </p:anim>
                                    <p:anim calcmode="lin" valueType="num">
                                      <p:cBhvr>
                                        <p:cTn id="24" dur="500" fill="hold"/>
                                        <p:tgtEl>
                                          <p:spTgt spid="105"/>
                                        </p:tgtEl>
                                        <p:attrNameLst>
                                          <p:attrName>ppt_h</p:attrName>
                                        </p:attrNameLst>
                                      </p:cBhvr>
                                      <p:tavLst>
                                        <p:tav tm="0">
                                          <p:val>
                                            <p:fltVal val="0"/>
                                          </p:val>
                                        </p:tav>
                                        <p:tav tm="100000">
                                          <p:val>
                                            <p:strVal val="#ppt_h"/>
                                          </p:val>
                                        </p:tav>
                                      </p:tavLst>
                                    </p:anim>
                                    <p:animEffect transition="in" filter="fade">
                                      <p:cBhvr>
                                        <p:cTn id="25" dur="500"/>
                                        <p:tgtEl>
                                          <p:spTgt spid="105"/>
                                        </p:tgtEl>
                                      </p:cBhvr>
                                    </p:animEffect>
                                  </p:childTnLst>
                                </p:cTn>
                              </p:par>
                            </p:childTnLst>
                          </p:cTn>
                        </p:par>
                        <p:par>
                          <p:cTn id="26" fill="hold">
                            <p:stCondLst>
                              <p:cond delay="500"/>
                            </p:stCondLst>
                            <p:childTnLst>
                              <p:par>
                                <p:cTn id="27" presetID="14" presetClass="entr" presetSubtype="10" fill="hold" grpId="0" nodeType="afterEffect">
                                  <p:stCondLst>
                                    <p:cond delay="0"/>
                                  </p:stCondLst>
                                  <p:childTnLst>
                                    <p:set>
                                      <p:cBhvr>
                                        <p:cTn id="28" dur="1" fill="hold">
                                          <p:stCondLst>
                                            <p:cond delay="0"/>
                                          </p:stCondLst>
                                        </p:cTn>
                                        <p:tgtEl>
                                          <p:spTgt spid="106"/>
                                        </p:tgtEl>
                                        <p:attrNameLst>
                                          <p:attrName>style.visibility</p:attrName>
                                        </p:attrNameLst>
                                      </p:cBhvr>
                                      <p:to>
                                        <p:strVal val="visible"/>
                                      </p:to>
                                    </p:set>
                                    <p:animEffect transition="in" filter="randombar(horizontal)">
                                      <p:cBhvr>
                                        <p:cTn id="29" dur="500"/>
                                        <p:tgtEl>
                                          <p:spTgt spid="106"/>
                                        </p:tgtEl>
                                      </p:cBhvr>
                                    </p:animEffect>
                                  </p:childTnLst>
                                </p:cTn>
                              </p:par>
                            </p:childTnLst>
                          </p:cTn>
                        </p:par>
                        <p:par>
                          <p:cTn id="30" fill="hold">
                            <p:stCondLst>
                              <p:cond delay="1000"/>
                            </p:stCondLst>
                            <p:childTnLst>
                              <p:par>
                                <p:cTn id="31" presetID="22" presetClass="entr" presetSubtype="4" fill="hold" grpId="0" nodeType="afterEffect">
                                  <p:stCondLst>
                                    <p:cond delay="0"/>
                                  </p:stCondLst>
                                  <p:childTnLst>
                                    <p:set>
                                      <p:cBhvr>
                                        <p:cTn id="32" dur="1" fill="hold">
                                          <p:stCondLst>
                                            <p:cond delay="0"/>
                                          </p:stCondLst>
                                        </p:cTn>
                                        <p:tgtEl>
                                          <p:spTgt spid="107"/>
                                        </p:tgtEl>
                                        <p:attrNameLst>
                                          <p:attrName>style.visibility</p:attrName>
                                        </p:attrNameLst>
                                      </p:cBhvr>
                                      <p:to>
                                        <p:strVal val="visible"/>
                                      </p:to>
                                    </p:set>
                                    <p:animEffect transition="in" filter="wipe(down)">
                                      <p:cBhvr>
                                        <p:cTn id="33" dur="500"/>
                                        <p:tgtEl>
                                          <p:spTgt spid="107"/>
                                        </p:tgtEl>
                                      </p:cBhvr>
                                    </p:animEffect>
                                  </p:childTnLst>
                                </p:cTn>
                              </p:par>
                            </p:childTnLst>
                          </p:cTn>
                        </p:par>
                        <p:par>
                          <p:cTn id="34" fill="hold">
                            <p:stCondLst>
                              <p:cond delay="1500"/>
                            </p:stCondLst>
                            <p:childTnLst>
                              <p:par>
                                <p:cTn id="35" presetID="22" presetClass="entr" presetSubtype="4" fill="hold" grpId="0" nodeType="afterEffect">
                                  <p:stCondLst>
                                    <p:cond delay="0"/>
                                  </p:stCondLst>
                                  <p:childTnLst>
                                    <p:set>
                                      <p:cBhvr>
                                        <p:cTn id="36" dur="1" fill="hold">
                                          <p:stCondLst>
                                            <p:cond delay="0"/>
                                          </p:stCondLst>
                                        </p:cTn>
                                        <p:tgtEl>
                                          <p:spTgt spid="108"/>
                                        </p:tgtEl>
                                        <p:attrNameLst>
                                          <p:attrName>style.visibility</p:attrName>
                                        </p:attrNameLst>
                                      </p:cBhvr>
                                      <p:to>
                                        <p:strVal val="visible"/>
                                      </p:to>
                                    </p:set>
                                    <p:animEffect transition="in" filter="wipe(down)">
                                      <p:cBhvr>
                                        <p:cTn id="37" dur="500"/>
                                        <p:tgtEl>
                                          <p:spTgt spid="108"/>
                                        </p:tgtEl>
                                      </p:cBhvr>
                                    </p:animEffect>
                                  </p:childTnLst>
                                </p:cTn>
                              </p:par>
                            </p:childTnLst>
                          </p:cTn>
                        </p:par>
                        <p:par>
                          <p:cTn id="38" fill="hold">
                            <p:stCondLst>
                              <p:cond delay="2000"/>
                            </p:stCondLst>
                            <p:childTnLst>
                              <p:par>
                                <p:cTn id="39" presetID="53" presetClass="entr" presetSubtype="16" fill="hold" grpId="0" nodeType="afterEffect">
                                  <p:stCondLst>
                                    <p:cond delay="0"/>
                                  </p:stCondLst>
                                  <p:childTnLst>
                                    <p:set>
                                      <p:cBhvr>
                                        <p:cTn id="40" dur="1" fill="hold">
                                          <p:stCondLst>
                                            <p:cond delay="0"/>
                                          </p:stCondLst>
                                        </p:cTn>
                                        <p:tgtEl>
                                          <p:spTgt spid="109"/>
                                        </p:tgtEl>
                                        <p:attrNameLst>
                                          <p:attrName>style.visibility</p:attrName>
                                        </p:attrNameLst>
                                      </p:cBhvr>
                                      <p:to>
                                        <p:strVal val="visible"/>
                                      </p:to>
                                    </p:set>
                                    <p:anim calcmode="lin" valueType="num">
                                      <p:cBhvr>
                                        <p:cTn id="41" dur="500" fill="hold"/>
                                        <p:tgtEl>
                                          <p:spTgt spid="109"/>
                                        </p:tgtEl>
                                        <p:attrNameLst>
                                          <p:attrName>ppt_w</p:attrName>
                                        </p:attrNameLst>
                                      </p:cBhvr>
                                      <p:tavLst>
                                        <p:tav tm="0">
                                          <p:val>
                                            <p:fltVal val="0"/>
                                          </p:val>
                                        </p:tav>
                                        <p:tav tm="100000">
                                          <p:val>
                                            <p:strVal val="#ppt_w"/>
                                          </p:val>
                                        </p:tav>
                                      </p:tavLst>
                                    </p:anim>
                                    <p:anim calcmode="lin" valueType="num">
                                      <p:cBhvr>
                                        <p:cTn id="42" dur="500" fill="hold"/>
                                        <p:tgtEl>
                                          <p:spTgt spid="109"/>
                                        </p:tgtEl>
                                        <p:attrNameLst>
                                          <p:attrName>ppt_h</p:attrName>
                                        </p:attrNameLst>
                                      </p:cBhvr>
                                      <p:tavLst>
                                        <p:tav tm="0">
                                          <p:val>
                                            <p:fltVal val="0"/>
                                          </p:val>
                                        </p:tav>
                                        <p:tav tm="100000">
                                          <p:val>
                                            <p:strVal val="#ppt_h"/>
                                          </p:val>
                                        </p:tav>
                                      </p:tavLst>
                                    </p:anim>
                                    <p:animEffect transition="in" filter="fade">
                                      <p:cBhvr>
                                        <p:cTn id="43" dur="500"/>
                                        <p:tgtEl>
                                          <p:spTgt spid="109"/>
                                        </p:tgtEl>
                                      </p:cBhvr>
                                    </p:animEffect>
                                  </p:childTnLst>
                                </p:cTn>
                              </p:par>
                            </p:childTnLst>
                          </p:cTn>
                        </p:par>
                        <p:par>
                          <p:cTn id="44" fill="hold">
                            <p:stCondLst>
                              <p:cond delay="2500"/>
                            </p:stCondLst>
                            <p:childTnLst>
                              <p:par>
                                <p:cTn id="45" presetID="14" presetClass="entr" presetSubtype="10" fill="hold" grpId="0" nodeType="afterEffect">
                                  <p:stCondLst>
                                    <p:cond delay="0"/>
                                  </p:stCondLst>
                                  <p:childTnLst>
                                    <p:set>
                                      <p:cBhvr>
                                        <p:cTn id="46" dur="1" fill="hold">
                                          <p:stCondLst>
                                            <p:cond delay="0"/>
                                          </p:stCondLst>
                                        </p:cTn>
                                        <p:tgtEl>
                                          <p:spTgt spid="110"/>
                                        </p:tgtEl>
                                        <p:attrNameLst>
                                          <p:attrName>style.visibility</p:attrName>
                                        </p:attrNameLst>
                                      </p:cBhvr>
                                      <p:to>
                                        <p:strVal val="visible"/>
                                      </p:to>
                                    </p:set>
                                    <p:animEffect transition="in" filter="randombar(horizontal)">
                                      <p:cBhvr>
                                        <p:cTn id="47" dur="500"/>
                                        <p:tgtEl>
                                          <p:spTgt spid="110"/>
                                        </p:tgtEl>
                                      </p:cBhvr>
                                    </p:animEffect>
                                  </p:childTnLst>
                                </p:cTn>
                              </p:par>
                            </p:childTnLst>
                          </p:cTn>
                        </p:par>
                        <p:par>
                          <p:cTn id="48" fill="hold">
                            <p:stCondLst>
                              <p:cond delay="3000"/>
                            </p:stCondLst>
                            <p:childTnLst>
                              <p:par>
                                <p:cTn id="49" presetID="22" presetClass="entr" presetSubtype="4" fill="hold" grpId="0" nodeType="afterEffect">
                                  <p:stCondLst>
                                    <p:cond delay="0"/>
                                  </p:stCondLst>
                                  <p:childTnLst>
                                    <p:set>
                                      <p:cBhvr>
                                        <p:cTn id="50" dur="1" fill="hold">
                                          <p:stCondLst>
                                            <p:cond delay="0"/>
                                          </p:stCondLst>
                                        </p:cTn>
                                        <p:tgtEl>
                                          <p:spTgt spid="112"/>
                                        </p:tgtEl>
                                        <p:attrNameLst>
                                          <p:attrName>style.visibility</p:attrName>
                                        </p:attrNameLst>
                                      </p:cBhvr>
                                      <p:to>
                                        <p:strVal val="visible"/>
                                      </p:to>
                                    </p:set>
                                    <p:animEffect transition="in" filter="wipe(down)">
                                      <p:cBhvr>
                                        <p:cTn id="51" dur="500"/>
                                        <p:tgtEl>
                                          <p:spTgt spid="112"/>
                                        </p:tgtEl>
                                      </p:cBhvr>
                                    </p:animEffect>
                                  </p:childTnLst>
                                </p:cTn>
                              </p:par>
                            </p:childTnLst>
                          </p:cTn>
                        </p:par>
                        <p:par>
                          <p:cTn id="52" fill="hold">
                            <p:stCondLst>
                              <p:cond delay="3500"/>
                            </p:stCondLst>
                            <p:childTnLst>
                              <p:par>
                                <p:cTn id="53" presetID="22" presetClass="entr" presetSubtype="4" fill="hold" grpId="0" nodeType="afterEffect">
                                  <p:stCondLst>
                                    <p:cond delay="0"/>
                                  </p:stCondLst>
                                  <p:childTnLst>
                                    <p:set>
                                      <p:cBhvr>
                                        <p:cTn id="54" dur="1" fill="hold">
                                          <p:stCondLst>
                                            <p:cond delay="0"/>
                                          </p:stCondLst>
                                        </p:cTn>
                                        <p:tgtEl>
                                          <p:spTgt spid="111"/>
                                        </p:tgtEl>
                                        <p:attrNameLst>
                                          <p:attrName>style.visibility</p:attrName>
                                        </p:attrNameLst>
                                      </p:cBhvr>
                                      <p:to>
                                        <p:strVal val="visible"/>
                                      </p:to>
                                    </p:set>
                                    <p:animEffect transition="in" filter="wipe(down)">
                                      <p:cBhvr>
                                        <p:cTn id="55" dur="500"/>
                                        <p:tgtEl>
                                          <p:spTgt spid="111"/>
                                        </p:tgtEl>
                                      </p:cBhvr>
                                    </p:animEffect>
                                  </p:childTnLst>
                                </p:cTn>
                              </p:par>
                            </p:childTnLst>
                          </p:cTn>
                        </p:par>
                        <p:par>
                          <p:cTn id="56" fill="hold">
                            <p:stCondLst>
                              <p:cond delay="4000"/>
                            </p:stCondLst>
                            <p:childTnLst>
                              <p:par>
                                <p:cTn id="57" presetID="14" presetClass="entr" presetSubtype="10" fill="hold" nodeType="afterEffect">
                                  <p:stCondLst>
                                    <p:cond delay="0"/>
                                  </p:stCondLst>
                                  <p:childTnLst>
                                    <p:set>
                                      <p:cBhvr>
                                        <p:cTn id="58" dur="1" fill="hold">
                                          <p:stCondLst>
                                            <p:cond delay="0"/>
                                          </p:stCondLst>
                                        </p:cTn>
                                        <p:tgtEl>
                                          <p:spTgt spid="122"/>
                                        </p:tgtEl>
                                        <p:attrNameLst>
                                          <p:attrName>style.visibility</p:attrName>
                                        </p:attrNameLst>
                                      </p:cBhvr>
                                      <p:to>
                                        <p:strVal val="visible"/>
                                      </p:to>
                                    </p:set>
                                    <p:animEffect transition="in" filter="randombar(horizontal)">
                                      <p:cBhvr>
                                        <p:cTn id="59" dur="500"/>
                                        <p:tgtEl>
                                          <p:spTgt spid="122"/>
                                        </p:tgtEl>
                                      </p:cBhvr>
                                    </p:animEffect>
                                  </p:childTnLst>
                                </p:cTn>
                              </p:par>
                              <p:par>
                                <p:cTn id="60" presetID="53" presetClass="entr" presetSubtype="16" fill="hold" grpId="0" nodeType="withEffect">
                                  <p:stCondLst>
                                    <p:cond delay="0"/>
                                  </p:stCondLst>
                                  <p:childTnLst>
                                    <p:set>
                                      <p:cBhvr>
                                        <p:cTn id="61" dur="1" fill="hold">
                                          <p:stCondLst>
                                            <p:cond delay="0"/>
                                          </p:stCondLst>
                                        </p:cTn>
                                        <p:tgtEl>
                                          <p:spTgt spid="113"/>
                                        </p:tgtEl>
                                        <p:attrNameLst>
                                          <p:attrName>style.visibility</p:attrName>
                                        </p:attrNameLst>
                                      </p:cBhvr>
                                      <p:to>
                                        <p:strVal val="visible"/>
                                      </p:to>
                                    </p:set>
                                    <p:anim calcmode="lin" valueType="num">
                                      <p:cBhvr>
                                        <p:cTn id="62" dur="500" fill="hold"/>
                                        <p:tgtEl>
                                          <p:spTgt spid="113"/>
                                        </p:tgtEl>
                                        <p:attrNameLst>
                                          <p:attrName>ppt_w</p:attrName>
                                        </p:attrNameLst>
                                      </p:cBhvr>
                                      <p:tavLst>
                                        <p:tav tm="0">
                                          <p:val>
                                            <p:fltVal val="0"/>
                                          </p:val>
                                        </p:tav>
                                        <p:tav tm="100000">
                                          <p:val>
                                            <p:strVal val="#ppt_w"/>
                                          </p:val>
                                        </p:tav>
                                      </p:tavLst>
                                    </p:anim>
                                    <p:anim calcmode="lin" valueType="num">
                                      <p:cBhvr>
                                        <p:cTn id="63" dur="500" fill="hold"/>
                                        <p:tgtEl>
                                          <p:spTgt spid="113"/>
                                        </p:tgtEl>
                                        <p:attrNameLst>
                                          <p:attrName>ppt_h</p:attrName>
                                        </p:attrNameLst>
                                      </p:cBhvr>
                                      <p:tavLst>
                                        <p:tav tm="0">
                                          <p:val>
                                            <p:fltVal val="0"/>
                                          </p:val>
                                        </p:tav>
                                        <p:tav tm="100000">
                                          <p:val>
                                            <p:strVal val="#ppt_h"/>
                                          </p:val>
                                        </p:tav>
                                      </p:tavLst>
                                    </p:anim>
                                    <p:animEffect transition="in" filter="fade">
                                      <p:cBhvr>
                                        <p:cTn id="64" dur="500"/>
                                        <p:tgtEl>
                                          <p:spTgt spid="113"/>
                                        </p:tgtEl>
                                      </p:cBhvr>
                                    </p:animEffect>
                                  </p:childTnLst>
                                </p:cTn>
                              </p:par>
                            </p:childTnLst>
                          </p:cTn>
                        </p:par>
                        <p:par>
                          <p:cTn id="65" fill="hold">
                            <p:stCondLst>
                              <p:cond delay="4500"/>
                            </p:stCondLst>
                            <p:childTnLst>
                              <p:par>
                                <p:cTn id="66" presetID="14" presetClass="entr" presetSubtype="10" fill="hold" nodeType="afterEffect">
                                  <p:stCondLst>
                                    <p:cond delay="0"/>
                                  </p:stCondLst>
                                  <p:childTnLst>
                                    <p:set>
                                      <p:cBhvr>
                                        <p:cTn id="67" dur="1" fill="hold">
                                          <p:stCondLst>
                                            <p:cond delay="0"/>
                                          </p:stCondLst>
                                        </p:cTn>
                                        <p:tgtEl>
                                          <p:spTgt spid="127"/>
                                        </p:tgtEl>
                                        <p:attrNameLst>
                                          <p:attrName>style.visibility</p:attrName>
                                        </p:attrNameLst>
                                      </p:cBhvr>
                                      <p:to>
                                        <p:strVal val="visible"/>
                                      </p:to>
                                    </p:set>
                                    <p:animEffect transition="in" filter="randombar(horizontal)">
                                      <p:cBhvr>
                                        <p:cTn id="68" dur="500"/>
                                        <p:tgtEl>
                                          <p:spTgt spid="127"/>
                                        </p:tgtEl>
                                      </p:cBhvr>
                                    </p:animEffect>
                                  </p:childTnLst>
                                </p:cTn>
                              </p:par>
                              <p:par>
                                <p:cTn id="69" presetID="53" presetClass="entr" presetSubtype="16" fill="hold" grpId="0" nodeType="withEffect">
                                  <p:stCondLst>
                                    <p:cond delay="0"/>
                                  </p:stCondLst>
                                  <p:childTnLst>
                                    <p:set>
                                      <p:cBhvr>
                                        <p:cTn id="70" dur="1" fill="hold">
                                          <p:stCondLst>
                                            <p:cond delay="0"/>
                                          </p:stCondLst>
                                        </p:cTn>
                                        <p:tgtEl>
                                          <p:spTgt spid="114"/>
                                        </p:tgtEl>
                                        <p:attrNameLst>
                                          <p:attrName>style.visibility</p:attrName>
                                        </p:attrNameLst>
                                      </p:cBhvr>
                                      <p:to>
                                        <p:strVal val="visible"/>
                                      </p:to>
                                    </p:set>
                                    <p:anim calcmode="lin" valueType="num">
                                      <p:cBhvr>
                                        <p:cTn id="71" dur="500" fill="hold"/>
                                        <p:tgtEl>
                                          <p:spTgt spid="114"/>
                                        </p:tgtEl>
                                        <p:attrNameLst>
                                          <p:attrName>ppt_w</p:attrName>
                                        </p:attrNameLst>
                                      </p:cBhvr>
                                      <p:tavLst>
                                        <p:tav tm="0">
                                          <p:val>
                                            <p:fltVal val="0"/>
                                          </p:val>
                                        </p:tav>
                                        <p:tav tm="100000">
                                          <p:val>
                                            <p:strVal val="#ppt_w"/>
                                          </p:val>
                                        </p:tav>
                                      </p:tavLst>
                                    </p:anim>
                                    <p:anim calcmode="lin" valueType="num">
                                      <p:cBhvr>
                                        <p:cTn id="72" dur="500" fill="hold"/>
                                        <p:tgtEl>
                                          <p:spTgt spid="114"/>
                                        </p:tgtEl>
                                        <p:attrNameLst>
                                          <p:attrName>ppt_h</p:attrName>
                                        </p:attrNameLst>
                                      </p:cBhvr>
                                      <p:tavLst>
                                        <p:tav tm="0">
                                          <p:val>
                                            <p:fltVal val="0"/>
                                          </p:val>
                                        </p:tav>
                                        <p:tav tm="100000">
                                          <p:val>
                                            <p:strVal val="#ppt_h"/>
                                          </p:val>
                                        </p:tav>
                                      </p:tavLst>
                                    </p:anim>
                                    <p:animEffect transition="in" filter="fade">
                                      <p:cBhvr>
                                        <p:cTn id="73" dur="500"/>
                                        <p:tgtEl>
                                          <p:spTgt spid="114"/>
                                        </p:tgtEl>
                                      </p:cBhvr>
                                    </p:animEffect>
                                  </p:childTnLst>
                                </p:cTn>
                              </p:par>
                            </p:childTnLst>
                          </p:cTn>
                        </p:par>
                        <p:par>
                          <p:cTn id="74" fill="hold">
                            <p:stCondLst>
                              <p:cond delay="5000"/>
                            </p:stCondLst>
                            <p:childTnLst>
                              <p:par>
                                <p:cTn id="75" presetID="14" presetClass="entr" presetSubtype="10" fill="hold" nodeType="afterEffect">
                                  <p:stCondLst>
                                    <p:cond delay="0"/>
                                  </p:stCondLst>
                                  <p:childTnLst>
                                    <p:set>
                                      <p:cBhvr>
                                        <p:cTn id="76" dur="1" fill="hold">
                                          <p:stCondLst>
                                            <p:cond delay="0"/>
                                          </p:stCondLst>
                                        </p:cTn>
                                        <p:tgtEl>
                                          <p:spTgt spid="154"/>
                                        </p:tgtEl>
                                        <p:attrNameLst>
                                          <p:attrName>style.visibility</p:attrName>
                                        </p:attrNameLst>
                                      </p:cBhvr>
                                      <p:to>
                                        <p:strVal val="visible"/>
                                      </p:to>
                                    </p:set>
                                    <p:animEffect transition="in" filter="randombar(horizontal)">
                                      <p:cBhvr>
                                        <p:cTn id="77" dur="500"/>
                                        <p:tgtEl>
                                          <p:spTgt spid="154"/>
                                        </p:tgtEl>
                                      </p:cBhvr>
                                    </p:animEffect>
                                  </p:childTnLst>
                                </p:cTn>
                              </p:par>
                              <p:par>
                                <p:cTn id="78" presetID="53" presetClass="entr" presetSubtype="16" fill="hold" grpId="0" nodeType="withEffect">
                                  <p:stCondLst>
                                    <p:cond delay="0"/>
                                  </p:stCondLst>
                                  <p:childTnLst>
                                    <p:set>
                                      <p:cBhvr>
                                        <p:cTn id="79" dur="1" fill="hold">
                                          <p:stCondLst>
                                            <p:cond delay="0"/>
                                          </p:stCondLst>
                                        </p:cTn>
                                        <p:tgtEl>
                                          <p:spTgt spid="115"/>
                                        </p:tgtEl>
                                        <p:attrNameLst>
                                          <p:attrName>style.visibility</p:attrName>
                                        </p:attrNameLst>
                                      </p:cBhvr>
                                      <p:to>
                                        <p:strVal val="visible"/>
                                      </p:to>
                                    </p:set>
                                    <p:anim calcmode="lin" valueType="num">
                                      <p:cBhvr>
                                        <p:cTn id="80" dur="500" fill="hold"/>
                                        <p:tgtEl>
                                          <p:spTgt spid="115"/>
                                        </p:tgtEl>
                                        <p:attrNameLst>
                                          <p:attrName>ppt_w</p:attrName>
                                        </p:attrNameLst>
                                      </p:cBhvr>
                                      <p:tavLst>
                                        <p:tav tm="0">
                                          <p:val>
                                            <p:fltVal val="0"/>
                                          </p:val>
                                        </p:tav>
                                        <p:tav tm="100000">
                                          <p:val>
                                            <p:strVal val="#ppt_w"/>
                                          </p:val>
                                        </p:tav>
                                      </p:tavLst>
                                    </p:anim>
                                    <p:anim calcmode="lin" valueType="num">
                                      <p:cBhvr>
                                        <p:cTn id="81" dur="500" fill="hold"/>
                                        <p:tgtEl>
                                          <p:spTgt spid="115"/>
                                        </p:tgtEl>
                                        <p:attrNameLst>
                                          <p:attrName>ppt_h</p:attrName>
                                        </p:attrNameLst>
                                      </p:cBhvr>
                                      <p:tavLst>
                                        <p:tav tm="0">
                                          <p:val>
                                            <p:fltVal val="0"/>
                                          </p:val>
                                        </p:tav>
                                        <p:tav tm="100000">
                                          <p:val>
                                            <p:strVal val="#ppt_h"/>
                                          </p:val>
                                        </p:tav>
                                      </p:tavLst>
                                    </p:anim>
                                    <p:animEffect transition="in" filter="fade">
                                      <p:cBhvr>
                                        <p:cTn id="82" dur="500"/>
                                        <p:tgtEl>
                                          <p:spTgt spid="115"/>
                                        </p:tgtEl>
                                      </p:cBhvr>
                                    </p:animEffect>
                                  </p:childTnLst>
                                </p:cTn>
                              </p:par>
                            </p:childTnLst>
                          </p:cTn>
                        </p:par>
                        <p:par>
                          <p:cTn id="83" fill="hold">
                            <p:stCondLst>
                              <p:cond delay="5500"/>
                            </p:stCondLst>
                            <p:childTnLst>
                              <p:par>
                                <p:cTn id="84" presetID="14" presetClass="entr" presetSubtype="10" fill="hold" nodeType="afterEffect">
                                  <p:stCondLst>
                                    <p:cond delay="0"/>
                                  </p:stCondLst>
                                  <p:childTnLst>
                                    <p:set>
                                      <p:cBhvr>
                                        <p:cTn id="85" dur="1" fill="hold">
                                          <p:stCondLst>
                                            <p:cond delay="0"/>
                                          </p:stCondLst>
                                        </p:cTn>
                                        <p:tgtEl>
                                          <p:spTgt spid="117"/>
                                        </p:tgtEl>
                                        <p:attrNameLst>
                                          <p:attrName>style.visibility</p:attrName>
                                        </p:attrNameLst>
                                      </p:cBhvr>
                                      <p:to>
                                        <p:strVal val="visible"/>
                                      </p:to>
                                    </p:set>
                                    <p:animEffect transition="in" filter="randombar(horizontal)">
                                      <p:cBhvr>
                                        <p:cTn id="86" dur="500"/>
                                        <p:tgtEl>
                                          <p:spTgt spid="117"/>
                                        </p:tgtEl>
                                      </p:cBhvr>
                                    </p:animEffect>
                                  </p:childTnLst>
                                </p:cTn>
                              </p:par>
                              <p:par>
                                <p:cTn id="87" presetID="53" presetClass="entr" presetSubtype="16" fill="hold" grpId="0" nodeType="withEffect">
                                  <p:stCondLst>
                                    <p:cond delay="0"/>
                                  </p:stCondLst>
                                  <p:childTnLst>
                                    <p:set>
                                      <p:cBhvr>
                                        <p:cTn id="88" dur="1" fill="hold">
                                          <p:stCondLst>
                                            <p:cond delay="0"/>
                                          </p:stCondLst>
                                        </p:cTn>
                                        <p:tgtEl>
                                          <p:spTgt spid="116"/>
                                        </p:tgtEl>
                                        <p:attrNameLst>
                                          <p:attrName>style.visibility</p:attrName>
                                        </p:attrNameLst>
                                      </p:cBhvr>
                                      <p:to>
                                        <p:strVal val="visible"/>
                                      </p:to>
                                    </p:set>
                                    <p:anim calcmode="lin" valueType="num">
                                      <p:cBhvr>
                                        <p:cTn id="89" dur="500" fill="hold"/>
                                        <p:tgtEl>
                                          <p:spTgt spid="116"/>
                                        </p:tgtEl>
                                        <p:attrNameLst>
                                          <p:attrName>ppt_w</p:attrName>
                                        </p:attrNameLst>
                                      </p:cBhvr>
                                      <p:tavLst>
                                        <p:tav tm="0">
                                          <p:val>
                                            <p:fltVal val="0"/>
                                          </p:val>
                                        </p:tav>
                                        <p:tav tm="100000">
                                          <p:val>
                                            <p:strVal val="#ppt_w"/>
                                          </p:val>
                                        </p:tav>
                                      </p:tavLst>
                                    </p:anim>
                                    <p:anim calcmode="lin" valueType="num">
                                      <p:cBhvr>
                                        <p:cTn id="90" dur="500" fill="hold"/>
                                        <p:tgtEl>
                                          <p:spTgt spid="116"/>
                                        </p:tgtEl>
                                        <p:attrNameLst>
                                          <p:attrName>ppt_h</p:attrName>
                                        </p:attrNameLst>
                                      </p:cBhvr>
                                      <p:tavLst>
                                        <p:tav tm="0">
                                          <p:val>
                                            <p:fltVal val="0"/>
                                          </p:val>
                                        </p:tav>
                                        <p:tav tm="100000">
                                          <p:val>
                                            <p:strVal val="#ppt_h"/>
                                          </p:val>
                                        </p:tav>
                                      </p:tavLst>
                                    </p:anim>
                                    <p:animEffect transition="in" filter="fade">
                                      <p:cBhvr>
                                        <p:cTn id="91"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05" grpId="0" animBg="1"/>
      <p:bldP spid="106" grpId="0"/>
      <p:bldP spid="107" grpId="0"/>
      <p:bldP spid="108" grpId="0"/>
      <p:bldP spid="109" grpId="0" animBg="1"/>
      <p:bldP spid="110" grpId="0"/>
      <p:bldP spid="111" grpId="0"/>
      <p:bldP spid="112" grpId="0"/>
      <p:bldP spid="113" grpId="0"/>
      <p:bldP spid="114" grpId="0"/>
      <p:bldP spid="115" grpId="0"/>
      <p:bldP spid="11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市场前景</a:t>
            </a:r>
          </a:p>
        </p:txBody>
      </p:sp>
      <p:pic>
        <p:nvPicPr>
          <p:cNvPr id="6" name="3"/>
          <p:cNvPicPr>
            <a:picLocks noChangeAspect="1"/>
          </p:cNvPicPr>
          <p:nvPr/>
        </p:nvPicPr>
        <p:blipFill rotWithShape="1">
          <a:blip r:embed="rId2" cstate="screen"/>
          <a:srcRect/>
          <a:stretch>
            <a:fillRect/>
          </a:stretch>
        </p:blipFill>
        <p:spPr>
          <a:xfrm>
            <a:off x="158312" y="64984"/>
            <a:ext cx="877549" cy="1499409"/>
          </a:xfrm>
          <a:prstGeom prst="rect">
            <a:avLst/>
          </a:prstGeom>
        </p:spPr>
      </p:pic>
      <p:grpSp>
        <p:nvGrpSpPr>
          <p:cNvPr id="4" name="组合 3"/>
          <p:cNvGrpSpPr/>
          <p:nvPr/>
        </p:nvGrpSpPr>
        <p:grpSpPr>
          <a:xfrm>
            <a:off x="2810660" y="1564393"/>
            <a:ext cx="6347876" cy="5027212"/>
            <a:chOff x="3038046" y="1078254"/>
            <a:chExt cx="6347876" cy="5027212"/>
          </a:xfrm>
        </p:grpSpPr>
        <p:sp>
          <p:nvSpPr>
            <p:cNvPr id="5" name="椭圆 4"/>
            <p:cNvSpPr/>
            <p:nvPr userDrawn="1"/>
          </p:nvSpPr>
          <p:spPr>
            <a:xfrm>
              <a:off x="3907854" y="1322410"/>
              <a:ext cx="4434704" cy="4434704"/>
            </a:xfrm>
            <a:prstGeom prst="ellipse">
              <a:avLst/>
            </a:prstGeom>
            <a:noFill/>
            <a:ln w="3175">
              <a:gradFill flip="none" rotWithShape="1">
                <a:gsLst>
                  <a:gs pos="23000">
                    <a:srgbClr val="13FFEC"/>
                  </a:gs>
                  <a:gs pos="57443">
                    <a:srgbClr val="0476FF"/>
                  </a:gs>
                  <a:gs pos="99383">
                    <a:schemeClr val="tx1">
                      <a:lumMod val="65000"/>
                      <a:lumOff val="35000"/>
                      <a:alpha val="0"/>
                    </a:schemeClr>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pSp>
          <p:nvGrpSpPr>
            <p:cNvPr id="7" name="组合 6"/>
            <p:cNvGrpSpPr/>
            <p:nvPr userDrawn="1"/>
          </p:nvGrpSpPr>
          <p:grpSpPr>
            <a:xfrm>
              <a:off x="3835354" y="1078254"/>
              <a:ext cx="4739110" cy="5027212"/>
              <a:chOff x="3346480" y="804418"/>
              <a:chExt cx="5519228" cy="5854758"/>
            </a:xfrm>
          </p:grpSpPr>
          <p:pic>
            <p:nvPicPr>
              <p:cNvPr id="10" name="图片 9"/>
              <p:cNvPicPr/>
              <p:nvPr/>
            </p:nvPicPr>
            <p:blipFill rotWithShape="1">
              <a:blip r:embed="rId3" cstate="screen"/>
              <a:srcRect/>
              <a:stretch>
                <a:fillRect/>
              </a:stretch>
            </p:blipFill>
            <p:spPr>
              <a:xfrm>
                <a:off x="3346480" y="804418"/>
                <a:ext cx="5502746" cy="5850620"/>
              </a:xfrm>
              <a:prstGeom prst="rect">
                <a:avLst/>
              </a:prstGeom>
            </p:spPr>
          </p:pic>
          <p:pic>
            <p:nvPicPr>
              <p:cNvPr id="11" name="图片 10"/>
              <p:cNvPicPr/>
              <p:nvPr/>
            </p:nvPicPr>
            <p:blipFill rotWithShape="1">
              <a:blip r:embed="rId4" cstate="screen"/>
              <a:srcRect/>
              <a:stretch>
                <a:fillRect/>
              </a:stretch>
            </p:blipFill>
            <p:spPr>
              <a:xfrm>
                <a:off x="3362962" y="808556"/>
                <a:ext cx="5502746" cy="5850620"/>
              </a:xfrm>
              <a:prstGeom prst="rect">
                <a:avLst/>
              </a:prstGeom>
            </p:spPr>
          </p:pic>
        </p:grpSp>
        <p:sp>
          <p:nvSpPr>
            <p:cNvPr id="8" name="椭圆 7"/>
            <p:cNvSpPr/>
            <p:nvPr userDrawn="1"/>
          </p:nvSpPr>
          <p:spPr>
            <a:xfrm rot="20954527">
              <a:off x="3367749" y="2856562"/>
              <a:ext cx="5805672" cy="1267285"/>
            </a:xfrm>
            <a:prstGeom prst="ellipse">
              <a:avLst/>
            </a:prstGeom>
            <a:noFill/>
            <a:ln w="6350">
              <a:gradFill flip="none" rotWithShape="1">
                <a:gsLst>
                  <a:gs pos="0">
                    <a:srgbClr val="13FFEC"/>
                  </a:gs>
                  <a:gs pos="100000">
                    <a:srgbClr val="00D4FD"/>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cs typeface="+mn-ea"/>
                <a:sym typeface="+mn-lt"/>
              </a:endParaRPr>
            </a:p>
          </p:txBody>
        </p:sp>
        <p:sp>
          <p:nvSpPr>
            <p:cNvPr id="9" name="椭圆 8"/>
            <p:cNvSpPr/>
            <p:nvPr userDrawn="1"/>
          </p:nvSpPr>
          <p:spPr>
            <a:xfrm rot="2008317">
              <a:off x="3038046" y="2728134"/>
              <a:ext cx="6347876" cy="1170794"/>
            </a:xfrm>
            <a:prstGeom prst="ellipse">
              <a:avLst/>
            </a:prstGeom>
            <a:noFill/>
            <a:ln w="6350">
              <a:gradFill flip="none" rotWithShape="1">
                <a:gsLst>
                  <a:gs pos="0">
                    <a:schemeClr val="bg1"/>
                  </a:gs>
                  <a:gs pos="32000">
                    <a:schemeClr val="bg1">
                      <a:lumMod val="85000"/>
                    </a:schemeClr>
                  </a:gs>
                  <a:gs pos="53000">
                    <a:schemeClr val="bg1">
                      <a:lumMod val="65000"/>
                    </a:schemeClr>
                  </a:gs>
                  <a:gs pos="99383">
                    <a:schemeClr val="tx1">
                      <a:lumMod val="65000"/>
                      <a:lumOff val="35000"/>
                      <a:alpha val="0"/>
                    </a:schemeClr>
                  </a:gs>
                  <a:gs pos="75000">
                    <a:schemeClr val="tx1">
                      <a:lumMod val="65000"/>
                      <a:lumOff val="35000"/>
                    </a:schemeClr>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pSp>
      <p:grpSp>
        <p:nvGrpSpPr>
          <p:cNvPr id="35" name="组合 34"/>
          <p:cNvGrpSpPr/>
          <p:nvPr/>
        </p:nvGrpSpPr>
        <p:grpSpPr>
          <a:xfrm>
            <a:off x="1596038" y="1588671"/>
            <a:ext cx="1089267" cy="1089267"/>
            <a:chOff x="1329455" y="1638189"/>
            <a:chExt cx="1089267" cy="1089267"/>
          </a:xfrm>
        </p:grpSpPr>
        <p:sp>
          <p:nvSpPr>
            <p:cNvPr id="36" name="椭圆 35"/>
            <p:cNvSpPr/>
            <p:nvPr/>
          </p:nvSpPr>
          <p:spPr>
            <a:xfrm>
              <a:off x="1329455" y="1638189"/>
              <a:ext cx="1089267" cy="1089267"/>
            </a:xfrm>
            <a:prstGeom prst="ellipse">
              <a:avLst/>
            </a:prstGeom>
            <a:noFill/>
            <a:ln w="28575">
              <a:solidFill>
                <a:srgbClr val="84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37" name="04"/>
            <p:cNvSpPr>
              <a:spLocks noChangeAspect="1"/>
            </p:cNvSpPr>
            <p:nvPr/>
          </p:nvSpPr>
          <p:spPr bwMode="auto">
            <a:xfrm>
              <a:off x="1620264" y="1896926"/>
              <a:ext cx="507650" cy="571794"/>
            </a:xfrm>
            <a:custGeom>
              <a:avLst/>
              <a:gdLst>
                <a:gd name="T0" fmla="*/ 2147483646 w 546"/>
                <a:gd name="T1" fmla="*/ 2147483646 h 619"/>
                <a:gd name="T2" fmla="*/ 2147483646 w 546"/>
                <a:gd name="T3" fmla="*/ 2147483646 h 619"/>
                <a:gd name="T4" fmla="*/ 2147483646 w 546"/>
                <a:gd name="T5" fmla="*/ 2147483646 h 619"/>
                <a:gd name="T6" fmla="*/ 2147483646 w 546"/>
                <a:gd name="T7" fmla="*/ 2147483646 h 619"/>
                <a:gd name="T8" fmla="*/ 2147483646 w 546"/>
                <a:gd name="T9" fmla="*/ 2147483646 h 619"/>
                <a:gd name="T10" fmla="*/ 2147483646 w 546"/>
                <a:gd name="T11" fmla="*/ 2147483646 h 619"/>
                <a:gd name="T12" fmla="*/ 2147483646 w 546"/>
                <a:gd name="T13" fmla="*/ 2147483646 h 619"/>
                <a:gd name="T14" fmla="*/ 2147483646 w 546"/>
                <a:gd name="T15" fmla="*/ 2147483646 h 619"/>
                <a:gd name="T16" fmla="*/ 2147483646 w 546"/>
                <a:gd name="T17" fmla="*/ 2147483646 h 619"/>
                <a:gd name="T18" fmla="*/ 2147483646 w 546"/>
                <a:gd name="T19" fmla="*/ 2147483646 h 619"/>
                <a:gd name="T20" fmla="*/ 2147483646 w 546"/>
                <a:gd name="T21" fmla="*/ 2147483646 h 619"/>
                <a:gd name="T22" fmla="*/ 2147483646 w 546"/>
                <a:gd name="T23" fmla="*/ 2147483646 h 619"/>
                <a:gd name="T24" fmla="*/ 2147483646 w 546"/>
                <a:gd name="T25" fmla="*/ 2147483646 h 619"/>
                <a:gd name="T26" fmla="*/ 2147483646 w 546"/>
                <a:gd name="T27" fmla="*/ 2147483646 h 619"/>
                <a:gd name="T28" fmla="*/ 2147483646 w 546"/>
                <a:gd name="T29" fmla="*/ 2147483646 h 619"/>
                <a:gd name="T30" fmla="*/ 2147483646 w 546"/>
                <a:gd name="T31" fmla="*/ 2147483646 h 619"/>
                <a:gd name="T32" fmla="*/ 2147483646 w 546"/>
                <a:gd name="T33" fmla="*/ 0 h 619"/>
                <a:gd name="T34" fmla="*/ 2147483646 w 546"/>
                <a:gd name="T35" fmla="*/ 0 h 619"/>
                <a:gd name="T36" fmla="*/ 2147483646 w 546"/>
                <a:gd name="T37" fmla="*/ 0 h 619"/>
                <a:gd name="T38" fmla="*/ 2147483646 w 546"/>
                <a:gd name="T39" fmla="*/ 2147483646 h 619"/>
                <a:gd name="T40" fmla="*/ 2147483646 w 546"/>
                <a:gd name="T41" fmla="*/ 2147483646 h 619"/>
                <a:gd name="T42" fmla="*/ 0 w 546"/>
                <a:gd name="T43" fmla="*/ 2147483646 h 619"/>
                <a:gd name="T44" fmla="*/ 0 w 546"/>
                <a:gd name="T45" fmla="*/ 2147483646 h 619"/>
                <a:gd name="T46" fmla="*/ 2147483646 w 546"/>
                <a:gd name="T47" fmla="*/ 2147483646 h 619"/>
                <a:gd name="T48" fmla="*/ 2147483646 w 546"/>
                <a:gd name="T49" fmla="*/ 2147483646 h 619"/>
                <a:gd name="T50" fmla="*/ 2147483646 w 546"/>
                <a:gd name="T51" fmla="*/ 2147483646 h 619"/>
                <a:gd name="T52" fmla="*/ 2147483646 w 546"/>
                <a:gd name="T53" fmla="*/ 2147483646 h 619"/>
                <a:gd name="T54" fmla="*/ 2147483646 w 546"/>
                <a:gd name="T55" fmla="*/ 2147483646 h 619"/>
                <a:gd name="T56" fmla="*/ 2147483646 w 546"/>
                <a:gd name="T57" fmla="*/ 2147483646 h 619"/>
                <a:gd name="T58" fmla="*/ 2147483646 w 546"/>
                <a:gd name="T59" fmla="*/ 2147483646 h 619"/>
                <a:gd name="T60" fmla="*/ 2147483646 w 546"/>
                <a:gd name="T61" fmla="*/ 0 h 619"/>
                <a:gd name="T62" fmla="*/ 2147483646 w 546"/>
                <a:gd name="T63" fmla="*/ 2147483646 h 619"/>
                <a:gd name="T64" fmla="*/ 2147483646 w 546"/>
                <a:gd name="T65" fmla="*/ 2147483646 h 619"/>
                <a:gd name="T66" fmla="*/ 2147483646 w 546"/>
                <a:gd name="T67" fmla="*/ 2147483646 h 619"/>
                <a:gd name="T68" fmla="*/ 2147483646 w 546"/>
                <a:gd name="T69" fmla="*/ 2147483646 h 619"/>
                <a:gd name="T70" fmla="*/ 2147483646 w 546"/>
                <a:gd name="T71" fmla="*/ 2147483646 h 619"/>
                <a:gd name="T72" fmla="*/ 2147483646 w 546"/>
                <a:gd name="T73" fmla="*/ 2147483646 h 619"/>
                <a:gd name="T74" fmla="*/ 2147483646 w 546"/>
                <a:gd name="T75" fmla="*/ 2147483646 h 619"/>
                <a:gd name="T76" fmla="*/ 2147483646 w 546"/>
                <a:gd name="T77" fmla="*/ 2147483646 h 619"/>
                <a:gd name="T78" fmla="*/ 2147483646 w 546"/>
                <a:gd name="T79" fmla="*/ 2147483646 h 619"/>
                <a:gd name="T80" fmla="*/ 2147483646 w 546"/>
                <a:gd name="T81" fmla="*/ 2147483646 h 619"/>
                <a:gd name="T82" fmla="*/ 2147483646 w 546"/>
                <a:gd name="T83" fmla="*/ 2147483646 h 619"/>
                <a:gd name="T84" fmla="*/ 2147483646 w 546"/>
                <a:gd name="T85" fmla="*/ 2147483646 h 619"/>
                <a:gd name="T86" fmla="*/ 2147483646 w 546"/>
                <a:gd name="T87" fmla="*/ 2147483646 h 619"/>
                <a:gd name="T88" fmla="*/ 2147483646 w 546"/>
                <a:gd name="T89" fmla="*/ 2147483646 h 619"/>
                <a:gd name="T90" fmla="*/ 2147483646 w 546"/>
                <a:gd name="T91" fmla="*/ 2147483646 h 619"/>
                <a:gd name="T92" fmla="*/ 2147483646 w 546"/>
                <a:gd name="T93" fmla="*/ 2147483646 h 619"/>
                <a:gd name="T94" fmla="*/ 2147483646 w 546"/>
                <a:gd name="T95" fmla="*/ 2147483646 h 619"/>
                <a:gd name="T96" fmla="*/ 2147483646 w 546"/>
                <a:gd name="T97" fmla="*/ 2147483646 h 619"/>
                <a:gd name="T98" fmla="*/ 2147483646 w 546"/>
                <a:gd name="T99" fmla="*/ 2147483646 h 619"/>
                <a:gd name="T100" fmla="*/ 2147483646 w 546"/>
                <a:gd name="T101" fmla="*/ 2147483646 h 619"/>
                <a:gd name="T102" fmla="*/ 2147483646 w 546"/>
                <a:gd name="T103" fmla="*/ 2147483646 h 619"/>
                <a:gd name="T104" fmla="*/ 2147483646 w 546"/>
                <a:gd name="T105" fmla="*/ 2147483646 h 619"/>
                <a:gd name="T106" fmla="*/ 2147483646 w 546"/>
                <a:gd name="T107" fmla="*/ 2147483646 h 619"/>
                <a:gd name="T108" fmla="*/ 2147483646 w 546"/>
                <a:gd name="T109" fmla="*/ 2147483646 h 619"/>
                <a:gd name="T110" fmla="*/ 2147483646 w 546"/>
                <a:gd name="T111" fmla="*/ 2147483646 h 619"/>
                <a:gd name="T112" fmla="*/ 2147483646 w 546"/>
                <a:gd name="T113" fmla="*/ 2147483646 h 619"/>
                <a:gd name="T114" fmla="*/ 2147483646 w 546"/>
                <a:gd name="T115" fmla="*/ 2147483646 h 619"/>
                <a:gd name="T116" fmla="*/ 2147483646 w 546"/>
                <a:gd name="T117" fmla="*/ 2147483646 h 619"/>
                <a:gd name="T118" fmla="*/ 2147483646 w 546"/>
                <a:gd name="T119" fmla="*/ 2147483646 h 61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546" h="619">
                  <a:moveTo>
                    <a:pt x="413" y="368"/>
                  </a:moveTo>
                  <a:lnTo>
                    <a:pt x="413" y="368"/>
                  </a:lnTo>
                  <a:cubicBezTo>
                    <a:pt x="236" y="368"/>
                    <a:pt x="236" y="368"/>
                    <a:pt x="236" y="368"/>
                  </a:cubicBezTo>
                  <a:cubicBezTo>
                    <a:pt x="221" y="368"/>
                    <a:pt x="221" y="383"/>
                    <a:pt x="221" y="383"/>
                  </a:cubicBezTo>
                  <a:cubicBezTo>
                    <a:pt x="221" y="398"/>
                    <a:pt x="221" y="412"/>
                    <a:pt x="236" y="412"/>
                  </a:cubicBezTo>
                  <a:cubicBezTo>
                    <a:pt x="413" y="412"/>
                    <a:pt x="413" y="412"/>
                    <a:pt x="413" y="412"/>
                  </a:cubicBezTo>
                  <a:cubicBezTo>
                    <a:pt x="427" y="412"/>
                    <a:pt x="427" y="398"/>
                    <a:pt x="427" y="383"/>
                  </a:cubicBezTo>
                  <a:cubicBezTo>
                    <a:pt x="427" y="383"/>
                    <a:pt x="427" y="368"/>
                    <a:pt x="413" y="368"/>
                  </a:cubicBezTo>
                  <a:close/>
                  <a:moveTo>
                    <a:pt x="413" y="265"/>
                  </a:moveTo>
                  <a:lnTo>
                    <a:pt x="413" y="265"/>
                  </a:lnTo>
                  <a:cubicBezTo>
                    <a:pt x="236" y="265"/>
                    <a:pt x="236" y="265"/>
                    <a:pt x="236" y="265"/>
                  </a:cubicBezTo>
                  <a:cubicBezTo>
                    <a:pt x="221" y="265"/>
                    <a:pt x="221" y="280"/>
                    <a:pt x="221" y="295"/>
                  </a:cubicBezTo>
                  <a:cubicBezTo>
                    <a:pt x="221" y="295"/>
                    <a:pt x="221" y="309"/>
                    <a:pt x="236" y="309"/>
                  </a:cubicBezTo>
                  <a:cubicBezTo>
                    <a:pt x="413" y="309"/>
                    <a:pt x="413" y="309"/>
                    <a:pt x="413" y="309"/>
                  </a:cubicBezTo>
                  <a:cubicBezTo>
                    <a:pt x="427" y="309"/>
                    <a:pt x="427" y="295"/>
                    <a:pt x="427" y="295"/>
                  </a:cubicBezTo>
                  <a:cubicBezTo>
                    <a:pt x="427" y="280"/>
                    <a:pt x="427" y="265"/>
                    <a:pt x="413" y="265"/>
                  </a:cubicBezTo>
                  <a:close/>
                  <a:moveTo>
                    <a:pt x="413" y="0"/>
                  </a:moveTo>
                  <a:lnTo>
                    <a:pt x="413" y="0"/>
                  </a:lnTo>
                  <a:lnTo>
                    <a:pt x="177" y="0"/>
                  </a:lnTo>
                  <a:cubicBezTo>
                    <a:pt x="133" y="0"/>
                    <a:pt x="104" y="29"/>
                    <a:pt x="104" y="74"/>
                  </a:cubicBezTo>
                  <a:cubicBezTo>
                    <a:pt x="74" y="74"/>
                    <a:pt x="74" y="74"/>
                    <a:pt x="74" y="74"/>
                  </a:cubicBezTo>
                  <a:cubicBezTo>
                    <a:pt x="30" y="74"/>
                    <a:pt x="0" y="118"/>
                    <a:pt x="0" y="147"/>
                  </a:cubicBezTo>
                  <a:cubicBezTo>
                    <a:pt x="0" y="545"/>
                    <a:pt x="0" y="545"/>
                    <a:pt x="0" y="545"/>
                  </a:cubicBezTo>
                  <a:cubicBezTo>
                    <a:pt x="0" y="589"/>
                    <a:pt x="45" y="618"/>
                    <a:pt x="74" y="618"/>
                  </a:cubicBezTo>
                  <a:cubicBezTo>
                    <a:pt x="368" y="618"/>
                    <a:pt x="368" y="618"/>
                    <a:pt x="368" y="618"/>
                  </a:cubicBezTo>
                  <a:cubicBezTo>
                    <a:pt x="413" y="618"/>
                    <a:pt x="457" y="589"/>
                    <a:pt x="457" y="545"/>
                  </a:cubicBezTo>
                  <a:cubicBezTo>
                    <a:pt x="472" y="545"/>
                    <a:pt x="472" y="545"/>
                    <a:pt x="472" y="545"/>
                  </a:cubicBezTo>
                  <a:cubicBezTo>
                    <a:pt x="516" y="545"/>
                    <a:pt x="545" y="501"/>
                    <a:pt x="545" y="471"/>
                  </a:cubicBezTo>
                  <a:cubicBezTo>
                    <a:pt x="545" y="192"/>
                    <a:pt x="545" y="192"/>
                    <a:pt x="545" y="192"/>
                  </a:cubicBezTo>
                  <a:cubicBezTo>
                    <a:pt x="545" y="147"/>
                    <a:pt x="545" y="147"/>
                    <a:pt x="545" y="147"/>
                  </a:cubicBezTo>
                  <a:lnTo>
                    <a:pt x="413" y="0"/>
                  </a:lnTo>
                  <a:close/>
                  <a:moveTo>
                    <a:pt x="368" y="589"/>
                  </a:moveTo>
                  <a:lnTo>
                    <a:pt x="368" y="589"/>
                  </a:lnTo>
                  <a:cubicBezTo>
                    <a:pt x="74" y="589"/>
                    <a:pt x="74" y="589"/>
                    <a:pt x="74" y="589"/>
                  </a:cubicBezTo>
                  <a:cubicBezTo>
                    <a:pt x="59" y="589"/>
                    <a:pt x="45" y="559"/>
                    <a:pt x="45" y="545"/>
                  </a:cubicBezTo>
                  <a:cubicBezTo>
                    <a:pt x="45" y="147"/>
                    <a:pt x="45" y="147"/>
                    <a:pt x="45" y="147"/>
                  </a:cubicBezTo>
                  <a:cubicBezTo>
                    <a:pt x="45" y="133"/>
                    <a:pt x="59" y="118"/>
                    <a:pt x="74" y="118"/>
                  </a:cubicBezTo>
                  <a:cubicBezTo>
                    <a:pt x="104" y="118"/>
                    <a:pt x="104" y="118"/>
                    <a:pt x="104" y="118"/>
                  </a:cubicBezTo>
                  <a:cubicBezTo>
                    <a:pt x="104" y="471"/>
                    <a:pt x="104" y="471"/>
                    <a:pt x="104" y="471"/>
                  </a:cubicBezTo>
                  <a:cubicBezTo>
                    <a:pt x="104" y="501"/>
                    <a:pt x="133" y="545"/>
                    <a:pt x="177" y="545"/>
                  </a:cubicBezTo>
                  <a:cubicBezTo>
                    <a:pt x="413" y="545"/>
                    <a:pt x="413" y="545"/>
                    <a:pt x="413" y="545"/>
                  </a:cubicBezTo>
                  <a:cubicBezTo>
                    <a:pt x="413" y="559"/>
                    <a:pt x="398" y="589"/>
                    <a:pt x="368" y="589"/>
                  </a:cubicBezTo>
                  <a:close/>
                  <a:moveTo>
                    <a:pt x="516" y="471"/>
                  </a:moveTo>
                  <a:lnTo>
                    <a:pt x="516" y="471"/>
                  </a:lnTo>
                  <a:cubicBezTo>
                    <a:pt x="516" y="486"/>
                    <a:pt x="486" y="501"/>
                    <a:pt x="472" y="501"/>
                  </a:cubicBezTo>
                  <a:cubicBezTo>
                    <a:pt x="177" y="501"/>
                    <a:pt x="177" y="501"/>
                    <a:pt x="177" y="501"/>
                  </a:cubicBezTo>
                  <a:cubicBezTo>
                    <a:pt x="163" y="501"/>
                    <a:pt x="133" y="486"/>
                    <a:pt x="133" y="471"/>
                  </a:cubicBezTo>
                  <a:cubicBezTo>
                    <a:pt x="133" y="74"/>
                    <a:pt x="133" y="74"/>
                    <a:pt x="133" y="74"/>
                  </a:cubicBezTo>
                  <a:cubicBezTo>
                    <a:pt x="133" y="59"/>
                    <a:pt x="163" y="29"/>
                    <a:pt x="177" y="29"/>
                  </a:cubicBezTo>
                  <a:cubicBezTo>
                    <a:pt x="368" y="29"/>
                    <a:pt x="368" y="29"/>
                    <a:pt x="368" y="29"/>
                  </a:cubicBezTo>
                  <a:cubicBezTo>
                    <a:pt x="368" y="74"/>
                    <a:pt x="368" y="118"/>
                    <a:pt x="368" y="118"/>
                  </a:cubicBezTo>
                  <a:cubicBezTo>
                    <a:pt x="368" y="147"/>
                    <a:pt x="413" y="192"/>
                    <a:pt x="457" y="192"/>
                  </a:cubicBezTo>
                  <a:cubicBezTo>
                    <a:pt x="457" y="192"/>
                    <a:pt x="472" y="192"/>
                    <a:pt x="516" y="192"/>
                  </a:cubicBezTo>
                  <a:lnTo>
                    <a:pt x="516" y="471"/>
                  </a:lnTo>
                  <a:close/>
                  <a:moveTo>
                    <a:pt x="457" y="147"/>
                  </a:moveTo>
                  <a:lnTo>
                    <a:pt x="457" y="147"/>
                  </a:lnTo>
                  <a:cubicBezTo>
                    <a:pt x="427" y="147"/>
                    <a:pt x="413" y="118"/>
                    <a:pt x="413" y="88"/>
                  </a:cubicBezTo>
                  <a:cubicBezTo>
                    <a:pt x="413" y="88"/>
                    <a:pt x="413" y="74"/>
                    <a:pt x="413" y="29"/>
                  </a:cubicBezTo>
                  <a:cubicBezTo>
                    <a:pt x="516" y="147"/>
                    <a:pt x="516" y="147"/>
                    <a:pt x="516" y="147"/>
                  </a:cubicBezTo>
                  <a:lnTo>
                    <a:pt x="457" y="147"/>
                  </a:lnTo>
                  <a:close/>
                </a:path>
              </a:pathLst>
            </a:custGeom>
            <a:solidFill>
              <a:srgbClr val="84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sp>
        <p:nvSpPr>
          <p:cNvPr id="38" name="矩形 37"/>
          <p:cNvSpPr/>
          <p:nvPr/>
        </p:nvSpPr>
        <p:spPr>
          <a:xfrm>
            <a:off x="1432785" y="2787884"/>
            <a:ext cx="1415772" cy="338554"/>
          </a:xfrm>
          <a:prstGeom prst="rect">
            <a:avLst/>
          </a:prstGeom>
        </p:spPr>
        <p:txBody>
          <a:bodyPr wrap="none">
            <a:spAutoFit/>
          </a:bodyPr>
          <a:lstStyle/>
          <a:p>
            <a:pPr lvl="0" algn="ctr">
              <a:defRPr/>
            </a:pPr>
            <a:r>
              <a:rPr lang="zh-CN" altLang="en-US" sz="1600" b="1" kern="0" dirty="0">
                <a:solidFill>
                  <a:srgbClr val="84FFFF"/>
                </a:solidFill>
                <a:cs typeface="+mn-ea"/>
                <a:sym typeface="+mn-lt"/>
              </a:rPr>
              <a:t>填写段落标题</a:t>
            </a:r>
          </a:p>
        </p:txBody>
      </p:sp>
      <p:sp>
        <p:nvSpPr>
          <p:cNvPr id="39" name="矩形 38"/>
          <p:cNvSpPr/>
          <p:nvPr/>
        </p:nvSpPr>
        <p:spPr>
          <a:xfrm>
            <a:off x="976468" y="3102862"/>
            <a:ext cx="2328407" cy="526811"/>
          </a:xfrm>
          <a:prstGeom prst="rect">
            <a:avLst/>
          </a:prstGeom>
        </p:spPr>
        <p:txBody>
          <a:bodyPr wrap="square">
            <a:spAutoFit/>
          </a:bodyPr>
          <a:lstStyle/>
          <a:p>
            <a:pPr lvl="0" algn="ctr">
              <a:lnSpc>
                <a:spcPct val="150000"/>
              </a:lnSpc>
              <a:defRPr/>
            </a:pPr>
            <a:r>
              <a:rPr lang="zh-CN" altLang="en-US" sz="1000" kern="0" dirty="0">
                <a:solidFill>
                  <a:schemeClr val="bg1"/>
                </a:solidFill>
                <a:cs typeface="+mn-ea"/>
                <a:sym typeface="+mn-lt"/>
              </a:rPr>
              <a:t>请替换文字内容，修改文字内容，也可以直接复制你的内容到此。</a:t>
            </a:r>
          </a:p>
        </p:txBody>
      </p:sp>
      <p:grpSp>
        <p:nvGrpSpPr>
          <p:cNvPr id="40" name="组合 39"/>
          <p:cNvGrpSpPr/>
          <p:nvPr/>
        </p:nvGrpSpPr>
        <p:grpSpPr>
          <a:xfrm>
            <a:off x="1596038" y="4276307"/>
            <a:ext cx="1089267" cy="1089267"/>
            <a:chOff x="1351024" y="4183427"/>
            <a:chExt cx="1089267" cy="1089267"/>
          </a:xfrm>
        </p:grpSpPr>
        <p:sp>
          <p:nvSpPr>
            <p:cNvPr id="41" name="椭圆 40"/>
            <p:cNvSpPr/>
            <p:nvPr/>
          </p:nvSpPr>
          <p:spPr>
            <a:xfrm>
              <a:off x="1351024" y="4183427"/>
              <a:ext cx="1089267" cy="1089267"/>
            </a:xfrm>
            <a:prstGeom prst="ellipse">
              <a:avLst/>
            </a:prstGeom>
            <a:noFill/>
            <a:ln w="28575">
              <a:solidFill>
                <a:srgbClr val="84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42" name="03"/>
            <p:cNvSpPr>
              <a:spLocks noChangeAspect="1"/>
            </p:cNvSpPr>
            <p:nvPr/>
          </p:nvSpPr>
          <p:spPr bwMode="auto">
            <a:xfrm>
              <a:off x="1600598" y="4442164"/>
              <a:ext cx="590120" cy="571794"/>
            </a:xfrm>
            <a:custGeom>
              <a:avLst/>
              <a:gdLst>
                <a:gd name="T0" fmla="*/ 2147483646 w 634"/>
                <a:gd name="T1" fmla="*/ 0 h 619"/>
                <a:gd name="T2" fmla="*/ 2147483646 w 634"/>
                <a:gd name="T3" fmla="*/ 0 h 619"/>
                <a:gd name="T4" fmla="*/ 2147483646 w 634"/>
                <a:gd name="T5" fmla="*/ 0 h 619"/>
                <a:gd name="T6" fmla="*/ 0 w 634"/>
                <a:gd name="T7" fmla="*/ 2147483646 h 619"/>
                <a:gd name="T8" fmla="*/ 0 w 634"/>
                <a:gd name="T9" fmla="*/ 2147483646 h 619"/>
                <a:gd name="T10" fmla="*/ 2147483646 w 634"/>
                <a:gd name="T11" fmla="*/ 2147483646 h 619"/>
                <a:gd name="T12" fmla="*/ 2147483646 w 634"/>
                <a:gd name="T13" fmla="*/ 2147483646 h 619"/>
                <a:gd name="T14" fmla="*/ 2147483646 w 634"/>
                <a:gd name="T15" fmla="*/ 2147483646 h 619"/>
                <a:gd name="T16" fmla="*/ 2147483646 w 634"/>
                <a:gd name="T17" fmla="*/ 2147483646 h 619"/>
                <a:gd name="T18" fmla="*/ 2147483646 w 634"/>
                <a:gd name="T19" fmla="*/ 0 h 619"/>
                <a:gd name="T20" fmla="*/ 2147483646 w 634"/>
                <a:gd name="T21" fmla="*/ 2147483646 h 619"/>
                <a:gd name="T22" fmla="*/ 2147483646 w 634"/>
                <a:gd name="T23" fmla="*/ 2147483646 h 619"/>
                <a:gd name="T24" fmla="*/ 2147483646 w 634"/>
                <a:gd name="T25" fmla="*/ 2147483646 h 619"/>
                <a:gd name="T26" fmla="*/ 2147483646 w 634"/>
                <a:gd name="T27" fmla="*/ 2147483646 h 619"/>
                <a:gd name="T28" fmla="*/ 2147483646 w 634"/>
                <a:gd name="T29" fmla="*/ 2147483646 h 619"/>
                <a:gd name="T30" fmla="*/ 2147483646 w 634"/>
                <a:gd name="T31" fmla="*/ 2147483646 h 619"/>
                <a:gd name="T32" fmla="*/ 2147483646 w 634"/>
                <a:gd name="T33" fmla="*/ 2147483646 h 619"/>
                <a:gd name="T34" fmla="*/ 2147483646 w 634"/>
                <a:gd name="T35" fmla="*/ 2147483646 h 619"/>
                <a:gd name="T36" fmla="*/ 2147483646 w 634"/>
                <a:gd name="T37" fmla="*/ 2147483646 h 619"/>
                <a:gd name="T38" fmla="*/ 2147483646 w 634"/>
                <a:gd name="T39" fmla="*/ 2147483646 h 619"/>
                <a:gd name="T40" fmla="*/ 2147483646 w 634"/>
                <a:gd name="T41" fmla="*/ 2147483646 h 619"/>
                <a:gd name="T42" fmla="*/ 2147483646 w 634"/>
                <a:gd name="T43" fmla="*/ 2147483646 h 619"/>
                <a:gd name="T44" fmla="*/ 2147483646 w 634"/>
                <a:gd name="T45" fmla="*/ 2147483646 h 619"/>
                <a:gd name="T46" fmla="*/ 2147483646 w 634"/>
                <a:gd name="T47" fmla="*/ 2147483646 h 619"/>
                <a:gd name="T48" fmla="*/ 2147483646 w 634"/>
                <a:gd name="T49" fmla="*/ 2147483646 h 619"/>
                <a:gd name="T50" fmla="*/ 2147483646 w 634"/>
                <a:gd name="T51" fmla="*/ 2147483646 h 619"/>
                <a:gd name="T52" fmla="*/ 2147483646 w 634"/>
                <a:gd name="T53" fmla="*/ 2147483646 h 619"/>
                <a:gd name="T54" fmla="*/ 2147483646 w 634"/>
                <a:gd name="T55" fmla="*/ 2147483646 h 619"/>
                <a:gd name="T56" fmla="*/ 2147483646 w 634"/>
                <a:gd name="T57" fmla="*/ 2147483646 h 619"/>
                <a:gd name="T58" fmla="*/ 2147483646 w 634"/>
                <a:gd name="T59" fmla="*/ 2147483646 h 619"/>
                <a:gd name="T60" fmla="*/ 2147483646 w 634"/>
                <a:gd name="T61" fmla="*/ 2147483646 h 619"/>
                <a:gd name="T62" fmla="*/ 2147483646 w 634"/>
                <a:gd name="T63" fmla="*/ 2147483646 h 619"/>
                <a:gd name="T64" fmla="*/ 2147483646 w 634"/>
                <a:gd name="T65" fmla="*/ 2147483646 h 619"/>
                <a:gd name="T66" fmla="*/ 2147483646 w 634"/>
                <a:gd name="T67" fmla="*/ 2147483646 h 619"/>
                <a:gd name="T68" fmla="*/ 2147483646 w 634"/>
                <a:gd name="T69" fmla="*/ 2147483646 h 619"/>
                <a:gd name="T70" fmla="*/ 2147483646 w 634"/>
                <a:gd name="T71" fmla="*/ 2147483646 h 619"/>
                <a:gd name="T72" fmla="*/ 2147483646 w 634"/>
                <a:gd name="T73" fmla="*/ 2147483646 h 619"/>
                <a:gd name="T74" fmla="*/ 2147483646 w 634"/>
                <a:gd name="T75" fmla="*/ 2147483646 h 619"/>
                <a:gd name="T76" fmla="*/ 2147483646 w 634"/>
                <a:gd name="T77" fmla="*/ 2147483646 h 619"/>
                <a:gd name="T78" fmla="*/ 2147483646 w 634"/>
                <a:gd name="T79" fmla="*/ 2147483646 h 619"/>
                <a:gd name="T80" fmla="*/ 2147483646 w 634"/>
                <a:gd name="T81" fmla="*/ 2147483646 h 619"/>
                <a:gd name="T82" fmla="*/ 2147483646 w 634"/>
                <a:gd name="T83" fmla="*/ 2147483646 h 619"/>
                <a:gd name="T84" fmla="*/ 2147483646 w 634"/>
                <a:gd name="T85" fmla="*/ 2147483646 h 619"/>
                <a:gd name="T86" fmla="*/ 2147483646 w 634"/>
                <a:gd name="T87" fmla="*/ 2147483646 h 619"/>
                <a:gd name="T88" fmla="*/ 2147483646 w 634"/>
                <a:gd name="T89" fmla="*/ 2147483646 h 619"/>
                <a:gd name="T90" fmla="*/ 2147483646 w 634"/>
                <a:gd name="T91" fmla="*/ 2147483646 h 619"/>
                <a:gd name="T92" fmla="*/ 2147483646 w 634"/>
                <a:gd name="T93" fmla="*/ 2147483646 h 619"/>
                <a:gd name="T94" fmla="*/ 2147483646 w 634"/>
                <a:gd name="T95" fmla="*/ 2147483646 h 61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634" h="619">
                  <a:moveTo>
                    <a:pt x="560" y="0"/>
                  </a:moveTo>
                  <a:lnTo>
                    <a:pt x="560" y="0"/>
                  </a:lnTo>
                  <a:cubicBezTo>
                    <a:pt x="89" y="0"/>
                    <a:pt x="89" y="0"/>
                    <a:pt x="89" y="0"/>
                  </a:cubicBezTo>
                  <a:cubicBezTo>
                    <a:pt x="45" y="0"/>
                    <a:pt x="0" y="29"/>
                    <a:pt x="0" y="74"/>
                  </a:cubicBezTo>
                  <a:cubicBezTo>
                    <a:pt x="0" y="545"/>
                    <a:pt x="0" y="545"/>
                    <a:pt x="0" y="545"/>
                  </a:cubicBezTo>
                  <a:cubicBezTo>
                    <a:pt x="0" y="589"/>
                    <a:pt x="45" y="618"/>
                    <a:pt x="89" y="618"/>
                  </a:cubicBezTo>
                  <a:cubicBezTo>
                    <a:pt x="560" y="618"/>
                    <a:pt x="560" y="618"/>
                    <a:pt x="560" y="618"/>
                  </a:cubicBezTo>
                  <a:cubicBezTo>
                    <a:pt x="604" y="618"/>
                    <a:pt x="633" y="589"/>
                    <a:pt x="633" y="545"/>
                  </a:cubicBezTo>
                  <a:cubicBezTo>
                    <a:pt x="633" y="74"/>
                    <a:pt x="633" y="74"/>
                    <a:pt x="633" y="74"/>
                  </a:cubicBezTo>
                  <a:cubicBezTo>
                    <a:pt x="633" y="29"/>
                    <a:pt x="604" y="0"/>
                    <a:pt x="560" y="0"/>
                  </a:cubicBezTo>
                  <a:close/>
                  <a:moveTo>
                    <a:pt x="89" y="589"/>
                  </a:moveTo>
                  <a:lnTo>
                    <a:pt x="89" y="589"/>
                  </a:lnTo>
                  <a:cubicBezTo>
                    <a:pt x="59" y="589"/>
                    <a:pt x="45" y="559"/>
                    <a:pt x="45" y="545"/>
                  </a:cubicBezTo>
                  <a:cubicBezTo>
                    <a:pt x="45" y="530"/>
                    <a:pt x="45" y="530"/>
                    <a:pt x="45" y="530"/>
                  </a:cubicBezTo>
                  <a:cubicBezTo>
                    <a:pt x="207" y="383"/>
                    <a:pt x="207" y="383"/>
                    <a:pt x="207" y="383"/>
                  </a:cubicBezTo>
                  <a:cubicBezTo>
                    <a:pt x="398" y="589"/>
                    <a:pt x="398" y="589"/>
                    <a:pt x="398" y="589"/>
                  </a:cubicBezTo>
                  <a:lnTo>
                    <a:pt x="89" y="589"/>
                  </a:lnTo>
                  <a:close/>
                  <a:moveTo>
                    <a:pt x="589" y="545"/>
                  </a:moveTo>
                  <a:lnTo>
                    <a:pt x="589" y="545"/>
                  </a:lnTo>
                  <a:cubicBezTo>
                    <a:pt x="589" y="559"/>
                    <a:pt x="575" y="589"/>
                    <a:pt x="560" y="589"/>
                  </a:cubicBezTo>
                  <a:cubicBezTo>
                    <a:pt x="457" y="589"/>
                    <a:pt x="457" y="589"/>
                    <a:pt x="457" y="589"/>
                  </a:cubicBezTo>
                  <a:cubicBezTo>
                    <a:pt x="310" y="442"/>
                    <a:pt x="310" y="442"/>
                    <a:pt x="310" y="442"/>
                  </a:cubicBezTo>
                  <a:cubicBezTo>
                    <a:pt x="471" y="265"/>
                    <a:pt x="471" y="265"/>
                    <a:pt x="471" y="265"/>
                  </a:cubicBezTo>
                  <a:cubicBezTo>
                    <a:pt x="589" y="383"/>
                    <a:pt x="589" y="383"/>
                    <a:pt x="589" y="383"/>
                  </a:cubicBezTo>
                  <a:lnTo>
                    <a:pt x="589" y="545"/>
                  </a:lnTo>
                  <a:close/>
                  <a:moveTo>
                    <a:pt x="589" y="339"/>
                  </a:moveTo>
                  <a:lnTo>
                    <a:pt x="589" y="339"/>
                  </a:lnTo>
                  <a:cubicBezTo>
                    <a:pt x="471" y="206"/>
                    <a:pt x="471" y="206"/>
                    <a:pt x="471" y="206"/>
                  </a:cubicBezTo>
                  <a:cubicBezTo>
                    <a:pt x="280" y="412"/>
                    <a:pt x="280" y="412"/>
                    <a:pt x="280" y="412"/>
                  </a:cubicBezTo>
                  <a:cubicBezTo>
                    <a:pt x="207" y="324"/>
                    <a:pt x="207" y="324"/>
                    <a:pt x="207" y="324"/>
                  </a:cubicBezTo>
                  <a:cubicBezTo>
                    <a:pt x="45" y="471"/>
                    <a:pt x="45" y="471"/>
                    <a:pt x="45" y="471"/>
                  </a:cubicBezTo>
                  <a:cubicBezTo>
                    <a:pt x="45" y="74"/>
                    <a:pt x="45" y="74"/>
                    <a:pt x="45" y="74"/>
                  </a:cubicBezTo>
                  <a:cubicBezTo>
                    <a:pt x="45" y="59"/>
                    <a:pt x="59" y="29"/>
                    <a:pt x="89" y="29"/>
                  </a:cubicBezTo>
                  <a:cubicBezTo>
                    <a:pt x="560" y="29"/>
                    <a:pt x="560" y="29"/>
                    <a:pt x="560" y="29"/>
                  </a:cubicBezTo>
                  <a:cubicBezTo>
                    <a:pt x="575" y="29"/>
                    <a:pt x="589" y="59"/>
                    <a:pt x="589" y="74"/>
                  </a:cubicBezTo>
                  <a:lnTo>
                    <a:pt x="589" y="339"/>
                  </a:lnTo>
                  <a:close/>
                  <a:moveTo>
                    <a:pt x="162" y="74"/>
                  </a:moveTo>
                  <a:lnTo>
                    <a:pt x="162" y="74"/>
                  </a:lnTo>
                  <a:cubicBezTo>
                    <a:pt x="118" y="74"/>
                    <a:pt x="89" y="103"/>
                    <a:pt x="89" y="147"/>
                  </a:cubicBezTo>
                  <a:cubicBezTo>
                    <a:pt x="89" y="192"/>
                    <a:pt x="118" y="236"/>
                    <a:pt x="162" y="236"/>
                  </a:cubicBezTo>
                  <a:cubicBezTo>
                    <a:pt x="207" y="236"/>
                    <a:pt x="236" y="192"/>
                    <a:pt x="236" y="147"/>
                  </a:cubicBezTo>
                  <a:cubicBezTo>
                    <a:pt x="236" y="103"/>
                    <a:pt x="207" y="74"/>
                    <a:pt x="162" y="74"/>
                  </a:cubicBezTo>
                  <a:close/>
                  <a:moveTo>
                    <a:pt x="162" y="192"/>
                  </a:moveTo>
                  <a:lnTo>
                    <a:pt x="162" y="192"/>
                  </a:lnTo>
                  <a:cubicBezTo>
                    <a:pt x="148" y="192"/>
                    <a:pt x="118" y="177"/>
                    <a:pt x="118" y="147"/>
                  </a:cubicBezTo>
                  <a:cubicBezTo>
                    <a:pt x="118" y="133"/>
                    <a:pt x="148" y="118"/>
                    <a:pt x="162" y="118"/>
                  </a:cubicBezTo>
                  <a:cubicBezTo>
                    <a:pt x="177" y="118"/>
                    <a:pt x="207" y="133"/>
                    <a:pt x="207" y="147"/>
                  </a:cubicBezTo>
                  <a:cubicBezTo>
                    <a:pt x="207" y="177"/>
                    <a:pt x="177" y="192"/>
                    <a:pt x="162" y="192"/>
                  </a:cubicBezTo>
                  <a:close/>
                </a:path>
              </a:pathLst>
            </a:custGeom>
            <a:solidFill>
              <a:srgbClr val="84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sp>
        <p:nvSpPr>
          <p:cNvPr id="43" name="矩形 42"/>
          <p:cNvSpPr/>
          <p:nvPr/>
        </p:nvSpPr>
        <p:spPr>
          <a:xfrm>
            <a:off x="1432785" y="5491797"/>
            <a:ext cx="1415772" cy="338554"/>
          </a:xfrm>
          <a:prstGeom prst="rect">
            <a:avLst/>
          </a:prstGeom>
        </p:spPr>
        <p:txBody>
          <a:bodyPr wrap="none">
            <a:spAutoFit/>
          </a:bodyPr>
          <a:lstStyle/>
          <a:p>
            <a:pPr lvl="0" algn="ctr">
              <a:defRPr/>
            </a:pPr>
            <a:r>
              <a:rPr lang="zh-CN" altLang="en-US" sz="1600" b="1" kern="0" dirty="0">
                <a:solidFill>
                  <a:srgbClr val="84FFFF"/>
                </a:solidFill>
                <a:cs typeface="+mn-ea"/>
                <a:sym typeface="+mn-lt"/>
              </a:rPr>
              <a:t>填写段落标题</a:t>
            </a:r>
          </a:p>
        </p:txBody>
      </p:sp>
      <p:sp>
        <p:nvSpPr>
          <p:cNvPr id="44" name="矩形 43"/>
          <p:cNvSpPr/>
          <p:nvPr/>
        </p:nvSpPr>
        <p:spPr>
          <a:xfrm>
            <a:off x="976468" y="5806775"/>
            <a:ext cx="2328407" cy="526811"/>
          </a:xfrm>
          <a:prstGeom prst="rect">
            <a:avLst/>
          </a:prstGeom>
        </p:spPr>
        <p:txBody>
          <a:bodyPr wrap="square">
            <a:spAutoFit/>
          </a:bodyPr>
          <a:lstStyle/>
          <a:p>
            <a:pPr lvl="0" algn="ctr">
              <a:lnSpc>
                <a:spcPct val="150000"/>
              </a:lnSpc>
              <a:defRPr/>
            </a:pPr>
            <a:r>
              <a:rPr lang="zh-CN" altLang="en-US" sz="1000" kern="0" dirty="0">
                <a:solidFill>
                  <a:schemeClr val="bg1"/>
                </a:solidFill>
                <a:cs typeface="+mn-ea"/>
                <a:sym typeface="+mn-lt"/>
              </a:rPr>
              <a:t>请替换文字内容，修改文字内容，也可以直接复制你的内容到此。</a:t>
            </a:r>
          </a:p>
        </p:txBody>
      </p:sp>
      <p:grpSp>
        <p:nvGrpSpPr>
          <p:cNvPr id="45" name="组合 44"/>
          <p:cNvGrpSpPr/>
          <p:nvPr/>
        </p:nvGrpSpPr>
        <p:grpSpPr>
          <a:xfrm>
            <a:off x="9471057" y="4276307"/>
            <a:ext cx="1089267" cy="1089267"/>
            <a:chOff x="9490068" y="4172110"/>
            <a:chExt cx="1089267" cy="1089267"/>
          </a:xfrm>
        </p:grpSpPr>
        <p:sp>
          <p:nvSpPr>
            <p:cNvPr id="46" name="椭圆 45"/>
            <p:cNvSpPr/>
            <p:nvPr/>
          </p:nvSpPr>
          <p:spPr>
            <a:xfrm>
              <a:off x="9490068" y="4172110"/>
              <a:ext cx="1089267" cy="1089267"/>
            </a:xfrm>
            <a:prstGeom prst="ellipse">
              <a:avLst/>
            </a:prstGeom>
            <a:noFill/>
            <a:ln w="28575">
              <a:solidFill>
                <a:srgbClr val="84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47" name="01"/>
            <p:cNvSpPr>
              <a:spLocks noChangeAspect="1"/>
            </p:cNvSpPr>
            <p:nvPr/>
          </p:nvSpPr>
          <p:spPr bwMode="auto">
            <a:xfrm>
              <a:off x="9749693" y="4430847"/>
              <a:ext cx="570019" cy="571794"/>
            </a:xfrm>
            <a:custGeom>
              <a:avLst/>
              <a:gdLst>
                <a:gd name="T0" fmla="*/ 2147483646 w 634"/>
                <a:gd name="T1" fmla="*/ 2147483646 h 634"/>
                <a:gd name="T2" fmla="*/ 2147483646 w 634"/>
                <a:gd name="T3" fmla="*/ 2147483646 h 634"/>
                <a:gd name="T4" fmla="*/ 2147483646 w 634"/>
                <a:gd name="T5" fmla="*/ 2147483646 h 634"/>
                <a:gd name="T6" fmla="*/ 2147483646 w 634"/>
                <a:gd name="T7" fmla="*/ 2147483646 h 634"/>
                <a:gd name="T8" fmla="*/ 2147483646 w 634"/>
                <a:gd name="T9" fmla="*/ 2147483646 h 634"/>
                <a:gd name="T10" fmla="*/ 2147483646 w 634"/>
                <a:gd name="T11" fmla="*/ 2147483646 h 634"/>
                <a:gd name="T12" fmla="*/ 2147483646 w 634"/>
                <a:gd name="T13" fmla="*/ 2147483646 h 634"/>
                <a:gd name="T14" fmla="*/ 2147483646 w 634"/>
                <a:gd name="T15" fmla="*/ 2147483646 h 634"/>
                <a:gd name="T16" fmla="*/ 2147483646 w 634"/>
                <a:gd name="T17" fmla="*/ 2147483646 h 634"/>
                <a:gd name="T18" fmla="*/ 2147483646 w 634"/>
                <a:gd name="T19" fmla="*/ 2147483646 h 634"/>
                <a:gd name="T20" fmla="*/ 2147483646 w 634"/>
                <a:gd name="T21" fmla="*/ 2147483646 h 634"/>
                <a:gd name="T22" fmla="*/ 2147483646 w 634"/>
                <a:gd name="T23" fmla="*/ 2147483646 h 634"/>
                <a:gd name="T24" fmla="*/ 2147483646 w 634"/>
                <a:gd name="T25" fmla="*/ 2147483646 h 634"/>
                <a:gd name="T26" fmla="*/ 2147483646 w 634"/>
                <a:gd name="T27" fmla="*/ 2147483646 h 634"/>
                <a:gd name="T28" fmla="*/ 2147483646 w 634"/>
                <a:gd name="T29" fmla="*/ 2147483646 h 634"/>
                <a:gd name="T30" fmla="*/ 2147483646 w 634"/>
                <a:gd name="T31" fmla="*/ 2147483646 h 634"/>
                <a:gd name="T32" fmla="*/ 2147483646 w 634"/>
                <a:gd name="T33" fmla="*/ 2147483646 h 634"/>
                <a:gd name="T34" fmla="*/ 2147483646 w 634"/>
                <a:gd name="T35" fmla="*/ 2147483646 h 634"/>
                <a:gd name="T36" fmla="*/ 2147483646 w 634"/>
                <a:gd name="T37" fmla="*/ 2147483646 h 634"/>
                <a:gd name="T38" fmla="*/ 2147483646 w 634"/>
                <a:gd name="T39" fmla="*/ 2147483646 h 634"/>
                <a:gd name="T40" fmla="*/ 2147483646 w 634"/>
                <a:gd name="T41" fmla="*/ 2147483646 h 634"/>
                <a:gd name="T42" fmla="*/ 2147483646 w 634"/>
                <a:gd name="T43" fmla="*/ 2147483646 h 634"/>
                <a:gd name="T44" fmla="*/ 2147483646 w 634"/>
                <a:gd name="T45" fmla="*/ 2147483646 h 634"/>
                <a:gd name="T46" fmla="*/ 2147483646 w 634"/>
                <a:gd name="T47" fmla="*/ 2147483646 h 634"/>
                <a:gd name="T48" fmla="*/ 0 w 634"/>
                <a:gd name="T49" fmla="*/ 0 h 634"/>
                <a:gd name="T50" fmla="*/ 0 w 634"/>
                <a:gd name="T51" fmla="*/ 0 h 634"/>
                <a:gd name="T52" fmla="*/ 0 w 634"/>
                <a:gd name="T53" fmla="*/ 2147483646 h 634"/>
                <a:gd name="T54" fmla="*/ 2147483646 w 634"/>
                <a:gd name="T55" fmla="*/ 2147483646 h 634"/>
                <a:gd name="T56" fmla="*/ 2147483646 w 634"/>
                <a:gd name="T57" fmla="*/ 2147483646 h 634"/>
                <a:gd name="T58" fmla="*/ 2147483646 w 634"/>
                <a:gd name="T59" fmla="*/ 2147483646 h 634"/>
                <a:gd name="T60" fmla="*/ 2147483646 w 634"/>
                <a:gd name="T61" fmla="*/ 2147483646 h 634"/>
                <a:gd name="T62" fmla="*/ 2147483646 w 634"/>
                <a:gd name="T63" fmla="*/ 2147483646 h 634"/>
                <a:gd name="T64" fmla="*/ 2147483646 w 634"/>
                <a:gd name="T65" fmla="*/ 2147483646 h 634"/>
                <a:gd name="T66" fmla="*/ 2147483646 w 634"/>
                <a:gd name="T67" fmla="*/ 2147483646 h 634"/>
                <a:gd name="T68" fmla="*/ 2147483646 w 634"/>
                <a:gd name="T69" fmla="*/ 2147483646 h 634"/>
                <a:gd name="T70" fmla="*/ 2147483646 w 634"/>
                <a:gd name="T71" fmla="*/ 2147483646 h 634"/>
                <a:gd name="T72" fmla="*/ 2147483646 w 634"/>
                <a:gd name="T73" fmla="*/ 2147483646 h 634"/>
                <a:gd name="T74" fmla="*/ 2147483646 w 634"/>
                <a:gd name="T75" fmla="*/ 2147483646 h 634"/>
                <a:gd name="T76" fmla="*/ 2147483646 w 634"/>
                <a:gd name="T77" fmla="*/ 2147483646 h 634"/>
                <a:gd name="T78" fmla="*/ 2147483646 w 634"/>
                <a:gd name="T79" fmla="*/ 2147483646 h 634"/>
                <a:gd name="T80" fmla="*/ 2147483646 w 634"/>
                <a:gd name="T81" fmla="*/ 2147483646 h 634"/>
                <a:gd name="T82" fmla="*/ 2147483646 w 634"/>
                <a:gd name="T83" fmla="*/ 2147483646 h 634"/>
                <a:gd name="T84" fmla="*/ 2147483646 w 634"/>
                <a:gd name="T85" fmla="*/ 0 h 634"/>
                <a:gd name="T86" fmla="*/ 0 w 634"/>
                <a:gd name="T87" fmla="*/ 0 h 634"/>
                <a:gd name="T88" fmla="*/ 2147483646 w 634"/>
                <a:gd name="T89" fmla="*/ 2147483646 h 634"/>
                <a:gd name="T90" fmla="*/ 2147483646 w 634"/>
                <a:gd name="T91" fmla="*/ 2147483646 h 634"/>
                <a:gd name="T92" fmla="*/ 2147483646 w 634"/>
                <a:gd name="T93" fmla="*/ 2147483646 h 634"/>
                <a:gd name="T94" fmla="*/ 2147483646 w 634"/>
                <a:gd name="T95" fmla="*/ 2147483646 h 634"/>
                <a:gd name="T96" fmla="*/ 2147483646 w 634"/>
                <a:gd name="T97" fmla="*/ 2147483646 h 634"/>
                <a:gd name="T98" fmla="*/ 2147483646 w 634"/>
                <a:gd name="T99" fmla="*/ 2147483646 h 634"/>
                <a:gd name="T100" fmla="*/ 2147483646 w 634"/>
                <a:gd name="T101" fmla="*/ 2147483646 h 634"/>
                <a:gd name="T102" fmla="*/ 2147483646 w 634"/>
                <a:gd name="T103" fmla="*/ 2147483646 h 6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34" h="634">
                  <a:moveTo>
                    <a:pt x="309" y="398"/>
                  </a:moveTo>
                  <a:lnTo>
                    <a:pt x="309" y="398"/>
                  </a:lnTo>
                  <a:cubicBezTo>
                    <a:pt x="324" y="398"/>
                    <a:pt x="338" y="383"/>
                    <a:pt x="338" y="368"/>
                  </a:cubicBezTo>
                  <a:cubicBezTo>
                    <a:pt x="338" y="132"/>
                    <a:pt x="338" y="132"/>
                    <a:pt x="338" y="132"/>
                  </a:cubicBezTo>
                  <a:cubicBezTo>
                    <a:pt x="338" y="132"/>
                    <a:pt x="324" y="118"/>
                    <a:pt x="309" y="118"/>
                  </a:cubicBezTo>
                  <a:lnTo>
                    <a:pt x="294" y="132"/>
                  </a:lnTo>
                  <a:cubicBezTo>
                    <a:pt x="294" y="368"/>
                    <a:pt x="294" y="368"/>
                    <a:pt x="294" y="368"/>
                  </a:cubicBezTo>
                  <a:cubicBezTo>
                    <a:pt x="294" y="383"/>
                    <a:pt x="309" y="398"/>
                    <a:pt x="309" y="398"/>
                  </a:cubicBezTo>
                  <a:close/>
                  <a:moveTo>
                    <a:pt x="426" y="398"/>
                  </a:moveTo>
                  <a:lnTo>
                    <a:pt x="426" y="398"/>
                  </a:lnTo>
                  <a:cubicBezTo>
                    <a:pt x="442" y="398"/>
                    <a:pt x="456" y="383"/>
                    <a:pt x="456" y="368"/>
                  </a:cubicBezTo>
                  <a:cubicBezTo>
                    <a:pt x="456" y="191"/>
                    <a:pt x="456" y="191"/>
                    <a:pt x="456" y="191"/>
                  </a:cubicBezTo>
                  <a:cubicBezTo>
                    <a:pt x="456" y="191"/>
                    <a:pt x="442" y="177"/>
                    <a:pt x="426" y="177"/>
                  </a:cubicBezTo>
                  <a:lnTo>
                    <a:pt x="412" y="191"/>
                  </a:lnTo>
                  <a:cubicBezTo>
                    <a:pt x="412" y="368"/>
                    <a:pt x="412" y="368"/>
                    <a:pt x="412" y="368"/>
                  </a:cubicBezTo>
                  <a:cubicBezTo>
                    <a:pt x="412" y="383"/>
                    <a:pt x="426" y="398"/>
                    <a:pt x="426" y="398"/>
                  </a:cubicBezTo>
                  <a:close/>
                  <a:moveTo>
                    <a:pt x="191" y="398"/>
                  </a:moveTo>
                  <a:lnTo>
                    <a:pt x="191" y="398"/>
                  </a:lnTo>
                  <a:cubicBezTo>
                    <a:pt x="206" y="398"/>
                    <a:pt x="221" y="383"/>
                    <a:pt x="221" y="368"/>
                  </a:cubicBezTo>
                  <a:cubicBezTo>
                    <a:pt x="221" y="294"/>
                    <a:pt x="221" y="294"/>
                    <a:pt x="221" y="294"/>
                  </a:cubicBezTo>
                  <a:cubicBezTo>
                    <a:pt x="221" y="280"/>
                    <a:pt x="206" y="280"/>
                    <a:pt x="191" y="280"/>
                  </a:cubicBezTo>
                  <a:cubicBezTo>
                    <a:pt x="191" y="280"/>
                    <a:pt x="176" y="280"/>
                    <a:pt x="176" y="294"/>
                  </a:cubicBezTo>
                  <a:cubicBezTo>
                    <a:pt x="176" y="368"/>
                    <a:pt x="176" y="368"/>
                    <a:pt x="176" y="368"/>
                  </a:cubicBezTo>
                  <a:cubicBezTo>
                    <a:pt x="176" y="383"/>
                    <a:pt x="191" y="398"/>
                    <a:pt x="191" y="398"/>
                  </a:cubicBezTo>
                  <a:close/>
                  <a:moveTo>
                    <a:pt x="0" y="0"/>
                  </a:moveTo>
                  <a:lnTo>
                    <a:pt x="0" y="0"/>
                  </a:lnTo>
                  <a:cubicBezTo>
                    <a:pt x="0" y="44"/>
                    <a:pt x="0" y="44"/>
                    <a:pt x="0" y="44"/>
                  </a:cubicBezTo>
                  <a:cubicBezTo>
                    <a:pt x="44" y="44"/>
                    <a:pt x="44" y="44"/>
                    <a:pt x="44" y="44"/>
                  </a:cubicBezTo>
                  <a:cubicBezTo>
                    <a:pt x="44" y="73"/>
                    <a:pt x="44" y="412"/>
                    <a:pt x="44" y="412"/>
                  </a:cubicBezTo>
                  <a:cubicBezTo>
                    <a:pt x="44" y="456"/>
                    <a:pt x="73" y="486"/>
                    <a:pt x="117" y="486"/>
                  </a:cubicBezTo>
                  <a:cubicBezTo>
                    <a:pt x="235" y="486"/>
                    <a:pt x="235" y="486"/>
                    <a:pt x="235" y="486"/>
                  </a:cubicBezTo>
                  <a:cubicBezTo>
                    <a:pt x="162" y="633"/>
                    <a:pt x="162" y="633"/>
                    <a:pt x="162" y="633"/>
                  </a:cubicBezTo>
                  <a:cubicBezTo>
                    <a:pt x="221" y="633"/>
                    <a:pt x="221" y="633"/>
                    <a:pt x="221" y="633"/>
                  </a:cubicBezTo>
                  <a:cubicBezTo>
                    <a:pt x="294" y="486"/>
                    <a:pt x="294" y="486"/>
                    <a:pt x="294" y="486"/>
                  </a:cubicBezTo>
                  <a:cubicBezTo>
                    <a:pt x="338" y="486"/>
                    <a:pt x="338" y="486"/>
                    <a:pt x="338" y="486"/>
                  </a:cubicBezTo>
                  <a:cubicBezTo>
                    <a:pt x="412" y="633"/>
                    <a:pt x="412" y="633"/>
                    <a:pt x="412" y="633"/>
                  </a:cubicBezTo>
                  <a:cubicBezTo>
                    <a:pt x="471" y="633"/>
                    <a:pt x="471" y="633"/>
                    <a:pt x="471" y="633"/>
                  </a:cubicBezTo>
                  <a:cubicBezTo>
                    <a:pt x="397" y="486"/>
                    <a:pt x="397" y="486"/>
                    <a:pt x="397" y="486"/>
                  </a:cubicBezTo>
                  <a:cubicBezTo>
                    <a:pt x="515" y="486"/>
                    <a:pt x="515" y="486"/>
                    <a:pt x="515" y="486"/>
                  </a:cubicBezTo>
                  <a:cubicBezTo>
                    <a:pt x="559" y="486"/>
                    <a:pt x="588" y="456"/>
                    <a:pt x="588" y="412"/>
                  </a:cubicBezTo>
                  <a:cubicBezTo>
                    <a:pt x="588" y="412"/>
                    <a:pt x="588" y="73"/>
                    <a:pt x="588" y="44"/>
                  </a:cubicBezTo>
                  <a:cubicBezTo>
                    <a:pt x="633" y="44"/>
                    <a:pt x="633" y="44"/>
                    <a:pt x="633" y="44"/>
                  </a:cubicBezTo>
                  <a:cubicBezTo>
                    <a:pt x="633" y="0"/>
                    <a:pt x="633" y="0"/>
                    <a:pt x="633" y="0"/>
                  </a:cubicBezTo>
                  <a:lnTo>
                    <a:pt x="0" y="0"/>
                  </a:lnTo>
                  <a:close/>
                  <a:moveTo>
                    <a:pt x="544" y="412"/>
                  </a:moveTo>
                  <a:lnTo>
                    <a:pt x="544" y="412"/>
                  </a:lnTo>
                  <a:cubicBezTo>
                    <a:pt x="544" y="442"/>
                    <a:pt x="530" y="456"/>
                    <a:pt x="515" y="456"/>
                  </a:cubicBezTo>
                  <a:cubicBezTo>
                    <a:pt x="117" y="456"/>
                    <a:pt x="117" y="456"/>
                    <a:pt x="117" y="456"/>
                  </a:cubicBezTo>
                  <a:cubicBezTo>
                    <a:pt x="88" y="456"/>
                    <a:pt x="73" y="442"/>
                    <a:pt x="73" y="412"/>
                  </a:cubicBezTo>
                  <a:cubicBezTo>
                    <a:pt x="73" y="412"/>
                    <a:pt x="73" y="59"/>
                    <a:pt x="73" y="44"/>
                  </a:cubicBezTo>
                  <a:cubicBezTo>
                    <a:pt x="544" y="44"/>
                    <a:pt x="544" y="44"/>
                    <a:pt x="544" y="44"/>
                  </a:cubicBezTo>
                  <a:cubicBezTo>
                    <a:pt x="544" y="73"/>
                    <a:pt x="544" y="412"/>
                    <a:pt x="544" y="412"/>
                  </a:cubicBezTo>
                  <a:close/>
                </a:path>
              </a:pathLst>
            </a:custGeom>
            <a:solidFill>
              <a:srgbClr val="84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sp>
        <p:nvSpPr>
          <p:cNvPr id="48" name="矩形 47"/>
          <p:cNvSpPr/>
          <p:nvPr/>
        </p:nvSpPr>
        <p:spPr>
          <a:xfrm>
            <a:off x="9307804" y="5491797"/>
            <a:ext cx="1415772" cy="338554"/>
          </a:xfrm>
          <a:prstGeom prst="rect">
            <a:avLst/>
          </a:prstGeom>
        </p:spPr>
        <p:txBody>
          <a:bodyPr wrap="none">
            <a:spAutoFit/>
          </a:bodyPr>
          <a:lstStyle/>
          <a:p>
            <a:pPr lvl="0" algn="ctr">
              <a:defRPr/>
            </a:pPr>
            <a:r>
              <a:rPr lang="zh-CN" altLang="en-US" sz="1600" b="1" kern="0" dirty="0">
                <a:solidFill>
                  <a:srgbClr val="84FFFF"/>
                </a:solidFill>
                <a:cs typeface="+mn-ea"/>
                <a:sym typeface="+mn-lt"/>
              </a:rPr>
              <a:t>填写段落标题</a:t>
            </a:r>
          </a:p>
        </p:txBody>
      </p:sp>
      <p:sp>
        <p:nvSpPr>
          <p:cNvPr id="49" name="矩形 48"/>
          <p:cNvSpPr/>
          <p:nvPr/>
        </p:nvSpPr>
        <p:spPr>
          <a:xfrm>
            <a:off x="8851487" y="5806775"/>
            <a:ext cx="2328407" cy="526811"/>
          </a:xfrm>
          <a:prstGeom prst="rect">
            <a:avLst/>
          </a:prstGeom>
        </p:spPr>
        <p:txBody>
          <a:bodyPr wrap="square">
            <a:spAutoFit/>
          </a:bodyPr>
          <a:lstStyle/>
          <a:p>
            <a:pPr lvl="0" algn="ctr">
              <a:lnSpc>
                <a:spcPct val="150000"/>
              </a:lnSpc>
              <a:defRPr/>
            </a:pPr>
            <a:r>
              <a:rPr lang="zh-CN" altLang="en-US" sz="1000" kern="0" dirty="0">
                <a:solidFill>
                  <a:schemeClr val="bg1"/>
                </a:solidFill>
                <a:cs typeface="+mn-ea"/>
                <a:sym typeface="+mn-lt"/>
              </a:rPr>
              <a:t>请替换文字内容，修改文字内容，也可以直接复制你的内容到此。</a:t>
            </a:r>
          </a:p>
        </p:txBody>
      </p:sp>
      <p:grpSp>
        <p:nvGrpSpPr>
          <p:cNvPr id="50" name="组合 49"/>
          <p:cNvGrpSpPr/>
          <p:nvPr/>
        </p:nvGrpSpPr>
        <p:grpSpPr>
          <a:xfrm>
            <a:off x="9471057" y="1588671"/>
            <a:ext cx="1089267" cy="1089267"/>
            <a:chOff x="9468499" y="1515640"/>
            <a:chExt cx="1089267" cy="1089267"/>
          </a:xfrm>
        </p:grpSpPr>
        <p:sp>
          <p:nvSpPr>
            <p:cNvPr id="51" name="椭圆 50"/>
            <p:cNvSpPr/>
            <p:nvPr/>
          </p:nvSpPr>
          <p:spPr>
            <a:xfrm>
              <a:off x="9468499" y="1515640"/>
              <a:ext cx="1089267" cy="1089267"/>
            </a:xfrm>
            <a:prstGeom prst="ellipse">
              <a:avLst/>
            </a:prstGeom>
            <a:noFill/>
            <a:ln w="28575">
              <a:solidFill>
                <a:srgbClr val="84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52" name="02"/>
            <p:cNvSpPr>
              <a:spLocks noChangeAspect="1"/>
            </p:cNvSpPr>
            <p:nvPr/>
          </p:nvSpPr>
          <p:spPr bwMode="auto">
            <a:xfrm>
              <a:off x="9759308" y="1774377"/>
              <a:ext cx="507650" cy="571794"/>
            </a:xfrm>
            <a:custGeom>
              <a:avLst/>
              <a:gdLst>
                <a:gd name="T0" fmla="*/ 2147483646 w 545"/>
                <a:gd name="T1" fmla="*/ 2147483646 h 619"/>
                <a:gd name="T2" fmla="*/ 2147483646 w 545"/>
                <a:gd name="T3" fmla="*/ 2147483646 h 619"/>
                <a:gd name="T4" fmla="*/ 2147483646 w 545"/>
                <a:gd name="T5" fmla="*/ 2147483646 h 619"/>
                <a:gd name="T6" fmla="*/ 2147483646 w 545"/>
                <a:gd name="T7" fmla="*/ 2147483646 h 619"/>
                <a:gd name="T8" fmla="*/ 2147483646 w 545"/>
                <a:gd name="T9" fmla="*/ 2147483646 h 619"/>
                <a:gd name="T10" fmla="*/ 2147483646 w 545"/>
                <a:gd name="T11" fmla="*/ 2147483646 h 619"/>
                <a:gd name="T12" fmla="*/ 2147483646 w 545"/>
                <a:gd name="T13" fmla="*/ 2147483646 h 619"/>
                <a:gd name="T14" fmla="*/ 2147483646 w 545"/>
                <a:gd name="T15" fmla="*/ 2147483646 h 619"/>
                <a:gd name="T16" fmla="*/ 2147483646 w 545"/>
                <a:gd name="T17" fmla="*/ 2147483646 h 619"/>
                <a:gd name="T18" fmla="*/ 2147483646 w 545"/>
                <a:gd name="T19" fmla="*/ 2147483646 h 619"/>
                <a:gd name="T20" fmla="*/ 2147483646 w 545"/>
                <a:gd name="T21" fmla="*/ 0 h 619"/>
                <a:gd name="T22" fmla="*/ 2147483646 w 545"/>
                <a:gd name="T23" fmla="*/ 2147483646 h 619"/>
                <a:gd name="T24" fmla="*/ 2147483646 w 545"/>
                <a:gd name="T25" fmla="*/ 2147483646 h 619"/>
                <a:gd name="T26" fmla="*/ 0 w 545"/>
                <a:gd name="T27" fmla="*/ 2147483646 h 619"/>
                <a:gd name="T28" fmla="*/ 2147483646 w 545"/>
                <a:gd name="T29" fmla="*/ 2147483646 h 619"/>
                <a:gd name="T30" fmla="*/ 2147483646 w 545"/>
                <a:gd name="T31" fmla="*/ 2147483646 h 619"/>
                <a:gd name="T32" fmla="*/ 2147483646 w 545"/>
                <a:gd name="T33" fmla="*/ 2147483646 h 619"/>
                <a:gd name="T34" fmla="*/ 2147483646 w 545"/>
                <a:gd name="T35" fmla="*/ 2147483646 h 619"/>
                <a:gd name="T36" fmla="*/ 2147483646 w 545"/>
                <a:gd name="T37" fmla="*/ 2147483646 h 619"/>
                <a:gd name="T38" fmla="*/ 2147483646 w 545"/>
                <a:gd name="T39" fmla="*/ 2147483646 h 619"/>
                <a:gd name="T40" fmla="*/ 2147483646 w 545"/>
                <a:gd name="T41" fmla="*/ 2147483646 h 619"/>
                <a:gd name="T42" fmla="*/ 2147483646 w 545"/>
                <a:gd name="T43" fmla="*/ 2147483646 h 619"/>
                <a:gd name="T44" fmla="*/ 2147483646 w 545"/>
                <a:gd name="T45" fmla="*/ 2147483646 h 619"/>
                <a:gd name="T46" fmla="*/ 2147483646 w 545"/>
                <a:gd name="T47" fmla="*/ 2147483646 h 619"/>
                <a:gd name="T48" fmla="*/ 2147483646 w 545"/>
                <a:gd name="T49" fmla="*/ 2147483646 h 619"/>
                <a:gd name="T50" fmla="*/ 2147483646 w 545"/>
                <a:gd name="T51" fmla="*/ 2147483646 h 619"/>
                <a:gd name="T52" fmla="*/ 2147483646 w 545"/>
                <a:gd name="T53" fmla="*/ 2147483646 h 619"/>
                <a:gd name="T54" fmla="*/ 2147483646 w 545"/>
                <a:gd name="T55" fmla="*/ 2147483646 h 619"/>
                <a:gd name="T56" fmla="*/ 2147483646 w 545"/>
                <a:gd name="T57" fmla="*/ 2147483646 h 619"/>
                <a:gd name="T58" fmla="*/ 2147483646 w 545"/>
                <a:gd name="T59" fmla="*/ 2147483646 h 619"/>
                <a:gd name="T60" fmla="*/ 2147483646 w 545"/>
                <a:gd name="T61" fmla="*/ 2147483646 h 619"/>
                <a:gd name="T62" fmla="*/ 2147483646 w 545"/>
                <a:gd name="T63" fmla="*/ 2147483646 h 61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45" h="619">
                  <a:moveTo>
                    <a:pt x="412" y="368"/>
                  </a:moveTo>
                  <a:lnTo>
                    <a:pt x="412" y="368"/>
                  </a:lnTo>
                  <a:cubicBezTo>
                    <a:pt x="132" y="368"/>
                    <a:pt x="132" y="368"/>
                    <a:pt x="132" y="368"/>
                  </a:cubicBezTo>
                  <a:cubicBezTo>
                    <a:pt x="118" y="368"/>
                    <a:pt x="118" y="383"/>
                    <a:pt x="118" y="383"/>
                  </a:cubicBezTo>
                  <a:cubicBezTo>
                    <a:pt x="118" y="398"/>
                    <a:pt x="118" y="412"/>
                    <a:pt x="132" y="412"/>
                  </a:cubicBezTo>
                  <a:cubicBezTo>
                    <a:pt x="412" y="412"/>
                    <a:pt x="412" y="412"/>
                    <a:pt x="412" y="412"/>
                  </a:cubicBezTo>
                  <a:cubicBezTo>
                    <a:pt x="412" y="412"/>
                    <a:pt x="427" y="398"/>
                    <a:pt x="427" y="383"/>
                  </a:cubicBezTo>
                  <a:lnTo>
                    <a:pt x="412" y="368"/>
                  </a:lnTo>
                  <a:close/>
                  <a:moveTo>
                    <a:pt x="412" y="471"/>
                  </a:moveTo>
                  <a:lnTo>
                    <a:pt x="412" y="471"/>
                  </a:lnTo>
                  <a:cubicBezTo>
                    <a:pt x="132" y="471"/>
                    <a:pt x="132" y="471"/>
                    <a:pt x="132" y="471"/>
                  </a:cubicBezTo>
                  <a:cubicBezTo>
                    <a:pt x="118" y="471"/>
                    <a:pt x="118" y="471"/>
                    <a:pt x="118" y="486"/>
                  </a:cubicBezTo>
                  <a:cubicBezTo>
                    <a:pt x="118" y="501"/>
                    <a:pt x="118" y="501"/>
                    <a:pt x="132" y="501"/>
                  </a:cubicBezTo>
                  <a:cubicBezTo>
                    <a:pt x="412" y="501"/>
                    <a:pt x="412" y="501"/>
                    <a:pt x="412" y="501"/>
                  </a:cubicBezTo>
                  <a:cubicBezTo>
                    <a:pt x="412" y="501"/>
                    <a:pt x="427" y="501"/>
                    <a:pt x="427" y="486"/>
                  </a:cubicBezTo>
                  <a:cubicBezTo>
                    <a:pt x="427" y="471"/>
                    <a:pt x="412" y="471"/>
                    <a:pt x="412" y="471"/>
                  </a:cubicBezTo>
                  <a:close/>
                  <a:moveTo>
                    <a:pt x="471" y="74"/>
                  </a:moveTo>
                  <a:lnTo>
                    <a:pt x="471" y="74"/>
                  </a:lnTo>
                  <a:cubicBezTo>
                    <a:pt x="412" y="74"/>
                    <a:pt x="412" y="74"/>
                    <a:pt x="412" y="74"/>
                  </a:cubicBezTo>
                  <a:cubicBezTo>
                    <a:pt x="412" y="29"/>
                    <a:pt x="412" y="29"/>
                    <a:pt x="412" y="29"/>
                  </a:cubicBezTo>
                  <a:cubicBezTo>
                    <a:pt x="353" y="29"/>
                    <a:pt x="353" y="29"/>
                    <a:pt x="353" y="29"/>
                  </a:cubicBezTo>
                  <a:cubicBezTo>
                    <a:pt x="339" y="15"/>
                    <a:pt x="309" y="0"/>
                    <a:pt x="265" y="0"/>
                  </a:cubicBezTo>
                  <a:cubicBezTo>
                    <a:pt x="235" y="0"/>
                    <a:pt x="206" y="15"/>
                    <a:pt x="191" y="29"/>
                  </a:cubicBezTo>
                  <a:cubicBezTo>
                    <a:pt x="132" y="29"/>
                    <a:pt x="132" y="29"/>
                    <a:pt x="132" y="29"/>
                  </a:cubicBezTo>
                  <a:cubicBezTo>
                    <a:pt x="132" y="74"/>
                    <a:pt x="132" y="74"/>
                    <a:pt x="132" y="74"/>
                  </a:cubicBezTo>
                  <a:cubicBezTo>
                    <a:pt x="73" y="74"/>
                    <a:pt x="73" y="74"/>
                    <a:pt x="73" y="74"/>
                  </a:cubicBezTo>
                  <a:cubicBezTo>
                    <a:pt x="29" y="74"/>
                    <a:pt x="0" y="103"/>
                    <a:pt x="0" y="147"/>
                  </a:cubicBezTo>
                  <a:cubicBezTo>
                    <a:pt x="0" y="545"/>
                    <a:pt x="0" y="545"/>
                    <a:pt x="0" y="545"/>
                  </a:cubicBezTo>
                  <a:cubicBezTo>
                    <a:pt x="0" y="589"/>
                    <a:pt x="29" y="618"/>
                    <a:pt x="73" y="618"/>
                  </a:cubicBezTo>
                  <a:cubicBezTo>
                    <a:pt x="471" y="618"/>
                    <a:pt x="471" y="618"/>
                    <a:pt x="471" y="618"/>
                  </a:cubicBezTo>
                  <a:cubicBezTo>
                    <a:pt x="515" y="618"/>
                    <a:pt x="544" y="589"/>
                    <a:pt x="544" y="545"/>
                  </a:cubicBezTo>
                  <a:cubicBezTo>
                    <a:pt x="544" y="147"/>
                    <a:pt x="544" y="147"/>
                    <a:pt x="544" y="147"/>
                  </a:cubicBezTo>
                  <a:cubicBezTo>
                    <a:pt x="544" y="103"/>
                    <a:pt x="515" y="74"/>
                    <a:pt x="471" y="74"/>
                  </a:cubicBezTo>
                  <a:close/>
                  <a:moveTo>
                    <a:pt x="177" y="74"/>
                  </a:moveTo>
                  <a:lnTo>
                    <a:pt x="177" y="74"/>
                  </a:lnTo>
                  <a:cubicBezTo>
                    <a:pt x="221" y="74"/>
                    <a:pt x="221" y="74"/>
                    <a:pt x="221" y="74"/>
                  </a:cubicBezTo>
                  <a:cubicBezTo>
                    <a:pt x="221" y="59"/>
                    <a:pt x="235" y="29"/>
                    <a:pt x="265" y="29"/>
                  </a:cubicBezTo>
                  <a:cubicBezTo>
                    <a:pt x="294" y="29"/>
                    <a:pt x="324" y="59"/>
                    <a:pt x="324" y="74"/>
                  </a:cubicBezTo>
                  <a:cubicBezTo>
                    <a:pt x="368" y="74"/>
                    <a:pt x="368" y="74"/>
                    <a:pt x="368" y="74"/>
                  </a:cubicBezTo>
                  <a:cubicBezTo>
                    <a:pt x="368" y="147"/>
                    <a:pt x="368" y="147"/>
                    <a:pt x="368" y="147"/>
                  </a:cubicBezTo>
                  <a:cubicBezTo>
                    <a:pt x="177" y="147"/>
                    <a:pt x="177" y="147"/>
                    <a:pt x="177" y="147"/>
                  </a:cubicBezTo>
                  <a:lnTo>
                    <a:pt x="177" y="74"/>
                  </a:lnTo>
                  <a:close/>
                  <a:moveTo>
                    <a:pt x="500" y="545"/>
                  </a:moveTo>
                  <a:lnTo>
                    <a:pt x="500" y="545"/>
                  </a:lnTo>
                  <a:cubicBezTo>
                    <a:pt x="500" y="559"/>
                    <a:pt x="486" y="589"/>
                    <a:pt x="471" y="589"/>
                  </a:cubicBezTo>
                  <a:cubicBezTo>
                    <a:pt x="73" y="589"/>
                    <a:pt x="73" y="589"/>
                    <a:pt x="73" y="589"/>
                  </a:cubicBezTo>
                  <a:cubicBezTo>
                    <a:pt x="59" y="589"/>
                    <a:pt x="29" y="559"/>
                    <a:pt x="29" y="545"/>
                  </a:cubicBezTo>
                  <a:cubicBezTo>
                    <a:pt x="29" y="147"/>
                    <a:pt x="29" y="147"/>
                    <a:pt x="29" y="147"/>
                  </a:cubicBezTo>
                  <a:cubicBezTo>
                    <a:pt x="29" y="133"/>
                    <a:pt x="59" y="118"/>
                    <a:pt x="73" y="118"/>
                  </a:cubicBezTo>
                  <a:cubicBezTo>
                    <a:pt x="132" y="118"/>
                    <a:pt x="132" y="118"/>
                    <a:pt x="132" y="118"/>
                  </a:cubicBezTo>
                  <a:cubicBezTo>
                    <a:pt x="132" y="192"/>
                    <a:pt x="132" y="192"/>
                    <a:pt x="132" y="192"/>
                  </a:cubicBezTo>
                  <a:cubicBezTo>
                    <a:pt x="412" y="192"/>
                    <a:pt x="412" y="192"/>
                    <a:pt x="412" y="192"/>
                  </a:cubicBezTo>
                  <a:cubicBezTo>
                    <a:pt x="412" y="118"/>
                    <a:pt x="412" y="118"/>
                    <a:pt x="412" y="118"/>
                  </a:cubicBezTo>
                  <a:cubicBezTo>
                    <a:pt x="471" y="118"/>
                    <a:pt x="471" y="118"/>
                    <a:pt x="471" y="118"/>
                  </a:cubicBezTo>
                  <a:cubicBezTo>
                    <a:pt x="486" y="118"/>
                    <a:pt x="500" y="133"/>
                    <a:pt x="500" y="147"/>
                  </a:cubicBezTo>
                  <a:lnTo>
                    <a:pt x="500" y="545"/>
                  </a:lnTo>
                  <a:close/>
                  <a:moveTo>
                    <a:pt x="412" y="265"/>
                  </a:moveTo>
                  <a:lnTo>
                    <a:pt x="412" y="265"/>
                  </a:lnTo>
                  <a:cubicBezTo>
                    <a:pt x="132" y="265"/>
                    <a:pt x="132" y="265"/>
                    <a:pt x="132" y="265"/>
                  </a:cubicBezTo>
                  <a:cubicBezTo>
                    <a:pt x="118" y="265"/>
                    <a:pt x="118" y="280"/>
                    <a:pt x="118" y="295"/>
                  </a:cubicBezTo>
                  <a:cubicBezTo>
                    <a:pt x="118" y="295"/>
                    <a:pt x="118" y="309"/>
                    <a:pt x="132" y="309"/>
                  </a:cubicBezTo>
                  <a:cubicBezTo>
                    <a:pt x="412" y="309"/>
                    <a:pt x="412" y="309"/>
                    <a:pt x="412" y="309"/>
                  </a:cubicBezTo>
                  <a:lnTo>
                    <a:pt x="427" y="295"/>
                  </a:lnTo>
                  <a:cubicBezTo>
                    <a:pt x="427" y="280"/>
                    <a:pt x="412" y="265"/>
                    <a:pt x="412" y="265"/>
                  </a:cubicBezTo>
                  <a:close/>
                </a:path>
              </a:pathLst>
            </a:custGeom>
            <a:solidFill>
              <a:srgbClr val="84FF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sp>
        <p:nvSpPr>
          <p:cNvPr id="53" name="矩形 52"/>
          <p:cNvSpPr/>
          <p:nvPr/>
        </p:nvSpPr>
        <p:spPr>
          <a:xfrm>
            <a:off x="9307804" y="2787884"/>
            <a:ext cx="1415772" cy="338554"/>
          </a:xfrm>
          <a:prstGeom prst="rect">
            <a:avLst/>
          </a:prstGeom>
        </p:spPr>
        <p:txBody>
          <a:bodyPr wrap="none">
            <a:spAutoFit/>
          </a:bodyPr>
          <a:lstStyle/>
          <a:p>
            <a:pPr lvl="0" algn="ctr">
              <a:defRPr/>
            </a:pPr>
            <a:r>
              <a:rPr lang="zh-CN" altLang="en-US" sz="1600" b="1" kern="0" dirty="0">
                <a:solidFill>
                  <a:srgbClr val="84FFFF"/>
                </a:solidFill>
                <a:cs typeface="+mn-ea"/>
                <a:sym typeface="+mn-lt"/>
              </a:rPr>
              <a:t>填写段落标题</a:t>
            </a:r>
          </a:p>
        </p:txBody>
      </p:sp>
      <p:sp>
        <p:nvSpPr>
          <p:cNvPr id="54" name="矩形 53"/>
          <p:cNvSpPr/>
          <p:nvPr/>
        </p:nvSpPr>
        <p:spPr>
          <a:xfrm>
            <a:off x="8851487" y="3102862"/>
            <a:ext cx="2328407" cy="526811"/>
          </a:xfrm>
          <a:prstGeom prst="rect">
            <a:avLst/>
          </a:prstGeom>
        </p:spPr>
        <p:txBody>
          <a:bodyPr wrap="square">
            <a:spAutoFit/>
          </a:bodyPr>
          <a:lstStyle/>
          <a:p>
            <a:pPr lvl="0" algn="ctr">
              <a:lnSpc>
                <a:spcPct val="150000"/>
              </a:lnSpc>
              <a:defRPr/>
            </a:pPr>
            <a:r>
              <a:rPr lang="zh-CN" altLang="en-US" sz="1000" kern="0" dirty="0">
                <a:solidFill>
                  <a:schemeClr val="bg1"/>
                </a:solidFill>
                <a:cs typeface="+mn-ea"/>
                <a:sym typeface="+mn-lt"/>
              </a:rPr>
              <a:t>请替换文字内容，修改文字内容，也可以直接复制你的内容到此。</a:t>
            </a:r>
          </a:p>
        </p:txBody>
      </p:sp>
      <p:sp>
        <p:nvSpPr>
          <p:cNvPr id="32" name="TextBox 31"/>
          <p:cNvSpPr txBox="1"/>
          <p:nvPr/>
        </p:nvSpPr>
        <p:spPr>
          <a:xfrm>
            <a:off x="10560324" y="6652243"/>
            <a:ext cx="1440159" cy="121920"/>
          </a:xfrm>
          <a:prstGeom prst="rect">
            <a:avLst/>
          </a:prstGeom>
          <a:noFill/>
        </p:spPr>
        <p:txBody>
          <a:bodyPr wrap="square" rtlCol="0">
            <a:spAutoFit/>
          </a:bodyPr>
          <a:lstStyle/>
          <a:p>
            <a:pPr marL="0" marR="0" lvl="0" indent="0" defTabSz="914400" eaLnBrk="1" fontAlgn="auto" latinLnBrk="0" hangingPunct="1">
              <a:lnSpc>
                <a:spcPct val="200000"/>
              </a:lnSpc>
              <a:spcBef>
                <a:spcPts val="0"/>
              </a:spcBef>
              <a:spcAft>
                <a:spcPts val="0"/>
              </a:spcAft>
              <a:buClrTx/>
              <a:buSzTx/>
              <a:buFontTx/>
              <a:buNone/>
              <a:defRPr/>
            </a:pPr>
            <a:r>
              <a:rPr kumimoji="0" lang="zh-CN" altLang="en-US" sz="100" b="0" i="0" u="none" strike="noStrike" kern="0" cap="none" spc="0" normalizeH="0" baseline="0" noProof="0" smtClean="0">
                <a:ln>
                  <a:noFill/>
                </a:ln>
                <a:solidFill>
                  <a:prstClr val="black"/>
                </a:solidFill>
                <a:effectLst/>
                <a:uLnTx/>
                <a:uFillTx/>
              </a:rPr>
              <a:t>行业</a:t>
            </a:r>
            <a:r>
              <a:rPr kumimoji="0" lang="en-US" altLang="zh-CN" sz="100" b="0" i="0" u="none" strike="noStrike" kern="0" cap="none" spc="0" normalizeH="0" baseline="0" noProof="0" smtClean="0">
                <a:ln>
                  <a:noFill/>
                </a:ln>
                <a:solidFill>
                  <a:prstClr val="black"/>
                </a:solidFill>
                <a:effectLst/>
                <a:uLnTx/>
                <a:uFillTx/>
              </a:rPr>
              <a:t>PPT</a:t>
            </a:r>
            <a:r>
              <a:rPr kumimoji="0" lang="zh-CN" altLang="en-US" sz="100" b="0" i="0" u="none" strike="noStrike" kern="0" cap="none" spc="0" normalizeH="0" baseline="0" noProof="0" smtClean="0">
                <a:ln>
                  <a:noFill/>
                </a:ln>
                <a:solidFill>
                  <a:prstClr val="black"/>
                </a:solidFill>
                <a:effectLst/>
                <a:uLnTx/>
                <a:uFillTx/>
              </a:rPr>
              <a:t>模板</a:t>
            </a:r>
            <a:r>
              <a:rPr kumimoji="0" lang="en-US" altLang="zh-CN" sz="100" b="0" i="0" u="none" strike="noStrike" kern="0" cap="none" spc="0" normalizeH="0" baseline="0" noProof="0" smtClean="0">
                <a:ln>
                  <a:noFill/>
                </a:ln>
                <a:solidFill>
                  <a:prstClr val="black"/>
                </a:solidFill>
                <a:effectLst/>
                <a:uLnTx/>
                <a:uFillTx/>
              </a:rPr>
              <a:t>http:// www.PPT818.com/hangye/</a:t>
            </a:r>
            <a:endParaRPr kumimoji="0" lang="en-US" altLang="zh-CN" sz="100" b="0" i="0" u="none" strike="noStrike" kern="0" cap="none" spc="0" normalizeH="0" baseline="0" noProof="0" dirty="0" smtClean="0">
              <a:ln>
                <a:noFill/>
              </a:ln>
              <a:solidFill>
                <a:prstClr val="black"/>
              </a:solidFill>
              <a:effectLst/>
              <a:uLnTx/>
              <a:uFillTx/>
            </a:endParaRPr>
          </a:p>
        </p:txBody>
      </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4" decel="100000" fill="hold" nodeType="withEffect">
                                  <p:stCondLst>
                                    <p:cond delay="100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1500" fill="hold"/>
                                        <p:tgtEl>
                                          <p:spTgt spid="4"/>
                                        </p:tgtEl>
                                        <p:attrNameLst>
                                          <p:attrName>ppt_x</p:attrName>
                                        </p:attrNameLst>
                                      </p:cBhvr>
                                      <p:tavLst>
                                        <p:tav tm="0">
                                          <p:val>
                                            <p:strVal val="#ppt_x"/>
                                          </p:val>
                                        </p:tav>
                                        <p:tav tm="100000">
                                          <p:val>
                                            <p:strVal val="#ppt_x"/>
                                          </p:val>
                                        </p:tav>
                                      </p:tavLst>
                                    </p:anim>
                                    <p:anim calcmode="lin" valueType="num">
                                      <p:cBhvr additive="base">
                                        <p:cTn id="19" dur="1500" fill="hold"/>
                                        <p:tgtEl>
                                          <p:spTgt spid="4"/>
                                        </p:tgtEl>
                                        <p:attrNameLst>
                                          <p:attrName>ppt_y</p:attrName>
                                        </p:attrNameLst>
                                      </p:cBhvr>
                                      <p:tavLst>
                                        <p:tav tm="0">
                                          <p:val>
                                            <p:strVal val="1+#ppt_h/2"/>
                                          </p:val>
                                        </p:tav>
                                        <p:tav tm="100000">
                                          <p:val>
                                            <p:strVal val="#ppt_y"/>
                                          </p:val>
                                        </p:tav>
                                      </p:tavLst>
                                    </p:anim>
                                  </p:childTnLst>
                                </p:cTn>
                              </p:par>
                            </p:childTnLst>
                          </p:cTn>
                        </p:par>
                        <p:par>
                          <p:cTn id="20" fill="hold">
                            <p:stCondLst>
                              <p:cond delay="0"/>
                            </p:stCondLst>
                            <p:childTnLst>
                              <p:par>
                                <p:cTn id="21" presetID="55" presetClass="entr" presetSubtype="0" fill="hold" nodeType="afterEffect">
                                  <p:stCondLst>
                                    <p:cond delay="0"/>
                                  </p:stCondLst>
                                  <p:childTnLst>
                                    <p:set>
                                      <p:cBhvr>
                                        <p:cTn id="22" dur="1" fill="hold">
                                          <p:stCondLst>
                                            <p:cond delay="0"/>
                                          </p:stCondLst>
                                        </p:cTn>
                                        <p:tgtEl>
                                          <p:spTgt spid="35"/>
                                        </p:tgtEl>
                                        <p:attrNameLst>
                                          <p:attrName>style.visibility</p:attrName>
                                        </p:attrNameLst>
                                      </p:cBhvr>
                                      <p:to>
                                        <p:strVal val="visible"/>
                                      </p:to>
                                    </p:set>
                                    <p:anim calcmode="lin" valueType="num">
                                      <p:cBhvr>
                                        <p:cTn id="23" dur="1000" fill="hold"/>
                                        <p:tgtEl>
                                          <p:spTgt spid="35"/>
                                        </p:tgtEl>
                                        <p:attrNameLst>
                                          <p:attrName>ppt_w</p:attrName>
                                        </p:attrNameLst>
                                      </p:cBhvr>
                                      <p:tavLst>
                                        <p:tav tm="0">
                                          <p:val>
                                            <p:strVal val="#ppt_w*0.70"/>
                                          </p:val>
                                        </p:tav>
                                        <p:tav tm="100000">
                                          <p:val>
                                            <p:strVal val="#ppt_w"/>
                                          </p:val>
                                        </p:tav>
                                      </p:tavLst>
                                    </p:anim>
                                    <p:anim calcmode="lin" valueType="num">
                                      <p:cBhvr>
                                        <p:cTn id="24" dur="1000" fill="hold"/>
                                        <p:tgtEl>
                                          <p:spTgt spid="35"/>
                                        </p:tgtEl>
                                        <p:attrNameLst>
                                          <p:attrName>ppt_h</p:attrName>
                                        </p:attrNameLst>
                                      </p:cBhvr>
                                      <p:tavLst>
                                        <p:tav tm="0">
                                          <p:val>
                                            <p:strVal val="#ppt_h"/>
                                          </p:val>
                                        </p:tav>
                                        <p:tav tm="100000">
                                          <p:val>
                                            <p:strVal val="#ppt_h"/>
                                          </p:val>
                                        </p:tav>
                                      </p:tavLst>
                                    </p:anim>
                                    <p:animEffect transition="in" filter="fade">
                                      <p:cBhvr>
                                        <p:cTn id="25" dur="1000"/>
                                        <p:tgtEl>
                                          <p:spTgt spid="35"/>
                                        </p:tgtEl>
                                      </p:cBhvr>
                                    </p:animEffect>
                                  </p:childTnLst>
                                </p:cTn>
                              </p:par>
                            </p:childTnLst>
                          </p:cTn>
                        </p:par>
                        <p:par>
                          <p:cTn id="26" fill="hold">
                            <p:stCondLst>
                              <p:cond delay="1000"/>
                            </p:stCondLst>
                            <p:childTnLst>
                              <p:par>
                                <p:cTn id="27" presetID="23" presetClass="entr" presetSubtype="288" decel="100000" fill="hold" grpId="0" nodeType="afterEffect">
                                  <p:stCondLst>
                                    <p:cond delay="0"/>
                                  </p:stCondLst>
                                  <p:iterate type="lt">
                                    <p:tmPct val="15000"/>
                                  </p:iterate>
                                  <p:childTnLst>
                                    <p:set>
                                      <p:cBhvr>
                                        <p:cTn id="28" dur="1" fill="hold">
                                          <p:stCondLst>
                                            <p:cond delay="0"/>
                                          </p:stCondLst>
                                        </p:cTn>
                                        <p:tgtEl>
                                          <p:spTgt spid="38"/>
                                        </p:tgtEl>
                                        <p:attrNameLst>
                                          <p:attrName>style.visibility</p:attrName>
                                        </p:attrNameLst>
                                      </p:cBhvr>
                                      <p:to>
                                        <p:strVal val="visible"/>
                                      </p:to>
                                    </p:set>
                                    <p:anim calcmode="lin" valueType="num">
                                      <p:cBhvr>
                                        <p:cTn id="29" dur="500" fill="hold"/>
                                        <p:tgtEl>
                                          <p:spTgt spid="38"/>
                                        </p:tgtEl>
                                        <p:attrNameLst>
                                          <p:attrName>ppt_w</p:attrName>
                                        </p:attrNameLst>
                                      </p:cBhvr>
                                      <p:tavLst>
                                        <p:tav tm="0">
                                          <p:val>
                                            <p:strVal val="8/3*#ppt_w"/>
                                          </p:val>
                                        </p:tav>
                                        <p:tav tm="100000">
                                          <p:val>
                                            <p:strVal val="#ppt_w"/>
                                          </p:val>
                                        </p:tav>
                                      </p:tavLst>
                                    </p:anim>
                                    <p:anim calcmode="lin" valueType="num">
                                      <p:cBhvr>
                                        <p:cTn id="30" dur="500" fill="hold"/>
                                        <p:tgtEl>
                                          <p:spTgt spid="38"/>
                                        </p:tgtEl>
                                        <p:attrNameLst>
                                          <p:attrName>ppt_h</p:attrName>
                                        </p:attrNameLst>
                                      </p:cBhvr>
                                      <p:tavLst>
                                        <p:tav tm="0">
                                          <p:val>
                                            <p:strVal val="12/3*#ppt_h"/>
                                          </p:val>
                                        </p:tav>
                                        <p:tav tm="100000">
                                          <p:val>
                                            <p:strVal val="#ppt_h"/>
                                          </p:val>
                                        </p:tav>
                                      </p:tavLst>
                                    </p:anim>
                                  </p:childTnLst>
                                </p:cTn>
                              </p:par>
                              <p:par>
                                <p:cTn id="31" presetID="10" presetClass="entr" presetSubtype="0" fill="hold" grpId="1" nodeType="withEffect">
                                  <p:stCondLst>
                                    <p:cond delay="0"/>
                                  </p:stCondLst>
                                  <p:iterate type="lt">
                                    <p:tmPct val="15000"/>
                                  </p:iterate>
                                  <p:childTnLst>
                                    <p:set>
                                      <p:cBhvr>
                                        <p:cTn id="32" dur="1" fill="hold">
                                          <p:stCondLst>
                                            <p:cond delay="0"/>
                                          </p:stCondLst>
                                        </p:cTn>
                                        <p:tgtEl>
                                          <p:spTgt spid="38"/>
                                        </p:tgtEl>
                                        <p:attrNameLst>
                                          <p:attrName>style.visibility</p:attrName>
                                        </p:attrNameLst>
                                      </p:cBhvr>
                                      <p:to>
                                        <p:strVal val="visible"/>
                                      </p:to>
                                    </p:set>
                                    <p:animEffect transition="in" filter="fade">
                                      <p:cBhvr>
                                        <p:cTn id="33" dur="500"/>
                                        <p:tgtEl>
                                          <p:spTgt spid="38"/>
                                        </p:tgtEl>
                                      </p:cBhvr>
                                    </p:animEffect>
                                  </p:childTnLst>
                                </p:cTn>
                              </p:par>
                              <p:par>
                                <p:cTn id="34" presetID="22" presetClass="entr" presetSubtype="1" fill="hold" grpId="0" nodeType="withEffect">
                                  <p:stCondLst>
                                    <p:cond delay="0"/>
                                  </p:stCondLst>
                                  <p:iterate type="lt">
                                    <p:tmPct val="3000"/>
                                  </p:iterate>
                                  <p:childTnLst>
                                    <p:set>
                                      <p:cBhvr>
                                        <p:cTn id="35" dur="1" fill="hold">
                                          <p:stCondLst>
                                            <p:cond delay="0"/>
                                          </p:stCondLst>
                                        </p:cTn>
                                        <p:tgtEl>
                                          <p:spTgt spid="39"/>
                                        </p:tgtEl>
                                        <p:attrNameLst>
                                          <p:attrName>style.visibility</p:attrName>
                                        </p:attrNameLst>
                                      </p:cBhvr>
                                      <p:to>
                                        <p:strVal val="visible"/>
                                      </p:to>
                                    </p:set>
                                    <p:animEffect transition="in" filter="wipe(up)">
                                      <p:cBhvr>
                                        <p:cTn id="36" dur="500"/>
                                        <p:tgtEl>
                                          <p:spTgt spid="39"/>
                                        </p:tgtEl>
                                      </p:cBhvr>
                                    </p:animEffect>
                                  </p:childTnLst>
                                </p:cTn>
                              </p:par>
                            </p:childTnLst>
                          </p:cTn>
                        </p:par>
                        <p:par>
                          <p:cTn id="37" fill="hold">
                            <p:stCondLst>
                              <p:cond delay="1920"/>
                            </p:stCondLst>
                            <p:childTnLst>
                              <p:par>
                                <p:cTn id="38" presetID="55" presetClass="entr" presetSubtype="0" fill="hold" nodeType="afterEffect">
                                  <p:stCondLst>
                                    <p:cond delay="0"/>
                                  </p:stCondLst>
                                  <p:childTnLst>
                                    <p:set>
                                      <p:cBhvr>
                                        <p:cTn id="39" dur="1" fill="hold">
                                          <p:stCondLst>
                                            <p:cond delay="0"/>
                                          </p:stCondLst>
                                        </p:cTn>
                                        <p:tgtEl>
                                          <p:spTgt spid="40"/>
                                        </p:tgtEl>
                                        <p:attrNameLst>
                                          <p:attrName>style.visibility</p:attrName>
                                        </p:attrNameLst>
                                      </p:cBhvr>
                                      <p:to>
                                        <p:strVal val="visible"/>
                                      </p:to>
                                    </p:set>
                                    <p:anim calcmode="lin" valueType="num">
                                      <p:cBhvr>
                                        <p:cTn id="40" dur="1000" fill="hold"/>
                                        <p:tgtEl>
                                          <p:spTgt spid="40"/>
                                        </p:tgtEl>
                                        <p:attrNameLst>
                                          <p:attrName>ppt_w</p:attrName>
                                        </p:attrNameLst>
                                      </p:cBhvr>
                                      <p:tavLst>
                                        <p:tav tm="0">
                                          <p:val>
                                            <p:strVal val="#ppt_w*0.70"/>
                                          </p:val>
                                        </p:tav>
                                        <p:tav tm="100000">
                                          <p:val>
                                            <p:strVal val="#ppt_w"/>
                                          </p:val>
                                        </p:tav>
                                      </p:tavLst>
                                    </p:anim>
                                    <p:anim calcmode="lin" valueType="num">
                                      <p:cBhvr>
                                        <p:cTn id="41" dur="1000" fill="hold"/>
                                        <p:tgtEl>
                                          <p:spTgt spid="40"/>
                                        </p:tgtEl>
                                        <p:attrNameLst>
                                          <p:attrName>ppt_h</p:attrName>
                                        </p:attrNameLst>
                                      </p:cBhvr>
                                      <p:tavLst>
                                        <p:tav tm="0">
                                          <p:val>
                                            <p:strVal val="#ppt_h"/>
                                          </p:val>
                                        </p:tav>
                                        <p:tav tm="100000">
                                          <p:val>
                                            <p:strVal val="#ppt_h"/>
                                          </p:val>
                                        </p:tav>
                                      </p:tavLst>
                                    </p:anim>
                                    <p:animEffect transition="in" filter="fade">
                                      <p:cBhvr>
                                        <p:cTn id="42" dur="1000"/>
                                        <p:tgtEl>
                                          <p:spTgt spid="40"/>
                                        </p:tgtEl>
                                      </p:cBhvr>
                                    </p:animEffect>
                                  </p:childTnLst>
                                </p:cTn>
                              </p:par>
                              <p:par>
                                <p:cTn id="43" presetID="23" presetClass="entr" presetSubtype="288" decel="100000" fill="hold" grpId="0" nodeType="withEffect">
                                  <p:stCondLst>
                                    <p:cond delay="0"/>
                                  </p:stCondLst>
                                  <p:iterate type="lt">
                                    <p:tmPct val="15000"/>
                                  </p:iterate>
                                  <p:childTnLst>
                                    <p:set>
                                      <p:cBhvr>
                                        <p:cTn id="44" dur="1" fill="hold">
                                          <p:stCondLst>
                                            <p:cond delay="0"/>
                                          </p:stCondLst>
                                        </p:cTn>
                                        <p:tgtEl>
                                          <p:spTgt spid="43"/>
                                        </p:tgtEl>
                                        <p:attrNameLst>
                                          <p:attrName>style.visibility</p:attrName>
                                        </p:attrNameLst>
                                      </p:cBhvr>
                                      <p:to>
                                        <p:strVal val="visible"/>
                                      </p:to>
                                    </p:set>
                                    <p:anim calcmode="lin" valueType="num">
                                      <p:cBhvr>
                                        <p:cTn id="45" dur="500" fill="hold"/>
                                        <p:tgtEl>
                                          <p:spTgt spid="43"/>
                                        </p:tgtEl>
                                        <p:attrNameLst>
                                          <p:attrName>ppt_w</p:attrName>
                                        </p:attrNameLst>
                                      </p:cBhvr>
                                      <p:tavLst>
                                        <p:tav tm="0">
                                          <p:val>
                                            <p:strVal val="8/3*#ppt_w"/>
                                          </p:val>
                                        </p:tav>
                                        <p:tav tm="100000">
                                          <p:val>
                                            <p:strVal val="#ppt_w"/>
                                          </p:val>
                                        </p:tav>
                                      </p:tavLst>
                                    </p:anim>
                                    <p:anim calcmode="lin" valueType="num">
                                      <p:cBhvr>
                                        <p:cTn id="46" dur="500" fill="hold"/>
                                        <p:tgtEl>
                                          <p:spTgt spid="43"/>
                                        </p:tgtEl>
                                        <p:attrNameLst>
                                          <p:attrName>ppt_h</p:attrName>
                                        </p:attrNameLst>
                                      </p:cBhvr>
                                      <p:tavLst>
                                        <p:tav tm="0">
                                          <p:val>
                                            <p:strVal val="12/3*#ppt_h"/>
                                          </p:val>
                                        </p:tav>
                                        <p:tav tm="100000">
                                          <p:val>
                                            <p:strVal val="#ppt_h"/>
                                          </p:val>
                                        </p:tav>
                                      </p:tavLst>
                                    </p:anim>
                                  </p:childTnLst>
                                </p:cTn>
                              </p:par>
                              <p:par>
                                <p:cTn id="47" presetID="10" presetClass="entr" presetSubtype="0" fill="hold" grpId="1" nodeType="withEffect">
                                  <p:stCondLst>
                                    <p:cond delay="0"/>
                                  </p:stCondLst>
                                  <p:iterate type="lt">
                                    <p:tmPct val="15000"/>
                                  </p:iterate>
                                  <p:childTnLst>
                                    <p:set>
                                      <p:cBhvr>
                                        <p:cTn id="48" dur="1" fill="hold">
                                          <p:stCondLst>
                                            <p:cond delay="0"/>
                                          </p:stCondLst>
                                        </p:cTn>
                                        <p:tgtEl>
                                          <p:spTgt spid="43"/>
                                        </p:tgtEl>
                                        <p:attrNameLst>
                                          <p:attrName>style.visibility</p:attrName>
                                        </p:attrNameLst>
                                      </p:cBhvr>
                                      <p:to>
                                        <p:strVal val="visible"/>
                                      </p:to>
                                    </p:set>
                                    <p:animEffect transition="in" filter="fade">
                                      <p:cBhvr>
                                        <p:cTn id="49" dur="500"/>
                                        <p:tgtEl>
                                          <p:spTgt spid="43"/>
                                        </p:tgtEl>
                                      </p:cBhvr>
                                    </p:animEffect>
                                  </p:childTnLst>
                                </p:cTn>
                              </p:par>
                              <p:par>
                                <p:cTn id="50" presetID="22" presetClass="entr" presetSubtype="1" fill="hold" grpId="0" nodeType="withEffect">
                                  <p:stCondLst>
                                    <p:cond delay="0"/>
                                  </p:stCondLst>
                                  <p:iterate type="lt">
                                    <p:tmPct val="3000"/>
                                  </p:iterate>
                                  <p:childTnLst>
                                    <p:set>
                                      <p:cBhvr>
                                        <p:cTn id="51" dur="1" fill="hold">
                                          <p:stCondLst>
                                            <p:cond delay="0"/>
                                          </p:stCondLst>
                                        </p:cTn>
                                        <p:tgtEl>
                                          <p:spTgt spid="44"/>
                                        </p:tgtEl>
                                        <p:attrNameLst>
                                          <p:attrName>style.visibility</p:attrName>
                                        </p:attrNameLst>
                                      </p:cBhvr>
                                      <p:to>
                                        <p:strVal val="visible"/>
                                      </p:to>
                                    </p:set>
                                    <p:animEffect transition="in" filter="wipe(up)">
                                      <p:cBhvr>
                                        <p:cTn id="52" dur="500"/>
                                        <p:tgtEl>
                                          <p:spTgt spid="44"/>
                                        </p:tgtEl>
                                      </p:cBhvr>
                                    </p:animEffect>
                                  </p:childTnLst>
                                </p:cTn>
                              </p:par>
                            </p:childTnLst>
                          </p:cTn>
                        </p:par>
                        <p:par>
                          <p:cTn id="53" fill="hold">
                            <p:stCondLst>
                              <p:cond delay="2920"/>
                            </p:stCondLst>
                            <p:childTnLst>
                              <p:par>
                                <p:cTn id="54" presetID="55" presetClass="entr" presetSubtype="0" fill="hold" nodeType="afterEffect">
                                  <p:stCondLst>
                                    <p:cond delay="0"/>
                                  </p:stCondLst>
                                  <p:childTnLst>
                                    <p:set>
                                      <p:cBhvr>
                                        <p:cTn id="55" dur="1" fill="hold">
                                          <p:stCondLst>
                                            <p:cond delay="0"/>
                                          </p:stCondLst>
                                        </p:cTn>
                                        <p:tgtEl>
                                          <p:spTgt spid="45"/>
                                        </p:tgtEl>
                                        <p:attrNameLst>
                                          <p:attrName>style.visibility</p:attrName>
                                        </p:attrNameLst>
                                      </p:cBhvr>
                                      <p:to>
                                        <p:strVal val="visible"/>
                                      </p:to>
                                    </p:set>
                                    <p:anim calcmode="lin" valueType="num">
                                      <p:cBhvr>
                                        <p:cTn id="56" dur="1000" fill="hold"/>
                                        <p:tgtEl>
                                          <p:spTgt spid="45"/>
                                        </p:tgtEl>
                                        <p:attrNameLst>
                                          <p:attrName>ppt_w</p:attrName>
                                        </p:attrNameLst>
                                      </p:cBhvr>
                                      <p:tavLst>
                                        <p:tav tm="0">
                                          <p:val>
                                            <p:strVal val="#ppt_w*0.70"/>
                                          </p:val>
                                        </p:tav>
                                        <p:tav tm="100000">
                                          <p:val>
                                            <p:strVal val="#ppt_w"/>
                                          </p:val>
                                        </p:tav>
                                      </p:tavLst>
                                    </p:anim>
                                    <p:anim calcmode="lin" valueType="num">
                                      <p:cBhvr>
                                        <p:cTn id="57" dur="1000" fill="hold"/>
                                        <p:tgtEl>
                                          <p:spTgt spid="45"/>
                                        </p:tgtEl>
                                        <p:attrNameLst>
                                          <p:attrName>ppt_h</p:attrName>
                                        </p:attrNameLst>
                                      </p:cBhvr>
                                      <p:tavLst>
                                        <p:tav tm="0">
                                          <p:val>
                                            <p:strVal val="#ppt_h"/>
                                          </p:val>
                                        </p:tav>
                                        <p:tav tm="100000">
                                          <p:val>
                                            <p:strVal val="#ppt_h"/>
                                          </p:val>
                                        </p:tav>
                                      </p:tavLst>
                                    </p:anim>
                                    <p:animEffect transition="in" filter="fade">
                                      <p:cBhvr>
                                        <p:cTn id="58" dur="1000"/>
                                        <p:tgtEl>
                                          <p:spTgt spid="45"/>
                                        </p:tgtEl>
                                      </p:cBhvr>
                                    </p:animEffect>
                                  </p:childTnLst>
                                </p:cTn>
                              </p:par>
                              <p:par>
                                <p:cTn id="59" presetID="23" presetClass="entr" presetSubtype="288" decel="100000" fill="hold" grpId="0" nodeType="withEffect">
                                  <p:stCondLst>
                                    <p:cond delay="0"/>
                                  </p:stCondLst>
                                  <p:iterate type="lt">
                                    <p:tmPct val="15000"/>
                                  </p:iterate>
                                  <p:childTnLst>
                                    <p:set>
                                      <p:cBhvr>
                                        <p:cTn id="60" dur="1" fill="hold">
                                          <p:stCondLst>
                                            <p:cond delay="0"/>
                                          </p:stCondLst>
                                        </p:cTn>
                                        <p:tgtEl>
                                          <p:spTgt spid="48"/>
                                        </p:tgtEl>
                                        <p:attrNameLst>
                                          <p:attrName>style.visibility</p:attrName>
                                        </p:attrNameLst>
                                      </p:cBhvr>
                                      <p:to>
                                        <p:strVal val="visible"/>
                                      </p:to>
                                    </p:set>
                                    <p:anim calcmode="lin" valueType="num">
                                      <p:cBhvr>
                                        <p:cTn id="61" dur="500" fill="hold"/>
                                        <p:tgtEl>
                                          <p:spTgt spid="48"/>
                                        </p:tgtEl>
                                        <p:attrNameLst>
                                          <p:attrName>ppt_w</p:attrName>
                                        </p:attrNameLst>
                                      </p:cBhvr>
                                      <p:tavLst>
                                        <p:tav tm="0">
                                          <p:val>
                                            <p:strVal val="8/3*#ppt_w"/>
                                          </p:val>
                                        </p:tav>
                                        <p:tav tm="100000">
                                          <p:val>
                                            <p:strVal val="#ppt_w"/>
                                          </p:val>
                                        </p:tav>
                                      </p:tavLst>
                                    </p:anim>
                                    <p:anim calcmode="lin" valueType="num">
                                      <p:cBhvr>
                                        <p:cTn id="62" dur="500" fill="hold"/>
                                        <p:tgtEl>
                                          <p:spTgt spid="48"/>
                                        </p:tgtEl>
                                        <p:attrNameLst>
                                          <p:attrName>ppt_h</p:attrName>
                                        </p:attrNameLst>
                                      </p:cBhvr>
                                      <p:tavLst>
                                        <p:tav tm="0">
                                          <p:val>
                                            <p:strVal val="12/3*#ppt_h"/>
                                          </p:val>
                                        </p:tav>
                                        <p:tav tm="100000">
                                          <p:val>
                                            <p:strVal val="#ppt_h"/>
                                          </p:val>
                                        </p:tav>
                                      </p:tavLst>
                                    </p:anim>
                                  </p:childTnLst>
                                </p:cTn>
                              </p:par>
                              <p:par>
                                <p:cTn id="63" presetID="10" presetClass="entr" presetSubtype="0" fill="hold" grpId="1" nodeType="withEffect">
                                  <p:stCondLst>
                                    <p:cond delay="0"/>
                                  </p:stCondLst>
                                  <p:iterate type="lt">
                                    <p:tmPct val="15000"/>
                                  </p:iterate>
                                  <p:childTnLst>
                                    <p:set>
                                      <p:cBhvr>
                                        <p:cTn id="64" dur="1" fill="hold">
                                          <p:stCondLst>
                                            <p:cond delay="0"/>
                                          </p:stCondLst>
                                        </p:cTn>
                                        <p:tgtEl>
                                          <p:spTgt spid="48"/>
                                        </p:tgtEl>
                                        <p:attrNameLst>
                                          <p:attrName>style.visibility</p:attrName>
                                        </p:attrNameLst>
                                      </p:cBhvr>
                                      <p:to>
                                        <p:strVal val="visible"/>
                                      </p:to>
                                    </p:set>
                                    <p:animEffect transition="in" filter="fade">
                                      <p:cBhvr>
                                        <p:cTn id="65" dur="500"/>
                                        <p:tgtEl>
                                          <p:spTgt spid="48"/>
                                        </p:tgtEl>
                                      </p:cBhvr>
                                    </p:animEffect>
                                  </p:childTnLst>
                                </p:cTn>
                              </p:par>
                              <p:par>
                                <p:cTn id="66" presetID="22" presetClass="entr" presetSubtype="1" fill="hold" grpId="0" nodeType="withEffect">
                                  <p:stCondLst>
                                    <p:cond delay="0"/>
                                  </p:stCondLst>
                                  <p:iterate type="lt">
                                    <p:tmPct val="3000"/>
                                  </p:iterate>
                                  <p:childTnLst>
                                    <p:set>
                                      <p:cBhvr>
                                        <p:cTn id="67" dur="1" fill="hold">
                                          <p:stCondLst>
                                            <p:cond delay="0"/>
                                          </p:stCondLst>
                                        </p:cTn>
                                        <p:tgtEl>
                                          <p:spTgt spid="49"/>
                                        </p:tgtEl>
                                        <p:attrNameLst>
                                          <p:attrName>style.visibility</p:attrName>
                                        </p:attrNameLst>
                                      </p:cBhvr>
                                      <p:to>
                                        <p:strVal val="visible"/>
                                      </p:to>
                                    </p:set>
                                    <p:animEffect transition="in" filter="wipe(up)">
                                      <p:cBhvr>
                                        <p:cTn id="68" dur="500"/>
                                        <p:tgtEl>
                                          <p:spTgt spid="49"/>
                                        </p:tgtEl>
                                      </p:cBhvr>
                                    </p:animEffect>
                                  </p:childTnLst>
                                </p:cTn>
                              </p:par>
                            </p:childTnLst>
                          </p:cTn>
                        </p:par>
                        <p:par>
                          <p:cTn id="69" fill="hold">
                            <p:stCondLst>
                              <p:cond delay="3920"/>
                            </p:stCondLst>
                            <p:childTnLst>
                              <p:par>
                                <p:cTn id="70" presetID="55" presetClass="entr" presetSubtype="0" fill="hold" nodeType="afterEffect">
                                  <p:stCondLst>
                                    <p:cond delay="0"/>
                                  </p:stCondLst>
                                  <p:childTnLst>
                                    <p:set>
                                      <p:cBhvr>
                                        <p:cTn id="71" dur="1" fill="hold">
                                          <p:stCondLst>
                                            <p:cond delay="0"/>
                                          </p:stCondLst>
                                        </p:cTn>
                                        <p:tgtEl>
                                          <p:spTgt spid="50"/>
                                        </p:tgtEl>
                                        <p:attrNameLst>
                                          <p:attrName>style.visibility</p:attrName>
                                        </p:attrNameLst>
                                      </p:cBhvr>
                                      <p:to>
                                        <p:strVal val="visible"/>
                                      </p:to>
                                    </p:set>
                                    <p:anim calcmode="lin" valueType="num">
                                      <p:cBhvr>
                                        <p:cTn id="72" dur="1000" fill="hold"/>
                                        <p:tgtEl>
                                          <p:spTgt spid="50"/>
                                        </p:tgtEl>
                                        <p:attrNameLst>
                                          <p:attrName>ppt_w</p:attrName>
                                        </p:attrNameLst>
                                      </p:cBhvr>
                                      <p:tavLst>
                                        <p:tav tm="0">
                                          <p:val>
                                            <p:strVal val="#ppt_w*0.70"/>
                                          </p:val>
                                        </p:tav>
                                        <p:tav tm="100000">
                                          <p:val>
                                            <p:strVal val="#ppt_w"/>
                                          </p:val>
                                        </p:tav>
                                      </p:tavLst>
                                    </p:anim>
                                    <p:anim calcmode="lin" valueType="num">
                                      <p:cBhvr>
                                        <p:cTn id="73" dur="1000" fill="hold"/>
                                        <p:tgtEl>
                                          <p:spTgt spid="50"/>
                                        </p:tgtEl>
                                        <p:attrNameLst>
                                          <p:attrName>ppt_h</p:attrName>
                                        </p:attrNameLst>
                                      </p:cBhvr>
                                      <p:tavLst>
                                        <p:tav tm="0">
                                          <p:val>
                                            <p:strVal val="#ppt_h"/>
                                          </p:val>
                                        </p:tav>
                                        <p:tav tm="100000">
                                          <p:val>
                                            <p:strVal val="#ppt_h"/>
                                          </p:val>
                                        </p:tav>
                                      </p:tavLst>
                                    </p:anim>
                                    <p:animEffect transition="in" filter="fade">
                                      <p:cBhvr>
                                        <p:cTn id="74" dur="1000"/>
                                        <p:tgtEl>
                                          <p:spTgt spid="50"/>
                                        </p:tgtEl>
                                      </p:cBhvr>
                                    </p:animEffect>
                                  </p:childTnLst>
                                </p:cTn>
                              </p:par>
                              <p:par>
                                <p:cTn id="75" presetID="23" presetClass="entr" presetSubtype="288" decel="100000" fill="hold" grpId="0" nodeType="withEffect">
                                  <p:stCondLst>
                                    <p:cond delay="0"/>
                                  </p:stCondLst>
                                  <p:iterate type="lt">
                                    <p:tmPct val="15000"/>
                                  </p:iterate>
                                  <p:childTnLst>
                                    <p:set>
                                      <p:cBhvr>
                                        <p:cTn id="76" dur="1" fill="hold">
                                          <p:stCondLst>
                                            <p:cond delay="0"/>
                                          </p:stCondLst>
                                        </p:cTn>
                                        <p:tgtEl>
                                          <p:spTgt spid="53"/>
                                        </p:tgtEl>
                                        <p:attrNameLst>
                                          <p:attrName>style.visibility</p:attrName>
                                        </p:attrNameLst>
                                      </p:cBhvr>
                                      <p:to>
                                        <p:strVal val="visible"/>
                                      </p:to>
                                    </p:set>
                                    <p:anim calcmode="lin" valueType="num">
                                      <p:cBhvr>
                                        <p:cTn id="77" dur="500" fill="hold"/>
                                        <p:tgtEl>
                                          <p:spTgt spid="53"/>
                                        </p:tgtEl>
                                        <p:attrNameLst>
                                          <p:attrName>ppt_w</p:attrName>
                                        </p:attrNameLst>
                                      </p:cBhvr>
                                      <p:tavLst>
                                        <p:tav tm="0">
                                          <p:val>
                                            <p:strVal val="8/3*#ppt_w"/>
                                          </p:val>
                                        </p:tav>
                                        <p:tav tm="100000">
                                          <p:val>
                                            <p:strVal val="#ppt_w"/>
                                          </p:val>
                                        </p:tav>
                                      </p:tavLst>
                                    </p:anim>
                                    <p:anim calcmode="lin" valueType="num">
                                      <p:cBhvr>
                                        <p:cTn id="78" dur="500" fill="hold"/>
                                        <p:tgtEl>
                                          <p:spTgt spid="53"/>
                                        </p:tgtEl>
                                        <p:attrNameLst>
                                          <p:attrName>ppt_h</p:attrName>
                                        </p:attrNameLst>
                                      </p:cBhvr>
                                      <p:tavLst>
                                        <p:tav tm="0">
                                          <p:val>
                                            <p:strVal val="12/3*#ppt_h"/>
                                          </p:val>
                                        </p:tav>
                                        <p:tav tm="100000">
                                          <p:val>
                                            <p:strVal val="#ppt_h"/>
                                          </p:val>
                                        </p:tav>
                                      </p:tavLst>
                                    </p:anim>
                                  </p:childTnLst>
                                </p:cTn>
                              </p:par>
                              <p:par>
                                <p:cTn id="79" presetID="10" presetClass="entr" presetSubtype="0" fill="hold" grpId="1" nodeType="withEffect">
                                  <p:stCondLst>
                                    <p:cond delay="0"/>
                                  </p:stCondLst>
                                  <p:iterate type="lt">
                                    <p:tmPct val="15000"/>
                                  </p:iterate>
                                  <p:childTnLst>
                                    <p:set>
                                      <p:cBhvr>
                                        <p:cTn id="80" dur="1" fill="hold">
                                          <p:stCondLst>
                                            <p:cond delay="0"/>
                                          </p:stCondLst>
                                        </p:cTn>
                                        <p:tgtEl>
                                          <p:spTgt spid="53"/>
                                        </p:tgtEl>
                                        <p:attrNameLst>
                                          <p:attrName>style.visibility</p:attrName>
                                        </p:attrNameLst>
                                      </p:cBhvr>
                                      <p:to>
                                        <p:strVal val="visible"/>
                                      </p:to>
                                    </p:set>
                                    <p:animEffect transition="in" filter="fade">
                                      <p:cBhvr>
                                        <p:cTn id="81" dur="500"/>
                                        <p:tgtEl>
                                          <p:spTgt spid="53"/>
                                        </p:tgtEl>
                                      </p:cBhvr>
                                    </p:animEffect>
                                  </p:childTnLst>
                                </p:cTn>
                              </p:par>
                              <p:par>
                                <p:cTn id="82" presetID="22" presetClass="entr" presetSubtype="1" fill="hold" grpId="0" nodeType="withEffect">
                                  <p:stCondLst>
                                    <p:cond delay="0"/>
                                  </p:stCondLst>
                                  <p:iterate type="lt">
                                    <p:tmPct val="3000"/>
                                  </p:iterate>
                                  <p:childTnLst>
                                    <p:set>
                                      <p:cBhvr>
                                        <p:cTn id="83" dur="1" fill="hold">
                                          <p:stCondLst>
                                            <p:cond delay="0"/>
                                          </p:stCondLst>
                                        </p:cTn>
                                        <p:tgtEl>
                                          <p:spTgt spid="54"/>
                                        </p:tgtEl>
                                        <p:attrNameLst>
                                          <p:attrName>style.visibility</p:attrName>
                                        </p:attrNameLst>
                                      </p:cBhvr>
                                      <p:to>
                                        <p:strVal val="visible"/>
                                      </p:to>
                                    </p:set>
                                    <p:animEffect transition="in" filter="wipe(up)">
                                      <p:cBhvr>
                                        <p:cTn id="8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38" grpId="0"/>
      <p:bldP spid="38" grpId="1"/>
      <p:bldP spid="39" grpId="0"/>
      <p:bldP spid="43" grpId="0"/>
      <p:bldP spid="43" grpId="1"/>
      <p:bldP spid="44" grpId="0"/>
      <p:bldP spid="48" grpId="0"/>
      <p:bldP spid="48" grpId="1"/>
      <p:bldP spid="49" grpId="0"/>
      <p:bldP spid="53" grpId="0"/>
      <p:bldP spid="53" grpId="1"/>
      <p:bldP spid="54"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椭圆 8"/>
          <p:cNvSpPr/>
          <p:nvPr/>
        </p:nvSpPr>
        <p:spPr>
          <a:xfrm>
            <a:off x="6025945" y="1957554"/>
            <a:ext cx="2926080" cy="2926080"/>
          </a:xfrm>
          <a:prstGeom prst="ellipse">
            <a:avLst/>
          </a:prstGeom>
          <a:noFill/>
          <a:ln w="6350" cap="flat" cmpd="sng" algn="ctr">
            <a:solidFill>
              <a:srgbClr val="0BD0D9">
                <a:alpha val="2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 name="椭圆 9"/>
          <p:cNvSpPr/>
          <p:nvPr/>
        </p:nvSpPr>
        <p:spPr>
          <a:xfrm>
            <a:off x="7016545" y="2948154"/>
            <a:ext cx="944879" cy="944879"/>
          </a:xfrm>
          <a:prstGeom prst="ellipse">
            <a:avLst/>
          </a:prstGeom>
          <a:noFill/>
          <a:ln w="6350" cap="flat" cmpd="sng" algn="ctr">
            <a:solidFill>
              <a:srgbClr val="0BD0D9">
                <a:alpha val="7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 name="文本框 10"/>
          <p:cNvSpPr txBox="1"/>
          <p:nvPr/>
        </p:nvSpPr>
        <p:spPr>
          <a:xfrm>
            <a:off x="7620883" y="3521124"/>
            <a:ext cx="2031325" cy="64633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scene3d>
              <a:camera prst="orthographicFront"/>
              <a:lightRig rig="threePt" dir="t"/>
            </a:scene3d>
          </a:bodyPr>
          <a:lstStyle>
            <a:defPPr>
              <a:defRPr lang="zh-CN"/>
            </a:defPPr>
            <a:lvl1pPr algn="ctr" defTabSz="910590">
              <a:defRPr sz="3600" b="1" kern="0">
                <a:gradFill flip="none" rotWithShape="1">
                  <a:gsLst>
                    <a:gs pos="0">
                      <a:srgbClr val="62FFFF"/>
                    </a:gs>
                    <a:gs pos="100000">
                      <a:srgbClr val="0D69FF"/>
                    </a:gs>
                  </a:gsLst>
                  <a:lin ang="2700000" scaled="1"/>
                  <a:tileRect/>
                </a:gradFill>
                <a:effectLst>
                  <a:reflection blurRad="6350" stA="55000" endA="300" endPos="45500" dir="5400000" sy="-100000" algn="bl" rotWithShape="0"/>
                </a:effectLst>
                <a:ea typeface="造字工房尚雅体演示版常规体" pitchFamily="50" charset="-122"/>
              </a:defRPr>
            </a:lvl1pPr>
          </a:lstStyle>
          <a:p>
            <a:r>
              <a:rPr lang="zh-CN" altLang="en-US" dirty="0">
                <a:gradFill>
                  <a:gsLst>
                    <a:gs pos="14000">
                      <a:srgbClr val="00B0F0"/>
                    </a:gs>
                    <a:gs pos="64000">
                      <a:srgbClr val="0BB0AD"/>
                    </a:gs>
                    <a:gs pos="42000">
                      <a:srgbClr val="13FFEC"/>
                    </a:gs>
                  </a:gsLst>
                  <a:lin ang="5400000" scaled="0"/>
                </a:gradFill>
                <a:ea typeface="+mn-ea"/>
                <a:cs typeface="+mn-ea"/>
                <a:sym typeface="+mn-lt"/>
              </a:rPr>
              <a:t>市场定位</a:t>
            </a:r>
          </a:p>
        </p:txBody>
      </p:sp>
      <p:cxnSp>
        <p:nvCxnSpPr>
          <p:cNvPr id="12" name="直接连接符 11"/>
          <p:cNvCxnSpPr/>
          <p:nvPr/>
        </p:nvCxnSpPr>
        <p:spPr>
          <a:xfrm>
            <a:off x="474458" y="3428999"/>
            <a:ext cx="10908347" cy="0"/>
          </a:xfrm>
          <a:prstGeom prst="line">
            <a:avLst/>
          </a:prstGeom>
          <a:noFill/>
          <a:ln w="6350" cap="flat" cmpd="sng" algn="ctr">
            <a:gradFill>
              <a:gsLst>
                <a:gs pos="68000">
                  <a:srgbClr val="0BD0D9"/>
                </a:gs>
                <a:gs pos="0">
                  <a:srgbClr val="0BD0D9">
                    <a:alpha val="0"/>
                  </a:srgbClr>
                </a:gs>
                <a:gs pos="100000">
                  <a:srgbClr val="0BD0D9">
                    <a:alpha val="0"/>
                  </a:srgbClr>
                </a:gs>
              </a:gsLst>
              <a:lin ang="0" scaled="0"/>
            </a:gradFill>
            <a:prstDash val="solid"/>
            <a:miter lim="800000"/>
          </a:ln>
          <a:effectLst/>
        </p:spPr>
      </p:cxnSp>
      <p:cxnSp>
        <p:nvCxnSpPr>
          <p:cNvPr id="13" name="直接连接符 12"/>
          <p:cNvCxnSpPr/>
          <p:nvPr/>
        </p:nvCxnSpPr>
        <p:spPr>
          <a:xfrm>
            <a:off x="7488985" y="620712"/>
            <a:ext cx="0" cy="5616575"/>
          </a:xfrm>
          <a:prstGeom prst="line">
            <a:avLst/>
          </a:prstGeom>
          <a:noFill/>
          <a:ln w="6350" cap="flat" cmpd="sng" algn="ctr">
            <a:gradFill>
              <a:gsLst>
                <a:gs pos="50600">
                  <a:srgbClr val="0BD0D9"/>
                </a:gs>
                <a:gs pos="0">
                  <a:srgbClr val="0BD0D9">
                    <a:alpha val="0"/>
                  </a:srgbClr>
                </a:gs>
                <a:gs pos="100000">
                  <a:srgbClr val="0BD0D9">
                    <a:alpha val="0"/>
                  </a:srgbClr>
                </a:gs>
              </a:gsLst>
              <a:lin ang="5400000" scaled="1"/>
            </a:gradFill>
            <a:prstDash val="solid"/>
            <a:miter lim="800000"/>
          </a:ln>
          <a:effectLst/>
        </p:spPr>
      </p:cxnSp>
      <p:sp>
        <p:nvSpPr>
          <p:cNvPr id="14" name="椭圆 13"/>
          <p:cNvSpPr/>
          <p:nvPr/>
        </p:nvSpPr>
        <p:spPr>
          <a:xfrm>
            <a:off x="6649999" y="2581608"/>
            <a:ext cx="1677972" cy="1677972"/>
          </a:xfrm>
          <a:prstGeom prst="ellipse">
            <a:avLst/>
          </a:prstGeom>
          <a:noFill/>
          <a:ln w="6350" cap="flat" cmpd="sng" algn="ctr">
            <a:solidFill>
              <a:srgbClr val="0BD0D9">
                <a:alpha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nvGrpSpPr>
          <p:cNvPr id="15" name="组合 14"/>
          <p:cNvGrpSpPr/>
          <p:nvPr/>
        </p:nvGrpSpPr>
        <p:grpSpPr>
          <a:xfrm>
            <a:off x="2357398" y="1940559"/>
            <a:ext cx="2077767" cy="591503"/>
            <a:chOff x="2541753" y="1589314"/>
            <a:chExt cx="2077767" cy="591503"/>
          </a:xfrm>
        </p:grpSpPr>
        <p:sp>
          <p:nvSpPr>
            <p:cNvPr id="16" name="文本框 15"/>
            <p:cNvSpPr txBox="1"/>
            <p:nvPr/>
          </p:nvSpPr>
          <p:spPr>
            <a:xfrm>
              <a:off x="3026638" y="1589314"/>
              <a:ext cx="1107996" cy="369332"/>
            </a:xfrm>
            <a:prstGeom prst="rect">
              <a:avLst/>
            </a:prstGeom>
            <a:noFill/>
          </p:spPr>
          <p:txBody>
            <a:bodyPr wrap="none" rtlCol="0">
              <a:spAutoFit/>
            </a:bodyPr>
            <a:lstStyle/>
            <a:p>
              <a:pPr algn="ctr">
                <a:defRPr/>
              </a:pPr>
              <a:r>
                <a:rPr lang="zh-CN" altLang="en-US" b="1" dirty="0">
                  <a:solidFill>
                    <a:srgbClr val="0BD0D9"/>
                  </a:solidFill>
                  <a:cs typeface="+mn-ea"/>
                  <a:sym typeface="+mn-lt"/>
                </a:rPr>
                <a:t>价值实现</a:t>
              </a:r>
            </a:p>
          </p:txBody>
        </p:sp>
        <p:sp>
          <p:nvSpPr>
            <p:cNvPr id="17" name="文本框 16"/>
            <p:cNvSpPr txBox="1"/>
            <p:nvPr/>
          </p:nvSpPr>
          <p:spPr>
            <a:xfrm>
              <a:off x="2541753" y="1887833"/>
              <a:ext cx="2077767" cy="276999"/>
            </a:xfrm>
            <a:prstGeom prst="rect">
              <a:avLst/>
            </a:prstGeom>
            <a:noFill/>
          </p:spPr>
          <p:txBody>
            <a:bodyPr wrap="square" rtlCol="0">
              <a:spAutoFit/>
            </a:bodyPr>
            <a:lstStyle/>
            <a:p>
              <a:pPr algn="ctr">
                <a:defRPr/>
              </a:pPr>
              <a:r>
                <a:rPr lang="en-US" altLang="zh-CN" sz="1200" dirty="0">
                  <a:solidFill>
                    <a:prstClr val="white">
                      <a:lumMod val="95000"/>
                    </a:prstClr>
                  </a:solidFill>
                  <a:cs typeface="+mn-ea"/>
                  <a:sym typeface="+mn-lt"/>
                </a:rPr>
                <a:t>Value realization</a:t>
              </a:r>
              <a:endParaRPr lang="zh-CN" altLang="en-US" sz="1200" dirty="0">
                <a:solidFill>
                  <a:prstClr val="white">
                    <a:lumMod val="95000"/>
                  </a:prstClr>
                </a:solidFill>
                <a:cs typeface="+mn-ea"/>
                <a:sym typeface="+mn-lt"/>
              </a:endParaRPr>
            </a:p>
          </p:txBody>
        </p:sp>
        <p:sp>
          <p:nvSpPr>
            <p:cNvPr id="18" name="梯形 28"/>
            <p:cNvSpPr/>
            <p:nvPr/>
          </p:nvSpPr>
          <p:spPr>
            <a:xfrm>
              <a:off x="2767072" y="2025345"/>
              <a:ext cx="1642368" cy="155472"/>
            </a:xfrm>
            <a:custGeom>
              <a:avLst/>
              <a:gdLst>
                <a:gd name="connsiteX0" fmla="*/ 0 w 1642368"/>
                <a:gd name="connsiteY0" fmla="*/ 155472 h 155472"/>
                <a:gd name="connsiteX1" fmla="*/ 127870 w 1642368"/>
                <a:gd name="connsiteY1" fmla="*/ 0 h 155472"/>
                <a:gd name="connsiteX2" fmla="*/ 1514498 w 1642368"/>
                <a:gd name="connsiteY2" fmla="*/ 0 h 155472"/>
                <a:gd name="connsiteX3" fmla="*/ 1642368 w 1642368"/>
                <a:gd name="connsiteY3" fmla="*/ 155472 h 155472"/>
                <a:gd name="connsiteX4" fmla="*/ 0 w 1642368"/>
                <a:gd name="connsiteY4" fmla="*/ 155472 h 155472"/>
                <a:gd name="connsiteX0-1" fmla="*/ 3082032 w 4724400"/>
                <a:gd name="connsiteY0-2" fmla="*/ 2369503 h 2369503"/>
                <a:gd name="connsiteX1-3" fmla="*/ 0 w 4724400"/>
                <a:gd name="connsiteY1-4" fmla="*/ 0 h 2369503"/>
                <a:gd name="connsiteX2-5" fmla="*/ 3209902 w 4724400"/>
                <a:gd name="connsiteY2-6" fmla="*/ 2214031 h 2369503"/>
                <a:gd name="connsiteX3-7" fmla="*/ 4596530 w 4724400"/>
                <a:gd name="connsiteY3-8" fmla="*/ 2214031 h 2369503"/>
                <a:gd name="connsiteX4-9" fmla="*/ 4724400 w 4724400"/>
                <a:gd name="connsiteY4-10" fmla="*/ 2369503 h 2369503"/>
                <a:gd name="connsiteX5" fmla="*/ 3082032 w 4724400"/>
                <a:gd name="connsiteY5" fmla="*/ 2369503 h 2369503"/>
                <a:gd name="connsiteX0-11" fmla="*/ 0 w 1642368"/>
                <a:gd name="connsiteY0-12" fmla="*/ 155472 h 155472"/>
                <a:gd name="connsiteX1-13" fmla="*/ 127870 w 1642368"/>
                <a:gd name="connsiteY1-14" fmla="*/ 0 h 155472"/>
                <a:gd name="connsiteX2-15" fmla="*/ 1514498 w 1642368"/>
                <a:gd name="connsiteY2-16" fmla="*/ 0 h 155472"/>
                <a:gd name="connsiteX3-17" fmla="*/ 1642368 w 1642368"/>
                <a:gd name="connsiteY3-18" fmla="*/ 155472 h 155472"/>
                <a:gd name="connsiteX4-19" fmla="*/ 0 w 1642368"/>
                <a:gd name="connsiteY4-20" fmla="*/ 155472 h 15547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42368" h="155472">
                  <a:moveTo>
                    <a:pt x="0" y="155472"/>
                  </a:moveTo>
                  <a:lnTo>
                    <a:pt x="127870" y="0"/>
                  </a:lnTo>
                  <a:lnTo>
                    <a:pt x="1514498" y="0"/>
                  </a:lnTo>
                  <a:lnTo>
                    <a:pt x="1642368" y="155472"/>
                  </a:lnTo>
                  <a:lnTo>
                    <a:pt x="0" y="155472"/>
                  </a:lnTo>
                  <a:close/>
                </a:path>
              </a:pathLst>
            </a:custGeom>
            <a:gradFill flip="none" rotWithShape="0">
              <a:gsLst>
                <a:gs pos="100000">
                  <a:srgbClr val="0BD0D9">
                    <a:alpha val="51000"/>
                  </a:srgbClr>
                </a:gs>
                <a:gs pos="0">
                  <a:srgbClr val="0BD0D9">
                    <a:alpha val="0"/>
                  </a:srgbClr>
                </a:gs>
              </a:gsLst>
              <a:lin ang="5400000" scaled="1"/>
              <a:tileRect/>
            </a:gradFill>
            <a:ln w="6350" cap="flat" cmpd="sng" algn="ctr">
              <a:gradFill>
                <a:gsLst>
                  <a:gs pos="100000">
                    <a:srgbClr val="0BD0D9"/>
                  </a:gs>
                  <a:gs pos="3000">
                    <a:srgbClr val="0BD0D9">
                      <a:alpha val="0"/>
                    </a:srgbClr>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grpSp>
        <p:nvGrpSpPr>
          <p:cNvPr id="19" name="组合 18"/>
          <p:cNvGrpSpPr/>
          <p:nvPr/>
        </p:nvGrpSpPr>
        <p:grpSpPr>
          <a:xfrm>
            <a:off x="2146340" y="2814658"/>
            <a:ext cx="2515122" cy="619648"/>
            <a:chOff x="2330695" y="2463413"/>
            <a:chExt cx="2515122" cy="619648"/>
          </a:xfrm>
        </p:grpSpPr>
        <p:sp>
          <p:nvSpPr>
            <p:cNvPr id="20" name="文本框 19"/>
            <p:cNvSpPr txBox="1"/>
            <p:nvPr/>
          </p:nvSpPr>
          <p:spPr>
            <a:xfrm>
              <a:off x="3257471" y="2463413"/>
              <a:ext cx="646331" cy="369332"/>
            </a:xfrm>
            <a:prstGeom prst="rect">
              <a:avLst/>
            </a:prstGeom>
            <a:noFill/>
          </p:spPr>
          <p:txBody>
            <a:bodyPr wrap="none" rtlCol="0">
              <a:spAutoFit/>
            </a:bodyPr>
            <a:lstStyle/>
            <a:p>
              <a:pPr algn="ctr">
                <a:defRPr/>
              </a:pPr>
              <a:r>
                <a:rPr lang="zh-CN" altLang="en-US" b="1" dirty="0">
                  <a:solidFill>
                    <a:srgbClr val="0BD0D9"/>
                  </a:solidFill>
                  <a:cs typeface="+mn-ea"/>
                  <a:sym typeface="+mn-lt"/>
                </a:rPr>
                <a:t>尊重</a:t>
              </a:r>
              <a:endParaRPr lang="en-US" altLang="zh-CN" b="1" dirty="0">
                <a:solidFill>
                  <a:srgbClr val="0BD0D9"/>
                </a:solidFill>
                <a:cs typeface="+mn-ea"/>
                <a:sym typeface="+mn-lt"/>
              </a:endParaRPr>
            </a:p>
          </p:txBody>
        </p:sp>
        <p:sp>
          <p:nvSpPr>
            <p:cNvPr id="21" name="矩形 20"/>
            <p:cNvSpPr/>
            <p:nvPr/>
          </p:nvSpPr>
          <p:spPr>
            <a:xfrm>
              <a:off x="3058666" y="2761448"/>
              <a:ext cx="1043940" cy="276999"/>
            </a:xfrm>
            <a:prstGeom prst="rect">
              <a:avLst/>
            </a:prstGeom>
          </p:spPr>
          <p:txBody>
            <a:bodyPr wrap="none">
              <a:spAutoFit/>
            </a:bodyPr>
            <a:lstStyle/>
            <a:p>
              <a:pPr algn="ctr">
                <a:defRPr/>
              </a:pPr>
              <a:r>
                <a:rPr lang="en-US" altLang="zh-CN" sz="1200" dirty="0">
                  <a:solidFill>
                    <a:prstClr val="white">
                      <a:lumMod val="95000"/>
                    </a:prstClr>
                  </a:solidFill>
                  <a:cs typeface="+mn-ea"/>
                  <a:sym typeface="+mn-lt"/>
                </a:rPr>
                <a:t>Self-esteem</a:t>
              </a:r>
              <a:endParaRPr lang="zh-CN" altLang="en-US" sz="1200" dirty="0">
                <a:solidFill>
                  <a:prstClr val="white">
                    <a:lumMod val="95000"/>
                  </a:prstClr>
                </a:solidFill>
                <a:cs typeface="+mn-ea"/>
                <a:sym typeface="+mn-lt"/>
              </a:endParaRPr>
            </a:p>
          </p:txBody>
        </p:sp>
        <p:sp>
          <p:nvSpPr>
            <p:cNvPr id="22" name="任意多边形: 形状 21"/>
            <p:cNvSpPr/>
            <p:nvPr/>
          </p:nvSpPr>
          <p:spPr>
            <a:xfrm flipV="1">
              <a:off x="2330695" y="2844970"/>
              <a:ext cx="2515122" cy="238091"/>
            </a:xfrm>
            <a:custGeom>
              <a:avLst/>
              <a:gdLst/>
              <a:ahLst/>
              <a:cxnLst/>
              <a:rect l="0" t="0" r="0" b="0"/>
              <a:pathLst>
                <a:path w="2515123" h="238091">
                  <a:moveTo>
                    <a:pt x="0" y="0"/>
                  </a:moveTo>
                  <a:lnTo>
                    <a:pt x="195820" y="238090"/>
                  </a:lnTo>
                  <a:lnTo>
                    <a:pt x="2319302" y="238090"/>
                  </a:lnTo>
                  <a:lnTo>
                    <a:pt x="2515122" y="0"/>
                  </a:lnTo>
                  <a:close/>
                </a:path>
              </a:pathLst>
            </a:custGeom>
            <a:gradFill flip="none" rotWithShape="0">
              <a:gsLst>
                <a:gs pos="100000">
                  <a:srgbClr val="0BD0D9">
                    <a:alpha val="51000"/>
                  </a:srgbClr>
                </a:gs>
                <a:gs pos="0">
                  <a:srgbClr val="0BD0D9">
                    <a:alpha val="0"/>
                  </a:srgbClr>
                </a:gs>
              </a:gsLst>
              <a:lin ang="5400000" scaled="1"/>
              <a:tileRect/>
            </a:gradFill>
            <a:ln w="6350" cap="flat" cmpd="sng" algn="ctr">
              <a:gradFill>
                <a:gsLst>
                  <a:gs pos="0">
                    <a:srgbClr val="0BD0D9"/>
                  </a:gs>
                  <a:gs pos="100000">
                    <a:srgbClr val="0BD0D9">
                      <a:alpha val="0"/>
                    </a:srgbClr>
                  </a:gs>
                </a:gsLst>
                <a:lin ang="5400000" scaled="1"/>
              </a:gra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cs typeface="+mn-ea"/>
                <a:sym typeface="+mn-lt"/>
              </a:endParaRPr>
            </a:p>
          </p:txBody>
        </p:sp>
      </p:grpSp>
      <p:grpSp>
        <p:nvGrpSpPr>
          <p:cNvPr id="23" name="组合 22"/>
          <p:cNvGrpSpPr/>
          <p:nvPr/>
        </p:nvGrpSpPr>
        <p:grpSpPr>
          <a:xfrm>
            <a:off x="1709963" y="3688757"/>
            <a:ext cx="3387877" cy="647792"/>
            <a:chOff x="1894318" y="3337512"/>
            <a:chExt cx="3387877" cy="647792"/>
          </a:xfrm>
        </p:grpSpPr>
        <p:sp>
          <p:nvSpPr>
            <p:cNvPr id="24" name="文本框 23"/>
            <p:cNvSpPr txBox="1"/>
            <p:nvPr/>
          </p:nvSpPr>
          <p:spPr>
            <a:xfrm>
              <a:off x="3142055" y="3337512"/>
              <a:ext cx="877163" cy="369332"/>
            </a:xfrm>
            <a:prstGeom prst="rect">
              <a:avLst/>
            </a:prstGeom>
            <a:noFill/>
          </p:spPr>
          <p:txBody>
            <a:bodyPr wrap="none" rtlCol="0">
              <a:spAutoFit/>
            </a:bodyPr>
            <a:lstStyle/>
            <a:p>
              <a:pPr algn="ctr">
                <a:defRPr/>
              </a:pPr>
              <a:r>
                <a:rPr lang="zh-CN" altLang="en-US" b="1" dirty="0">
                  <a:solidFill>
                    <a:srgbClr val="0BD0D9"/>
                  </a:solidFill>
                  <a:cs typeface="+mn-ea"/>
                  <a:sym typeface="+mn-lt"/>
                </a:rPr>
                <a:t>归属感</a:t>
              </a:r>
              <a:endParaRPr lang="en-US" altLang="zh-CN" b="1" dirty="0">
                <a:solidFill>
                  <a:srgbClr val="0BD0D9"/>
                </a:solidFill>
                <a:cs typeface="+mn-ea"/>
                <a:sym typeface="+mn-lt"/>
              </a:endParaRPr>
            </a:p>
          </p:txBody>
        </p:sp>
        <p:sp>
          <p:nvSpPr>
            <p:cNvPr id="25" name="矩形 24"/>
            <p:cNvSpPr/>
            <p:nvPr/>
          </p:nvSpPr>
          <p:spPr>
            <a:xfrm>
              <a:off x="2781283" y="3635063"/>
              <a:ext cx="1598707" cy="276999"/>
            </a:xfrm>
            <a:prstGeom prst="rect">
              <a:avLst/>
            </a:prstGeom>
          </p:spPr>
          <p:txBody>
            <a:bodyPr wrap="none">
              <a:spAutoFit/>
            </a:bodyPr>
            <a:lstStyle/>
            <a:p>
              <a:pPr algn="ctr">
                <a:defRPr/>
              </a:pPr>
              <a:r>
                <a:rPr lang="en-US" altLang="zh-CN" sz="1200" dirty="0">
                  <a:solidFill>
                    <a:prstClr val="white">
                      <a:lumMod val="95000"/>
                    </a:prstClr>
                  </a:solidFill>
                  <a:cs typeface="+mn-ea"/>
                  <a:sym typeface="+mn-lt"/>
                </a:rPr>
                <a:t>Sense of belonging</a:t>
              </a:r>
              <a:endParaRPr lang="zh-CN" altLang="en-US" sz="1200" dirty="0">
                <a:solidFill>
                  <a:prstClr val="white">
                    <a:lumMod val="95000"/>
                  </a:prstClr>
                </a:solidFill>
                <a:cs typeface="+mn-ea"/>
                <a:sym typeface="+mn-lt"/>
              </a:endParaRPr>
            </a:p>
          </p:txBody>
        </p:sp>
        <p:sp>
          <p:nvSpPr>
            <p:cNvPr id="26" name="任意多边形: 形状 25"/>
            <p:cNvSpPr/>
            <p:nvPr/>
          </p:nvSpPr>
          <p:spPr>
            <a:xfrm flipV="1">
              <a:off x="1894318" y="3664595"/>
              <a:ext cx="3387877" cy="320709"/>
            </a:xfrm>
            <a:custGeom>
              <a:avLst/>
              <a:gdLst/>
              <a:ahLst/>
              <a:cxnLst/>
              <a:rect l="0" t="0" r="0" b="0"/>
              <a:pathLst>
                <a:path w="3387877" h="320710">
                  <a:moveTo>
                    <a:pt x="0" y="0"/>
                  </a:moveTo>
                  <a:lnTo>
                    <a:pt x="263770" y="320709"/>
                  </a:lnTo>
                  <a:lnTo>
                    <a:pt x="3124106" y="320709"/>
                  </a:lnTo>
                  <a:lnTo>
                    <a:pt x="3387876" y="0"/>
                  </a:lnTo>
                  <a:close/>
                </a:path>
              </a:pathLst>
            </a:custGeom>
            <a:gradFill flip="none" rotWithShape="0">
              <a:gsLst>
                <a:gs pos="100000">
                  <a:srgbClr val="0BD0D9">
                    <a:alpha val="51000"/>
                  </a:srgbClr>
                </a:gs>
                <a:gs pos="0">
                  <a:srgbClr val="0BD0D9">
                    <a:alpha val="0"/>
                  </a:srgbClr>
                </a:gs>
              </a:gsLst>
              <a:lin ang="5400000" scaled="1"/>
              <a:tileRect/>
            </a:gradFill>
            <a:ln w="6350" cap="flat" cmpd="sng" algn="ctr">
              <a:gradFill>
                <a:gsLst>
                  <a:gs pos="0">
                    <a:srgbClr val="0BD0D9"/>
                  </a:gs>
                  <a:gs pos="100000">
                    <a:srgbClr val="0BD0D9">
                      <a:alpha val="0"/>
                    </a:srgbClr>
                  </a:gs>
                </a:gsLst>
                <a:lin ang="5400000" scaled="1"/>
              </a:gra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cs typeface="+mn-ea"/>
                <a:sym typeface="+mn-lt"/>
              </a:endParaRPr>
            </a:p>
          </p:txBody>
        </p:sp>
      </p:grpSp>
      <p:grpSp>
        <p:nvGrpSpPr>
          <p:cNvPr id="27" name="组合 26"/>
          <p:cNvGrpSpPr/>
          <p:nvPr/>
        </p:nvGrpSpPr>
        <p:grpSpPr>
          <a:xfrm>
            <a:off x="1273585" y="4562856"/>
            <a:ext cx="4260631" cy="675936"/>
            <a:chOff x="1457940" y="4211611"/>
            <a:chExt cx="4260631" cy="675936"/>
          </a:xfrm>
        </p:grpSpPr>
        <p:sp>
          <p:nvSpPr>
            <p:cNvPr id="28" name="文本框 27"/>
            <p:cNvSpPr txBox="1"/>
            <p:nvPr/>
          </p:nvSpPr>
          <p:spPr>
            <a:xfrm>
              <a:off x="3142055" y="4211611"/>
              <a:ext cx="877163" cy="369332"/>
            </a:xfrm>
            <a:prstGeom prst="rect">
              <a:avLst/>
            </a:prstGeom>
            <a:noFill/>
          </p:spPr>
          <p:txBody>
            <a:bodyPr wrap="none" rtlCol="0">
              <a:spAutoFit/>
            </a:bodyPr>
            <a:lstStyle/>
            <a:p>
              <a:pPr algn="ctr">
                <a:defRPr/>
              </a:pPr>
              <a:r>
                <a:rPr lang="zh-CN" altLang="en-US" b="1" dirty="0">
                  <a:solidFill>
                    <a:srgbClr val="0BD0D9"/>
                  </a:solidFill>
                  <a:cs typeface="+mn-ea"/>
                  <a:sym typeface="+mn-lt"/>
                </a:rPr>
                <a:t>安全感</a:t>
              </a:r>
              <a:endParaRPr lang="en-US" altLang="zh-CN" b="1" dirty="0">
                <a:solidFill>
                  <a:srgbClr val="0BD0D9"/>
                </a:solidFill>
                <a:cs typeface="+mn-ea"/>
                <a:sym typeface="+mn-lt"/>
              </a:endParaRPr>
            </a:p>
          </p:txBody>
        </p:sp>
        <p:sp>
          <p:nvSpPr>
            <p:cNvPr id="29" name="矩形 28"/>
            <p:cNvSpPr/>
            <p:nvPr/>
          </p:nvSpPr>
          <p:spPr>
            <a:xfrm>
              <a:off x="3262280" y="4508678"/>
              <a:ext cx="636713" cy="276999"/>
            </a:xfrm>
            <a:prstGeom prst="rect">
              <a:avLst/>
            </a:prstGeom>
          </p:spPr>
          <p:txBody>
            <a:bodyPr wrap="none">
              <a:spAutoFit/>
            </a:bodyPr>
            <a:lstStyle/>
            <a:p>
              <a:pPr algn="ctr">
                <a:defRPr/>
              </a:pPr>
              <a:r>
                <a:rPr lang="en-US" altLang="zh-CN" sz="1200" dirty="0">
                  <a:solidFill>
                    <a:prstClr val="white">
                      <a:lumMod val="95000"/>
                    </a:prstClr>
                  </a:solidFill>
                  <a:cs typeface="+mn-ea"/>
                  <a:sym typeface="+mn-lt"/>
                </a:rPr>
                <a:t>Safety</a:t>
              </a:r>
              <a:endParaRPr lang="zh-CN" altLang="en-US" sz="1200" dirty="0">
                <a:solidFill>
                  <a:prstClr val="white">
                    <a:lumMod val="95000"/>
                  </a:prstClr>
                </a:solidFill>
                <a:cs typeface="+mn-ea"/>
                <a:sym typeface="+mn-lt"/>
              </a:endParaRPr>
            </a:p>
          </p:txBody>
        </p:sp>
        <p:sp>
          <p:nvSpPr>
            <p:cNvPr id="30" name="任意多边形: 形状 29"/>
            <p:cNvSpPr/>
            <p:nvPr/>
          </p:nvSpPr>
          <p:spPr>
            <a:xfrm flipV="1">
              <a:off x="1457940" y="4484219"/>
              <a:ext cx="4260631" cy="403328"/>
            </a:xfrm>
            <a:custGeom>
              <a:avLst/>
              <a:gdLst/>
              <a:ahLst/>
              <a:cxnLst/>
              <a:rect l="0" t="0" r="0" b="0"/>
              <a:pathLst>
                <a:path w="4260633" h="403329">
                  <a:moveTo>
                    <a:pt x="0" y="0"/>
                  </a:moveTo>
                  <a:lnTo>
                    <a:pt x="331721" y="403328"/>
                  </a:lnTo>
                  <a:lnTo>
                    <a:pt x="3928911" y="403328"/>
                  </a:lnTo>
                  <a:lnTo>
                    <a:pt x="4260632" y="0"/>
                  </a:lnTo>
                  <a:close/>
                </a:path>
              </a:pathLst>
            </a:custGeom>
            <a:gradFill flip="none" rotWithShape="0">
              <a:gsLst>
                <a:gs pos="100000">
                  <a:srgbClr val="0BD0D9">
                    <a:alpha val="51000"/>
                  </a:srgbClr>
                </a:gs>
                <a:gs pos="0">
                  <a:srgbClr val="0BD0D9">
                    <a:alpha val="0"/>
                  </a:srgbClr>
                </a:gs>
              </a:gsLst>
              <a:lin ang="5400000" scaled="1"/>
              <a:tileRect/>
            </a:gradFill>
            <a:ln w="6350" cap="flat" cmpd="sng" algn="ctr">
              <a:gradFill>
                <a:gsLst>
                  <a:gs pos="0">
                    <a:srgbClr val="0BD0D9"/>
                  </a:gs>
                  <a:gs pos="100000">
                    <a:srgbClr val="0BD0D9">
                      <a:alpha val="0"/>
                    </a:srgbClr>
                  </a:gs>
                </a:gsLst>
                <a:lin ang="5400000" scaled="1"/>
              </a:gra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srgbClr val="FFFFFF"/>
                </a:solidFill>
                <a:effectLst/>
                <a:uLnTx/>
                <a:uFillTx/>
                <a:cs typeface="+mn-ea"/>
                <a:sym typeface="+mn-lt"/>
              </a:endParaRPr>
            </a:p>
          </p:txBody>
        </p:sp>
      </p:grpSp>
      <p:grpSp>
        <p:nvGrpSpPr>
          <p:cNvPr id="31" name="组合 30"/>
          <p:cNvGrpSpPr/>
          <p:nvPr/>
        </p:nvGrpSpPr>
        <p:grpSpPr>
          <a:xfrm>
            <a:off x="837208" y="5436955"/>
            <a:ext cx="5133386" cy="673600"/>
            <a:chOff x="1021563" y="5085710"/>
            <a:chExt cx="5133386" cy="673600"/>
          </a:xfrm>
        </p:grpSpPr>
        <p:sp>
          <p:nvSpPr>
            <p:cNvPr id="32" name="文本框 31"/>
            <p:cNvSpPr txBox="1"/>
            <p:nvPr/>
          </p:nvSpPr>
          <p:spPr>
            <a:xfrm>
              <a:off x="3257471" y="5085710"/>
              <a:ext cx="646331" cy="369332"/>
            </a:xfrm>
            <a:prstGeom prst="rect">
              <a:avLst/>
            </a:prstGeom>
            <a:noFill/>
          </p:spPr>
          <p:txBody>
            <a:bodyPr wrap="none" rtlCol="0">
              <a:spAutoFit/>
            </a:bodyPr>
            <a:lstStyle/>
            <a:p>
              <a:pPr algn="ctr">
                <a:defRPr/>
              </a:pPr>
              <a:r>
                <a:rPr lang="zh-CN" altLang="en-US" b="1" dirty="0">
                  <a:solidFill>
                    <a:srgbClr val="0BD0D9"/>
                  </a:solidFill>
                  <a:cs typeface="+mn-ea"/>
                  <a:sym typeface="+mn-lt"/>
                </a:rPr>
                <a:t>生存</a:t>
              </a:r>
              <a:endParaRPr lang="en-US" altLang="zh-CN" b="1" dirty="0">
                <a:solidFill>
                  <a:srgbClr val="0BD0D9"/>
                </a:solidFill>
                <a:cs typeface="+mn-ea"/>
                <a:sym typeface="+mn-lt"/>
              </a:endParaRPr>
            </a:p>
          </p:txBody>
        </p:sp>
        <p:sp>
          <p:nvSpPr>
            <p:cNvPr id="33" name="矩形 32"/>
            <p:cNvSpPr/>
            <p:nvPr/>
          </p:nvSpPr>
          <p:spPr>
            <a:xfrm>
              <a:off x="3201141" y="5382292"/>
              <a:ext cx="758990" cy="276999"/>
            </a:xfrm>
            <a:prstGeom prst="rect">
              <a:avLst/>
            </a:prstGeom>
          </p:spPr>
          <p:txBody>
            <a:bodyPr wrap="none">
              <a:spAutoFit/>
            </a:bodyPr>
            <a:lstStyle/>
            <a:p>
              <a:pPr algn="ctr">
                <a:defRPr/>
              </a:pPr>
              <a:r>
                <a:rPr lang="en-US" altLang="zh-CN" sz="1200" dirty="0">
                  <a:solidFill>
                    <a:prstClr val="white">
                      <a:lumMod val="95000"/>
                    </a:prstClr>
                  </a:solidFill>
                  <a:cs typeface="+mn-ea"/>
                  <a:sym typeface="+mn-lt"/>
                </a:rPr>
                <a:t>Survival</a:t>
              </a:r>
              <a:endParaRPr lang="zh-CN" altLang="en-US" sz="1200" dirty="0">
                <a:solidFill>
                  <a:prstClr val="white">
                    <a:lumMod val="95000"/>
                  </a:prstClr>
                </a:solidFill>
                <a:cs typeface="+mn-ea"/>
                <a:sym typeface="+mn-lt"/>
              </a:endParaRPr>
            </a:p>
          </p:txBody>
        </p:sp>
        <p:sp>
          <p:nvSpPr>
            <p:cNvPr id="34" name="梯形 29"/>
            <p:cNvSpPr/>
            <p:nvPr/>
          </p:nvSpPr>
          <p:spPr>
            <a:xfrm>
              <a:off x="1021563" y="5273364"/>
              <a:ext cx="5133386" cy="485946"/>
            </a:xfrm>
            <a:custGeom>
              <a:avLst/>
              <a:gdLst>
                <a:gd name="connsiteX0" fmla="*/ 0 w 5133386"/>
                <a:gd name="connsiteY0" fmla="*/ 485946 h 485946"/>
                <a:gd name="connsiteX1" fmla="*/ 399671 w 5133386"/>
                <a:gd name="connsiteY1" fmla="*/ 0 h 485946"/>
                <a:gd name="connsiteX2" fmla="*/ 4733715 w 5133386"/>
                <a:gd name="connsiteY2" fmla="*/ 0 h 485946"/>
                <a:gd name="connsiteX3" fmla="*/ 5133386 w 5133386"/>
                <a:gd name="connsiteY3" fmla="*/ 485946 h 485946"/>
                <a:gd name="connsiteX4" fmla="*/ 0 w 5133386"/>
                <a:gd name="connsiteY4" fmla="*/ 485946 h 485946"/>
                <a:gd name="connsiteX0-1" fmla="*/ 1336523 w 6469909"/>
                <a:gd name="connsiteY0-2" fmla="*/ 5978476 h 5978476"/>
                <a:gd name="connsiteX1-3" fmla="*/ 0 w 6469909"/>
                <a:gd name="connsiteY1-4" fmla="*/ 0 h 5978476"/>
                <a:gd name="connsiteX2-5" fmla="*/ 1736194 w 6469909"/>
                <a:gd name="connsiteY2-6" fmla="*/ 5492530 h 5978476"/>
                <a:gd name="connsiteX3-7" fmla="*/ 6070238 w 6469909"/>
                <a:gd name="connsiteY3-8" fmla="*/ 5492530 h 5978476"/>
                <a:gd name="connsiteX4-9" fmla="*/ 6469909 w 6469909"/>
                <a:gd name="connsiteY4-10" fmla="*/ 5978476 h 5978476"/>
                <a:gd name="connsiteX5" fmla="*/ 1336523 w 6469909"/>
                <a:gd name="connsiteY5" fmla="*/ 5978476 h 5978476"/>
                <a:gd name="connsiteX0-11" fmla="*/ 0 w 5133386"/>
                <a:gd name="connsiteY0-12" fmla="*/ 485946 h 485946"/>
                <a:gd name="connsiteX1-13" fmla="*/ 399671 w 5133386"/>
                <a:gd name="connsiteY1-14" fmla="*/ 0 h 485946"/>
                <a:gd name="connsiteX2-15" fmla="*/ 4733715 w 5133386"/>
                <a:gd name="connsiteY2-16" fmla="*/ 0 h 485946"/>
                <a:gd name="connsiteX3-17" fmla="*/ 5133386 w 5133386"/>
                <a:gd name="connsiteY3-18" fmla="*/ 485946 h 485946"/>
                <a:gd name="connsiteX4-19" fmla="*/ 0 w 5133386"/>
                <a:gd name="connsiteY4-20" fmla="*/ 485946 h 48594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133386" h="485946">
                  <a:moveTo>
                    <a:pt x="0" y="485946"/>
                  </a:moveTo>
                  <a:lnTo>
                    <a:pt x="399671" y="0"/>
                  </a:lnTo>
                  <a:lnTo>
                    <a:pt x="4733715" y="0"/>
                  </a:lnTo>
                  <a:lnTo>
                    <a:pt x="5133386" y="485946"/>
                  </a:lnTo>
                  <a:lnTo>
                    <a:pt x="0" y="485946"/>
                  </a:lnTo>
                  <a:close/>
                </a:path>
              </a:pathLst>
            </a:custGeom>
            <a:gradFill flip="none" rotWithShape="0">
              <a:gsLst>
                <a:gs pos="100000">
                  <a:srgbClr val="0BD0D9">
                    <a:alpha val="51000"/>
                  </a:srgbClr>
                </a:gs>
                <a:gs pos="0">
                  <a:srgbClr val="0BD0D9">
                    <a:alpha val="0"/>
                  </a:srgbClr>
                </a:gs>
              </a:gsLst>
              <a:lin ang="5400000" scaled="1"/>
              <a:tileRect/>
            </a:gradFill>
            <a:ln w="6350" cap="flat" cmpd="sng" algn="ctr">
              <a:gradFill>
                <a:gsLst>
                  <a:gs pos="100000">
                    <a:srgbClr val="0BD0D9"/>
                  </a:gs>
                  <a:gs pos="3000">
                    <a:srgbClr val="0BD0D9">
                      <a:alpha val="0"/>
                    </a:srgbClr>
                  </a:gs>
                </a:gsLst>
                <a:lin ang="5400000" scaled="1"/>
              </a:gra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市场前景</a:t>
            </a:r>
          </a:p>
        </p:txBody>
      </p:sp>
      <p:pic>
        <p:nvPicPr>
          <p:cNvPr id="6" name="3"/>
          <p:cNvPicPr>
            <a:picLocks noChangeAspect="1"/>
          </p:cNvPicPr>
          <p:nvPr/>
        </p:nvPicPr>
        <p:blipFill rotWithShape="1">
          <a:blip r:embed="rId2" cstate="screen"/>
          <a:srcRect/>
          <a:stretch>
            <a:fillRect/>
          </a:stretch>
        </p:blipFill>
        <p:spPr>
          <a:xfrm>
            <a:off x="158312" y="64984"/>
            <a:ext cx="877549" cy="1499409"/>
          </a:xfrm>
          <a:prstGeom prst="rect">
            <a:avLst/>
          </a:prstGeom>
        </p:spPr>
      </p:pic>
      <p:pic>
        <p:nvPicPr>
          <p:cNvPr id="37" name="图片 36"/>
          <p:cNvPicPr>
            <a:picLocks noChangeAspect="1"/>
          </p:cNvPicPr>
          <p:nvPr/>
        </p:nvPicPr>
        <p:blipFill>
          <a:blip r:embed="rId3" cstate="screen"/>
          <a:stretch>
            <a:fillRect/>
          </a:stretch>
        </p:blipFill>
        <p:spPr>
          <a:xfrm>
            <a:off x="8225212" y="270345"/>
            <a:ext cx="3500308" cy="1915416"/>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par>
                          <p:cTn id="16" fill="hold">
                            <p:stCondLst>
                              <p:cond delay="0"/>
                            </p:stCondLst>
                            <p:childTnLst>
                              <p:par>
                                <p:cTn id="17" presetID="23" presetClass="entr" presetSubtype="36"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500" fill="hold"/>
                                        <p:tgtEl>
                                          <p:spTgt spid="9"/>
                                        </p:tgtEl>
                                        <p:attrNameLst>
                                          <p:attrName>ppt_w</p:attrName>
                                        </p:attrNameLst>
                                      </p:cBhvr>
                                      <p:tavLst>
                                        <p:tav tm="0">
                                          <p:val>
                                            <p:strVal val="(6*min(max(#ppt_w*#ppt_h,.3),1)-7.4)/-.7*#ppt_w"/>
                                          </p:val>
                                        </p:tav>
                                        <p:tav tm="100000">
                                          <p:val>
                                            <p:strVal val="#ppt_w"/>
                                          </p:val>
                                        </p:tav>
                                      </p:tavLst>
                                    </p:anim>
                                    <p:anim calcmode="lin" valueType="num">
                                      <p:cBhvr>
                                        <p:cTn id="20" dur="500" fill="hold"/>
                                        <p:tgtEl>
                                          <p:spTgt spid="9"/>
                                        </p:tgtEl>
                                        <p:attrNameLst>
                                          <p:attrName>ppt_h</p:attrName>
                                        </p:attrNameLst>
                                      </p:cBhvr>
                                      <p:tavLst>
                                        <p:tav tm="0">
                                          <p:val>
                                            <p:strVal val="(6*min(max(#ppt_w*#ppt_h,.3),1)-7.4)/-.7*#ppt_h"/>
                                          </p:val>
                                        </p:tav>
                                        <p:tav tm="100000">
                                          <p:val>
                                            <p:strVal val="#ppt_h"/>
                                          </p:val>
                                        </p:tav>
                                      </p:tavLst>
                                    </p:anim>
                                    <p:anim calcmode="lin" valueType="num">
                                      <p:cBhvr>
                                        <p:cTn id="21" dur="500" fill="hold"/>
                                        <p:tgtEl>
                                          <p:spTgt spid="9"/>
                                        </p:tgtEl>
                                        <p:attrNameLst>
                                          <p:attrName>ppt_x</p:attrName>
                                        </p:attrNameLst>
                                      </p:cBhvr>
                                      <p:tavLst>
                                        <p:tav tm="0">
                                          <p:val>
                                            <p:fltVal val="0.5"/>
                                          </p:val>
                                        </p:tav>
                                        <p:tav tm="100000">
                                          <p:val>
                                            <p:strVal val="#ppt_x"/>
                                          </p:val>
                                        </p:tav>
                                      </p:tavLst>
                                    </p:anim>
                                    <p:anim calcmode="lin" valueType="num">
                                      <p:cBhvr>
                                        <p:cTn id="22" dur="500" fill="hold"/>
                                        <p:tgtEl>
                                          <p:spTgt spid="9"/>
                                        </p:tgtEl>
                                        <p:attrNameLst>
                                          <p:attrName>ppt_y</p:attrName>
                                        </p:attrNameLst>
                                      </p:cBhvr>
                                      <p:tavLst>
                                        <p:tav tm="0">
                                          <p:val>
                                            <p:strVal val="1+(6*min(max(#ppt_w*#ppt_h,.3),1)-7.4)/-.7*#ppt_h/2"/>
                                          </p:val>
                                        </p:tav>
                                        <p:tav tm="100000">
                                          <p:val>
                                            <p:strVal val="#ppt_y"/>
                                          </p:val>
                                        </p:tav>
                                      </p:tavLst>
                                    </p:anim>
                                  </p:childTnLst>
                                </p:cTn>
                              </p:par>
                              <p:par>
                                <p:cTn id="23" presetID="23" presetClass="entr" presetSubtype="36"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p:cTn id="25" dur="500" fill="hold"/>
                                        <p:tgtEl>
                                          <p:spTgt spid="10"/>
                                        </p:tgtEl>
                                        <p:attrNameLst>
                                          <p:attrName>ppt_w</p:attrName>
                                        </p:attrNameLst>
                                      </p:cBhvr>
                                      <p:tavLst>
                                        <p:tav tm="0">
                                          <p:val>
                                            <p:strVal val="(6*min(max(#ppt_w*#ppt_h,.3),1)-7.4)/-.7*#ppt_w"/>
                                          </p:val>
                                        </p:tav>
                                        <p:tav tm="100000">
                                          <p:val>
                                            <p:strVal val="#ppt_w"/>
                                          </p:val>
                                        </p:tav>
                                      </p:tavLst>
                                    </p:anim>
                                    <p:anim calcmode="lin" valueType="num">
                                      <p:cBhvr>
                                        <p:cTn id="26" dur="500" fill="hold"/>
                                        <p:tgtEl>
                                          <p:spTgt spid="10"/>
                                        </p:tgtEl>
                                        <p:attrNameLst>
                                          <p:attrName>ppt_h</p:attrName>
                                        </p:attrNameLst>
                                      </p:cBhvr>
                                      <p:tavLst>
                                        <p:tav tm="0">
                                          <p:val>
                                            <p:strVal val="(6*min(max(#ppt_w*#ppt_h,.3),1)-7.4)/-.7*#ppt_h"/>
                                          </p:val>
                                        </p:tav>
                                        <p:tav tm="100000">
                                          <p:val>
                                            <p:strVal val="#ppt_h"/>
                                          </p:val>
                                        </p:tav>
                                      </p:tavLst>
                                    </p:anim>
                                    <p:anim calcmode="lin" valueType="num">
                                      <p:cBhvr>
                                        <p:cTn id="27" dur="500" fill="hold"/>
                                        <p:tgtEl>
                                          <p:spTgt spid="10"/>
                                        </p:tgtEl>
                                        <p:attrNameLst>
                                          <p:attrName>ppt_x</p:attrName>
                                        </p:attrNameLst>
                                      </p:cBhvr>
                                      <p:tavLst>
                                        <p:tav tm="0">
                                          <p:val>
                                            <p:fltVal val="0.5"/>
                                          </p:val>
                                        </p:tav>
                                        <p:tav tm="100000">
                                          <p:val>
                                            <p:strVal val="#ppt_x"/>
                                          </p:val>
                                        </p:tav>
                                      </p:tavLst>
                                    </p:anim>
                                    <p:anim calcmode="lin" valueType="num">
                                      <p:cBhvr>
                                        <p:cTn id="28" dur="500" fill="hold"/>
                                        <p:tgtEl>
                                          <p:spTgt spid="10"/>
                                        </p:tgtEl>
                                        <p:attrNameLst>
                                          <p:attrName>ppt_y</p:attrName>
                                        </p:attrNameLst>
                                      </p:cBhvr>
                                      <p:tavLst>
                                        <p:tav tm="0">
                                          <p:val>
                                            <p:strVal val="1+(6*min(max(#ppt_w*#ppt_h,.3),1)-7.4)/-.7*#ppt_h/2"/>
                                          </p:val>
                                        </p:tav>
                                        <p:tav tm="100000">
                                          <p:val>
                                            <p:strVal val="#ppt_y"/>
                                          </p:val>
                                        </p:tav>
                                      </p:tavLst>
                                    </p:anim>
                                  </p:childTnLst>
                                </p:cTn>
                              </p:par>
                              <p:par>
                                <p:cTn id="29" presetID="23" presetClass="entr" presetSubtype="36"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anim calcmode="lin" valueType="num">
                                      <p:cBhvr>
                                        <p:cTn id="31" dur="500" fill="hold"/>
                                        <p:tgtEl>
                                          <p:spTgt spid="13"/>
                                        </p:tgtEl>
                                        <p:attrNameLst>
                                          <p:attrName>ppt_w</p:attrName>
                                        </p:attrNameLst>
                                      </p:cBhvr>
                                      <p:tavLst>
                                        <p:tav tm="0">
                                          <p:val>
                                            <p:strVal val="(6*min(max(#ppt_w*#ppt_h,.3),1)-7.4)/-.7*#ppt_w"/>
                                          </p:val>
                                        </p:tav>
                                        <p:tav tm="100000">
                                          <p:val>
                                            <p:strVal val="#ppt_w"/>
                                          </p:val>
                                        </p:tav>
                                      </p:tavLst>
                                    </p:anim>
                                    <p:anim calcmode="lin" valueType="num">
                                      <p:cBhvr>
                                        <p:cTn id="32" dur="500" fill="hold"/>
                                        <p:tgtEl>
                                          <p:spTgt spid="13"/>
                                        </p:tgtEl>
                                        <p:attrNameLst>
                                          <p:attrName>ppt_h</p:attrName>
                                        </p:attrNameLst>
                                      </p:cBhvr>
                                      <p:tavLst>
                                        <p:tav tm="0">
                                          <p:val>
                                            <p:strVal val="(6*min(max(#ppt_w*#ppt_h,.3),1)-7.4)/-.7*#ppt_h"/>
                                          </p:val>
                                        </p:tav>
                                        <p:tav tm="100000">
                                          <p:val>
                                            <p:strVal val="#ppt_h"/>
                                          </p:val>
                                        </p:tav>
                                      </p:tavLst>
                                    </p:anim>
                                    <p:anim calcmode="lin" valueType="num">
                                      <p:cBhvr>
                                        <p:cTn id="33" dur="500" fill="hold"/>
                                        <p:tgtEl>
                                          <p:spTgt spid="13"/>
                                        </p:tgtEl>
                                        <p:attrNameLst>
                                          <p:attrName>ppt_x</p:attrName>
                                        </p:attrNameLst>
                                      </p:cBhvr>
                                      <p:tavLst>
                                        <p:tav tm="0">
                                          <p:val>
                                            <p:fltVal val="0.5"/>
                                          </p:val>
                                        </p:tav>
                                        <p:tav tm="100000">
                                          <p:val>
                                            <p:strVal val="#ppt_x"/>
                                          </p:val>
                                        </p:tav>
                                      </p:tavLst>
                                    </p:anim>
                                    <p:anim calcmode="lin" valueType="num">
                                      <p:cBhvr>
                                        <p:cTn id="34" dur="500" fill="hold"/>
                                        <p:tgtEl>
                                          <p:spTgt spid="13"/>
                                        </p:tgtEl>
                                        <p:attrNameLst>
                                          <p:attrName>ppt_y</p:attrName>
                                        </p:attrNameLst>
                                      </p:cBhvr>
                                      <p:tavLst>
                                        <p:tav tm="0">
                                          <p:val>
                                            <p:strVal val="1+(6*min(max(#ppt_w*#ppt_h,.3),1)-7.4)/-.7*#ppt_h/2"/>
                                          </p:val>
                                        </p:tav>
                                        <p:tav tm="100000">
                                          <p:val>
                                            <p:strVal val="#ppt_y"/>
                                          </p:val>
                                        </p:tav>
                                      </p:tavLst>
                                    </p:anim>
                                  </p:childTnLst>
                                </p:cTn>
                              </p:par>
                              <p:par>
                                <p:cTn id="35" presetID="23" presetClass="entr" presetSubtype="36"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p:cTn id="37" dur="500" fill="hold"/>
                                        <p:tgtEl>
                                          <p:spTgt spid="14"/>
                                        </p:tgtEl>
                                        <p:attrNameLst>
                                          <p:attrName>ppt_w</p:attrName>
                                        </p:attrNameLst>
                                      </p:cBhvr>
                                      <p:tavLst>
                                        <p:tav tm="0">
                                          <p:val>
                                            <p:strVal val="(6*min(max(#ppt_w*#ppt_h,.3),1)-7.4)/-.7*#ppt_w"/>
                                          </p:val>
                                        </p:tav>
                                        <p:tav tm="100000">
                                          <p:val>
                                            <p:strVal val="#ppt_w"/>
                                          </p:val>
                                        </p:tav>
                                      </p:tavLst>
                                    </p:anim>
                                    <p:anim calcmode="lin" valueType="num">
                                      <p:cBhvr>
                                        <p:cTn id="38" dur="500" fill="hold"/>
                                        <p:tgtEl>
                                          <p:spTgt spid="14"/>
                                        </p:tgtEl>
                                        <p:attrNameLst>
                                          <p:attrName>ppt_h</p:attrName>
                                        </p:attrNameLst>
                                      </p:cBhvr>
                                      <p:tavLst>
                                        <p:tav tm="0">
                                          <p:val>
                                            <p:strVal val="(6*min(max(#ppt_w*#ppt_h,.3),1)-7.4)/-.7*#ppt_h"/>
                                          </p:val>
                                        </p:tav>
                                        <p:tav tm="100000">
                                          <p:val>
                                            <p:strVal val="#ppt_h"/>
                                          </p:val>
                                        </p:tav>
                                      </p:tavLst>
                                    </p:anim>
                                    <p:anim calcmode="lin" valueType="num">
                                      <p:cBhvr>
                                        <p:cTn id="39" dur="500" fill="hold"/>
                                        <p:tgtEl>
                                          <p:spTgt spid="14"/>
                                        </p:tgtEl>
                                        <p:attrNameLst>
                                          <p:attrName>ppt_x</p:attrName>
                                        </p:attrNameLst>
                                      </p:cBhvr>
                                      <p:tavLst>
                                        <p:tav tm="0">
                                          <p:val>
                                            <p:fltVal val="0.5"/>
                                          </p:val>
                                        </p:tav>
                                        <p:tav tm="100000">
                                          <p:val>
                                            <p:strVal val="#ppt_x"/>
                                          </p:val>
                                        </p:tav>
                                      </p:tavLst>
                                    </p:anim>
                                    <p:anim calcmode="lin" valueType="num">
                                      <p:cBhvr>
                                        <p:cTn id="40" dur="500" fill="hold"/>
                                        <p:tgtEl>
                                          <p:spTgt spid="14"/>
                                        </p:tgtEl>
                                        <p:attrNameLst>
                                          <p:attrName>ppt_y</p:attrName>
                                        </p:attrNameLst>
                                      </p:cBhvr>
                                      <p:tavLst>
                                        <p:tav tm="0">
                                          <p:val>
                                            <p:strVal val="1+(6*min(max(#ppt_w*#ppt_h,.3),1)-7.4)/-.7*#ppt_h/2"/>
                                          </p:val>
                                        </p:tav>
                                        <p:tav tm="100000">
                                          <p:val>
                                            <p:strVal val="#ppt_y"/>
                                          </p:val>
                                        </p:tav>
                                      </p:tavLst>
                                    </p:anim>
                                  </p:childTnLst>
                                </p:cTn>
                              </p:par>
                            </p:childTnLst>
                          </p:cTn>
                        </p:par>
                        <p:par>
                          <p:cTn id="41" fill="hold">
                            <p:stCondLst>
                              <p:cond delay="500"/>
                            </p:stCondLst>
                            <p:childTnLst>
                              <p:par>
                                <p:cTn id="42" presetID="22" presetClass="entr" presetSubtype="2" fill="hold"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wipe(right)">
                                      <p:cBhvr>
                                        <p:cTn id="44" dur="500"/>
                                        <p:tgtEl>
                                          <p:spTgt spid="12"/>
                                        </p:tgtEl>
                                      </p:cBhvr>
                                    </p:animEffect>
                                  </p:childTnLst>
                                </p:cTn>
                              </p:par>
                            </p:childTnLst>
                          </p:cTn>
                        </p:par>
                        <p:par>
                          <p:cTn id="45" fill="hold">
                            <p:stCondLst>
                              <p:cond delay="1000"/>
                            </p:stCondLst>
                            <p:childTnLst>
                              <p:par>
                                <p:cTn id="46" presetID="53" presetClass="entr" presetSubtype="16" fill="hold" grpId="0" nodeType="afterEffect">
                                  <p:stCondLst>
                                    <p:cond delay="0"/>
                                  </p:stCondLst>
                                  <p:iterate type="lt">
                                    <p:tmPct val="10000"/>
                                  </p:iterate>
                                  <p:childTnLst>
                                    <p:set>
                                      <p:cBhvr>
                                        <p:cTn id="47" dur="1" fill="hold">
                                          <p:stCondLst>
                                            <p:cond delay="0"/>
                                          </p:stCondLst>
                                        </p:cTn>
                                        <p:tgtEl>
                                          <p:spTgt spid="11"/>
                                        </p:tgtEl>
                                        <p:attrNameLst>
                                          <p:attrName>style.visibility</p:attrName>
                                        </p:attrNameLst>
                                      </p:cBhvr>
                                      <p:to>
                                        <p:strVal val="visible"/>
                                      </p:to>
                                    </p:set>
                                    <p:anim calcmode="lin" valueType="num">
                                      <p:cBhvr>
                                        <p:cTn id="48" dur="500" fill="hold"/>
                                        <p:tgtEl>
                                          <p:spTgt spid="11"/>
                                        </p:tgtEl>
                                        <p:attrNameLst>
                                          <p:attrName>ppt_w</p:attrName>
                                        </p:attrNameLst>
                                      </p:cBhvr>
                                      <p:tavLst>
                                        <p:tav tm="0">
                                          <p:val>
                                            <p:fltVal val="0"/>
                                          </p:val>
                                        </p:tav>
                                        <p:tav tm="100000">
                                          <p:val>
                                            <p:strVal val="#ppt_w"/>
                                          </p:val>
                                        </p:tav>
                                      </p:tavLst>
                                    </p:anim>
                                    <p:anim calcmode="lin" valueType="num">
                                      <p:cBhvr>
                                        <p:cTn id="49" dur="500" fill="hold"/>
                                        <p:tgtEl>
                                          <p:spTgt spid="11"/>
                                        </p:tgtEl>
                                        <p:attrNameLst>
                                          <p:attrName>ppt_h</p:attrName>
                                        </p:attrNameLst>
                                      </p:cBhvr>
                                      <p:tavLst>
                                        <p:tav tm="0">
                                          <p:val>
                                            <p:fltVal val="0"/>
                                          </p:val>
                                        </p:tav>
                                        <p:tav tm="100000">
                                          <p:val>
                                            <p:strVal val="#ppt_h"/>
                                          </p:val>
                                        </p:tav>
                                      </p:tavLst>
                                    </p:anim>
                                    <p:animEffect transition="in" filter="fade">
                                      <p:cBhvr>
                                        <p:cTn id="50" dur="500"/>
                                        <p:tgtEl>
                                          <p:spTgt spid="11"/>
                                        </p:tgtEl>
                                      </p:cBhvr>
                                    </p:animEffect>
                                  </p:childTnLst>
                                </p:cTn>
                              </p:par>
                            </p:childTnLst>
                          </p:cTn>
                        </p:par>
                        <p:par>
                          <p:cTn id="51" fill="hold">
                            <p:stCondLst>
                              <p:cond delay="1649"/>
                            </p:stCondLst>
                            <p:childTnLst>
                              <p:par>
                                <p:cTn id="52" presetID="22" presetClass="entr" presetSubtype="4" fill="hold" nodeType="after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wipe(down)">
                                      <p:cBhvr>
                                        <p:cTn id="54" dur="500"/>
                                        <p:tgtEl>
                                          <p:spTgt spid="15"/>
                                        </p:tgtEl>
                                      </p:cBhvr>
                                    </p:animEffect>
                                  </p:childTnLst>
                                </p:cTn>
                              </p:par>
                            </p:childTnLst>
                          </p:cTn>
                        </p:par>
                        <p:par>
                          <p:cTn id="55" fill="hold">
                            <p:stCondLst>
                              <p:cond delay="2149"/>
                            </p:stCondLst>
                            <p:childTnLst>
                              <p:par>
                                <p:cTn id="56" presetID="22" presetClass="entr" presetSubtype="4" fill="hold" nodeType="after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wipe(down)">
                                      <p:cBhvr>
                                        <p:cTn id="58" dur="500"/>
                                        <p:tgtEl>
                                          <p:spTgt spid="19"/>
                                        </p:tgtEl>
                                      </p:cBhvr>
                                    </p:animEffect>
                                  </p:childTnLst>
                                </p:cTn>
                              </p:par>
                            </p:childTnLst>
                          </p:cTn>
                        </p:par>
                        <p:par>
                          <p:cTn id="59" fill="hold">
                            <p:stCondLst>
                              <p:cond delay="2649"/>
                            </p:stCondLst>
                            <p:childTnLst>
                              <p:par>
                                <p:cTn id="60" presetID="22" presetClass="entr" presetSubtype="4" fill="hold" nodeType="afterEffect">
                                  <p:stCondLst>
                                    <p:cond delay="0"/>
                                  </p:stCondLst>
                                  <p:childTnLst>
                                    <p:set>
                                      <p:cBhvr>
                                        <p:cTn id="61" dur="1" fill="hold">
                                          <p:stCondLst>
                                            <p:cond delay="0"/>
                                          </p:stCondLst>
                                        </p:cTn>
                                        <p:tgtEl>
                                          <p:spTgt spid="23"/>
                                        </p:tgtEl>
                                        <p:attrNameLst>
                                          <p:attrName>style.visibility</p:attrName>
                                        </p:attrNameLst>
                                      </p:cBhvr>
                                      <p:to>
                                        <p:strVal val="visible"/>
                                      </p:to>
                                    </p:set>
                                    <p:animEffect transition="in" filter="wipe(down)">
                                      <p:cBhvr>
                                        <p:cTn id="62" dur="500"/>
                                        <p:tgtEl>
                                          <p:spTgt spid="23"/>
                                        </p:tgtEl>
                                      </p:cBhvr>
                                    </p:animEffect>
                                  </p:childTnLst>
                                </p:cTn>
                              </p:par>
                            </p:childTnLst>
                          </p:cTn>
                        </p:par>
                        <p:par>
                          <p:cTn id="63" fill="hold">
                            <p:stCondLst>
                              <p:cond delay="3149"/>
                            </p:stCondLst>
                            <p:childTnLst>
                              <p:par>
                                <p:cTn id="64" presetID="22" presetClass="entr" presetSubtype="4" fill="hold" nodeType="after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wipe(down)">
                                      <p:cBhvr>
                                        <p:cTn id="66" dur="500"/>
                                        <p:tgtEl>
                                          <p:spTgt spid="27"/>
                                        </p:tgtEl>
                                      </p:cBhvr>
                                    </p:animEffect>
                                  </p:childTnLst>
                                </p:cTn>
                              </p:par>
                            </p:childTnLst>
                          </p:cTn>
                        </p:par>
                        <p:par>
                          <p:cTn id="67" fill="hold">
                            <p:stCondLst>
                              <p:cond delay="3649"/>
                            </p:stCondLst>
                            <p:childTnLst>
                              <p:par>
                                <p:cTn id="68" presetID="22" presetClass="entr" presetSubtype="4" fill="hold" nodeType="afterEffect">
                                  <p:stCondLst>
                                    <p:cond delay="0"/>
                                  </p:stCondLst>
                                  <p:childTnLst>
                                    <p:set>
                                      <p:cBhvr>
                                        <p:cTn id="69" dur="1" fill="hold">
                                          <p:stCondLst>
                                            <p:cond delay="0"/>
                                          </p:stCondLst>
                                        </p:cTn>
                                        <p:tgtEl>
                                          <p:spTgt spid="31"/>
                                        </p:tgtEl>
                                        <p:attrNameLst>
                                          <p:attrName>style.visibility</p:attrName>
                                        </p:attrNameLst>
                                      </p:cBhvr>
                                      <p:to>
                                        <p:strVal val="visible"/>
                                      </p:to>
                                    </p:set>
                                    <p:animEffect transition="in" filter="wipe(down)">
                                      <p:cBhvr>
                                        <p:cTn id="70" dur="500"/>
                                        <p:tgtEl>
                                          <p:spTgt spid="31"/>
                                        </p:tgtEl>
                                      </p:cBhvr>
                                    </p:animEffect>
                                  </p:childTnLst>
                                </p:cTn>
                              </p:par>
                              <p:par>
                                <p:cTn id="71" presetID="2" presetClass="entr" presetSubtype="12" decel="100000" fill="hold" nodeType="withEffect">
                                  <p:stCondLst>
                                    <p:cond delay="500"/>
                                  </p:stCondLst>
                                  <p:childTnLst>
                                    <p:set>
                                      <p:cBhvr>
                                        <p:cTn id="72" dur="1" fill="hold">
                                          <p:stCondLst>
                                            <p:cond delay="0"/>
                                          </p:stCondLst>
                                        </p:cTn>
                                        <p:tgtEl>
                                          <p:spTgt spid="37"/>
                                        </p:tgtEl>
                                        <p:attrNameLst>
                                          <p:attrName>style.visibility</p:attrName>
                                        </p:attrNameLst>
                                      </p:cBhvr>
                                      <p:to>
                                        <p:strVal val="visible"/>
                                      </p:to>
                                    </p:set>
                                    <p:anim calcmode="lin" valueType="num">
                                      <p:cBhvr additive="base">
                                        <p:cTn id="73" dur="1500" fill="hold"/>
                                        <p:tgtEl>
                                          <p:spTgt spid="37"/>
                                        </p:tgtEl>
                                        <p:attrNameLst>
                                          <p:attrName>ppt_x</p:attrName>
                                        </p:attrNameLst>
                                      </p:cBhvr>
                                      <p:tavLst>
                                        <p:tav tm="0">
                                          <p:val>
                                            <p:strVal val="0-#ppt_w/2"/>
                                          </p:val>
                                        </p:tav>
                                        <p:tav tm="100000">
                                          <p:val>
                                            <p:strVal val="#ppt_x"/>
                                          </p:val>
                                        </p:tav>
                                      </p:tavLst>
                                    </p:anim>
                                    <p:anim calcmode="lin" valueType="num">
                                      <p:cBhvr additive="base">
                                        <p:cTn id="74" dur="1500" fill="hold"/>
                                        <p:tgtEl>
                                          <p:spTgt spid="3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p:bldP spid="14" grpId="0" animBg="1"/>
      <p:bldP spid="3" grpId="0"/>
      <p:bldP spid="3"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市场前景</a:t>
            </a:r>
          </a:p>
        </p:txBody>
      </p:sp>
      <p:pic>
        <p:nvPicPr>
          <p:cNvPr id="6" name="3"/>
          <p:cNvPicPr>
            <a:picLocks noChangeAspect="1"/>
          </p:cNvPicPr>
          <p:nvPr/>
        </p:nvPicPr>
        <p:blipFill rotWithShape="1">
          <a:blip r:embed="rId4" cstate="screen"/>
          <a:srcRect/>
          <a:stretch>
            <a:fillRect/>
          </a:stretch>
        </p:blipFill>
        <p:spPr>
          <a:xfrm>
            <a:off x="158312" y="64984"/>
            <a:ext cx="877549" cy="1499409"/>
          </a:xfrm>
          <a:prstGeom prst="rect">
            <a:avLst/>
          </a:prstGeom>
        </p:spPr>
      </p:pic>
      <p:grpSp>
        <p:nvGrpSpPr>
          <p:cNvPr id="151" name="组合 150"/>
          <p:cNvGrpSpPr/>
          <p:nvPr/>
        </p:nvGrpSpPr>
        <p:grpSpPr>
          <a:xfrm>
            <a:off x="7623706" y="1030664"/>
            <a:ext cx="1253614" cy="4967148"/>
            <a:chOff x="5768551" y="2516964"/>
            <a:chExt cx="1253614" cy="4967148"/>
          </a:xfrm>
        </p:grpSpPr>
        <p:pic>
          <p:nvPicPr>
            <p:cNvPr id="152" name="图片 151"/>
            <p:cNvPicPr>
              <a:picLocks noChangeAspect="1"/>
            </p:cNvPicPr>
            <p:nvPr/>
          </p:nvPicPr>
          <p:blipFill>
            <a:blip r:embed="rId5"/>
            <a:stretch>
              <a:fillRect/>
            </a:stretch>
          </p:blipFill>
          <p:spPr>
            <a:xfrm>
              <a:off x="5768551" y="2516964"/>
              <a:ext cx="1253614" cy="4967148"/>
            </a:xfrm>
            <a:prstGeom prst="rect">
              <a:avLst/>
            </a:prstGeom>
          </p:spPr>
        </p:pic>
        <p:sp>
          <p:nvSpPr>
            <p:cNvPr id="153" name="文本框 152"/>
            <p:cNvSpPr txBox="1"/>
            <p:nvPr/>
          </p:nvSpPr>
          <p:spPr>
            <a:xfrm>
              <a:off x="5856515" y="3087084"/>
              <a:ext cx="1046788" cy="400110"/>
            </a:xfrm>
            <a:prstGeom prst="rect">
              <a:avLst/>
            </a:prstGeom>
            <a:noFill/>
          </p:spPr>
          <p:txBody>
            <a:bodyPr wrap="square" rtlCol="0">
              <a:spAutoFit/>
            </a:bodyPr>
            <a:lstStyle/>
            <a:p>
              <a:pPr algn="ctr"/>
              <a:r>
                <a:rPr lang="en-US" altLang="zh-CN" sz="2000" b="1" dirty="0">
                  <a:solidFill>
                    <a:srgbClr val="84FFFF"/>
                  </a:solidFill>
                  <a:effectLst>
                    <a:reflection blurRad="6350" stA="17000" endPos="45500" dir="5400000" sy="-100000" algn="bl" rotWithShape="0"/>
                  </a:effectLst>
                  <a:cs typeface="+mn-ea"/>
                  <a:sym typeface="+mn-lt"/>
                </a:rPr>
                <a:t>70%</a:t>
              </a:r>
              <a:endParaRPr lang="zh-CN" altLang="en-US" sz="2000" b="1" dirty="0">
                <a:solidFill>
                  <a:srgbClr val="84FFFF"/>
                </a:solidFill>
                <a:effectLst>
                  <a:reflection blurRad="6350" stA="17000" endPos="45500" dir="5400000" sy="-100000" algn="bl" rotWithShape="0"/>
                </a:effectLst>
                <a:cs typeface="+mn-ea"/>
                <a:sym typeface="+mn-lt"/>
              </a:endParaRPr>
            </a:p>
          </p:txBody>
        </p:sp>
      </p:grpSp>
      <p:grpSp>
        <p:nvGrpSpPr>
          <p:cNvPr id="154" name="组合 153"/>
          <p:cNvGrpSpPr/>
          <p:nvPr/>
        </p:nvGrpSpPr>
        <p:grpSpPr>
          <a:xfrm>
            <a:off x="6652420" y="599588"/>
            <a:ext cx="1253614" cy="4967148"/>
            <a:chOff x="4796093" y="1890852"/>
            <a:chExt cx="1253614" cy="4967148"/>
          </a:xfrm>
        </p:grpSpPr>
        <p:pic>
          <p:nvPicPr>
            <p:cNvPr id="155" name="图片 154"/>
            <p:cNvPicPr>
              <a:picLocks noChangeAspect="1"/>
            </p:cNvPicPr>
            <p:nvPr/>
          </p:nvPicPr>
          <p:blipFill>
            <a:blip r:embed="rId5"/>
            <a:stretch>
              <a:fillRect/>
            </a:stretch>
          </p:blipFill>
          <p:spPr>
            <a:xfrm>
              <a:off x="4796093" y="1890852"/>
              <a:ext cx="1253614" cy="4967148"/>
            </a:xfrm>
            <a:prstGeom prst="rect">
              <a:avLst/>
            </a:prstGeom>
          </p:spPr>
        </p:pic>
        <p:sp>
          <p:nvSpPr>
            <p:cNvPr id="156" name="文本框 155"/>
            <p:cNvSpPr txBox="1"/>
            <p:nvPr/>
          </p:nvSpPr>
          <p:spPr>
            <a:xfrm>
              <a:off x="4890489" y="2449652"/>
              <a:ext cx="1046788" cy="400110"/>
            </a:xfrm>
            <a:prstGeom prst="rect">
              <a:avLst/>
            </a:prstGeom>
            <a:noFill/>
          </p:spPr>
          <p:txBody>
            <a:bodyPr wrap="square" rtlCol="0">
              <a:spAutoFit/>
            </a:bodyPr>
            <a:lstStyle/>
            <a:p>
              <a:pPr algn="ctr"/>
              <a:r>
                <a:rPr lang="en-US" altLang="zh-CN" sz="2000" b="1" dirty="0">
                  <a:solidFill>
                    <a:srgbClr val="84FFFF"/>
                  </a:solidFill>
                  <a:effectLst>
                    <a:reflection blurRad="6350" stA="17000" endPos="45500" dir="5400000" sy="-100000" algn="bl" rotWithShape="0"/>
                  </a:effectLst>
                  <a:cs typeface="+mn-ea"/>
                  <a:sym typeface="+mn-lt"/>
                </a:rPr>
                <a:t>81%</a:t>
              </a:r>
              <a:endParaRPr lang="zh-CN" altLang="en-US" sz="2000" b="1" dirty="0">
                <a:solidFill>
                  <a:srgbClr val="84FFFF"/>
                </a:solidFill>
                <a:effectLst>
                  <a:reflection blurRad="6350" stA="17000" endPos="45500" dir="5400000" sy="-100000" algn="bl" rotWithShape="0"/>
                </a:effectLst>
                <a:cs typeface="+mn-ea"/>
                <a:sym typeface="+mn-lt"/>
              </a:endParaRPr>
            </a:p>
          </p:txBody>
        </p:sp>
      </p:grpSp>
      <p:grpSp>
        <p:nvGrpSpPr>
          <p:cNvPr id="157" name="组合 156"/>
          <p:cNvGrpSpPr/>
          <p:nvPr/>
        </p:nvGrpSpPr>
        <p:grpSpPr>
          <a:xfrm>
            <a:off x="6155068" y="1865236"/>
            <a:ext cx="1253614" cy="4967148"/>
            <a:chOff x="4299913" y="3351536"/>
            <a:chExt cx="1253614" cy="4967148"/>
          </a:xfrm>
        </p:grpSpPr>
        <p:pic>
          <p:nvPicPr>
            <p:cNvPr id="158" name="图片 157"/>
            <p:cNvPicPr>
              <a:picLocks noChangeAspect="1"/>
            </p:cNvPicPr>
            <p:nvPr/>
          </p:nvPicPr>
          <p:blipFill>
            <a:blip r:embed="rId5"/>
            <a:stretch>
              <a:fillRect/>
            </a:stretch>
          </p:blipFill>
          <p:spPr>
            <a:xfrm>
              <a:off x="4299913" y="3351536"/>
              <a:ext cx="1253614" cy="4967148"/>
            </a:xfrm>
            <a:prstGeom prst="rect">
              <a:avLst/>
            </a:prstGeom>
          </p:spPr>
        </p:pic>
        <p:sp>
          <p:nvSpPr>
            <p:cNvPr id="159" name="文本框 158"/>
            <p:cNvSpPr txBox="1"/>
            <p:nvPr/>
          </p:nvSpPr>
          <p:spPr>
            <a:xfrm>
              <a:off x="4379331" y="3893092"/>
              <a:ext cx="1046788" cy="400110"/>
            </a:xfrm>
            <a:prstGeom prst="rect">
              <a:avLst/>
            </a:prstGeom>
            <a:noFill/>
          </p:spPr>
          <p:txBody>
            <a:bodyPr wrap="square" rtlCol="0">
              <a:spAutoFit/>
            </a:bodyPr>
            <a:lstStyle/>
            <a:p>
              <a:pPr algn="ctr"/>
              <a:r>
                <a:rPr lang="en-US" altLang="zh-CN" sz="2000" b="1" dirty="0">
                  <a:solidFill>
                    <a:srgbClr val="84FFFF"/>
                  </a:solidFill>
                  <a:effectLst>
                    <a:reflection blurRad="6350" stA="17000" endPos="45500" dir="5400000" sy="-100000" algn="bl" rotWithShape="0"/>
                  </a:effectLst>
                  <a:cs typeface="+mn-ea"/>
                  <a:sym typeface="+mn-lt"/>
                </a:rPr>
                <a:t>60%</a:t>
              </a:r>
              <a:endParaRPr lang="zh-CN" altLang="en-US" sz="2000" b="1" dirty="0">
                <a:solidFill>
                  <a:srgbClr val="84FFFF"/>
                </a:solidFill>
                <a:effectLst>
                  <a:reflection blurRad="6350" stA="17000" endPos="45500" dir="5400000" sy="-100000" algn="bl" rotWithShape="0"/>
                </a:effectLst>
                <a:cs typeface="+mn-ea"/>
                <a:sym typeface="+mn-lt"/>
              </a:endParaRPr>
            </a:p>
          </p:txBody>
        </p:sp>
      </p:grpSp>
      <p:pic>
        <p:nvPicPr>
          <p:cNvPr id="160" name="图片 159"/>
          <p:cNvPicPr>
            <a:picLocks noChangeAspect="1"/>
          </p:cNvPicPr>
          <p:nvPr/>
        </p:nvPicPr>
        <p:blipFill rotWithShape="1">
          <a:blip r:embed="rId6" cstate="screen">
            <a:extLst>
              <a:ext uri="{BEBA8EAE-BF5A-486C-A8C5-ECC9F3942E4B}">
                <a14:imgProps xmlns:a14="http://schemas.microsoft.com/office/drawing/2010/main">
                  <a14:imgLayer r:embed="rId7">
                    <a14:imgEffect>
                      <a14:brightnessContrast bright="20000" contrast="40000"/>
                    </a14:imgEffect>
                  </a14:imgLayer>
                </a14:imgProps>
              </a:ext>
            </a:extLst>
          </a:blip>
          <a:srcRect/>
          <a:stretch>
            <a:fillRect/>
          </a:stretch>
        </p:blipFill>
        <p:spPr>
          <a:xfrm>
            <a:off x="8631796" y="0"/>
            <a:ext cx="3350250" cy="6865403"/>
          </a:xfrm>
          <a:prstGeom prst="rect">
            <a:avLst/>
          </a:prstGeom>
          <a:effectLst>
            <a:outerShdw blurRad="292100" dist="177800" dir="4200000" algn="tl" rotWithShape="0">
              <a:prstClr val="black">
                <a:alpha val="40000"/>
              </a:prstClr>
            </a:outerShdw>
          </a:effectLst>
        </p:spPr>
      </p:pic>
      <p:sp>
        <p:nvSpPr>
          <p:cNvPr id="161" name="Rectangle 91"/>
          <p:cNvSpPr/>
          <p:nvPr>
            <p:custDataLst>
              <p:tags r:id="rId1"/>
            </p:custDataLst>
          </p:nvPr>
        </p:nvSpPr>
        <p:spPr>
          <a:xfrm>
            <a:off x="977866" y="1892952"/>
            <a:ext cx="5155719" cy="1252003"/>
          </a:xfrm>
          <a:prstGeom prst="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3200" b="0" i="0" u="none" strike="noStrike" kern="0" cap="none" spc="-150" normalizeH="0" baseline="0" noProof="0" dirty="0">
                <a:ln>
                  <a:noFill/>
                </a:ln>
                <a:solidFill>
                  <a:srgbClr val="84FFFF"/>
                </a:solidFill>
                <a:effectLst/>
                <a:uLnTx/>
                <a:uFillTx/>
                <a:cs typeface="+mn-ea"/>
                <a:sym typeface="+mn-lt"/>
              </a:rPr>
              <a:t>Goals, Strategies</a:t>
            </a:r>
          </a:p>
          <a:p>
            <a:pPr marL="0" marR="0" lvl="0" indent="0" defTabSz="914400" eaLnBrk="1" fontAlgn="auto" latinLnBrk="0" hangingPunct="1">
              <a:lnSpc>
                <a:spcPct val="100000"/>
              </a:lnSpc>
              <a:spcBef>
                <a:spcPts val="0"/>
              </a:spcBef>
              <a:spcAft>
                <a:spcPts val="0"/>
              </a:spcAft>
              <a:buClrTx/>
              <a:buSzTx/>
              <a:buFontTx/>
              <a:buNone/>
              <a:defRPr/>
            </a:pPr>
            <a:r>
              <a:rPr kumimoji="0" lang="en-US" sz="3200" b="1" i="0" u="none" strike="noStrike" kern="0" cap="none" spc="-150" normalizeH="0" baseline="0" noProof="0" dirty="0">
                <a:ln>
                  <a:noFill/>
                </a:ln>
                <a:solidFill>
                  <a:srgbClr val="84FFFF"/>
                </a:solidFill>
                <a:effectLst/>
                <a:uLnTx/>
                <a:uFillTx/>
                <a:cs typeface="+mn-ea"/>
                <a:sym typeface="+mn-lt"/>
              </a:rPr>
              <a:t>Content And Marketing</a:t>
            </a:r>
          </a:p>
        </p:txBody>
      </p:sp>
      <p:sp>
        <p:nvSpPr>
          <p:cNvPr id="162" name="Rectangle 92"/>
          <p:cNvSpPr/>
          <p:nvPr>
            <p:custDataLst>
              <p:tags r:id="rId2"/>
            </p:custDataLst>
          </p:nvPr>
        </p:nvSpPr>
        <p:spPr>
          <a:xfrm>
            <a:off x="1037535" y="3077555"/>
            <a:ext cx="4511040" cy="254277"/>
          </a:xfrm>
          <a:prstGeom prst="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defRPr/>
            </a:pPr>
            <a:r>
              <a:rPr kumimoji="0" lang="en-US" sz="1100" b="0" i="0" u="none" strike="noStrike" kern="0" cap="none" spc="0" normalizeH="0" baseline="0" noProof="0" dirty="0">
                <a:ln>
                  <a:noFill/>
                </a:ln>
                <a:solidFill>
                  <a:prstClr val="white"/>
                </a:solidFill>
                <a:effectLst/>
                <a:uLnTx/>
                <a:uFillTx/>
                <a:cs typeface="+mn-ea"/>
                <a:sym typeface="+mn-lt"/>
              </a:rPr>
              <a:t>Put Your Great Subtitle Here</a:t>
            </a:r>
          </a:p>
        </p:txBody>
      </p:sp>
      <p:sp>
        <p:nvSpPr>
          <p:cNvPr id="163" name="Rectangle 93"/>
          <p:cNvSpPr/>
          <p:nvPr/>
        </p:nvSpPr>
        <p:spPr>
          <a:xfrm>
            <a:off x="1805162" y="3892709"/>
            <a:ext cx="1338227" cy="646331"/>
          </a:xfrm>
          <a:prstGeom prst="rect">
            <a:avLst/>
          </a:prstGeom>
          <a:noFill/>
          <a:ln>
            <a:noFill/>
            <a:prstDash val="dash"/>
          </a:ln>
        </p:spPr>
        <p:txBody>
          <a:bodyPr wrap="square" anchor="ctr">
            <a:spAutoFit/>
          </a:bodyPr>
          <a:lstStyle/>
          <a:p>
            <a:pPr>
              <a:buClr>
                <a:srgbClr val="E24848"/>
              </a:buClr>
              <a:defRPr/>
            </a:pPr>
            <a:r>
              <a:rPr lang="zh-CN" altLang="en-US" sz="900" noProof="1">
                <a:solidFill>
                  <a:schemeClr val="bg1"/>
                </a:solidFill>
                <a:cs typeface="+mn-ea"/>
                <a:sym typeface="+mn-lt"/>
              </a:rPr>
              <a:t>请替换文字内容，修改文字内容，也可以直接复制你的内容到此。请替换文字内容</a:t>
            </a:r>
            <a:endParaRPr lang="en-US" sz="900" noProof="1">
              <a:solidFill>
                <a:schemeClr val="bg1"/>
              </a:solidFill>
              <a:cs typeface="+mn-ea"/>
              <a:sym typeface="+mn-lt"/>
            </a:endParaRPr>
          </a:p>
        </p:txBody>
      </p:sp>
      <p:sp>
        <p:nvSpPr>
          <p:cNvPr id="164" name="Rectangle 94"/>
          <p:cNvSpPr/>
          <p:nvPr/>
        </p:nvSpPr>
        <p:spPr>
          <a:xfrm>
            <a:off x="4429990" y="3892709"/>
            <a:ext cx="1338227" cy="646331"/>
          </a:xfrm>
          <a:prstGeom prst="rect">
            <a:avLst/>
          </a:prstGeom>
          <a:noFill/>
          <a:ln>
            <a:noFill/>
            <a:prstDash val="dash"/>
          </a:ln>
        </p:spPr>
        <p:txBody>
          <a:bodyPr wrap="square" anchor="ctr">
            <a:spAutoFit/>
          </a:bodyPr>
          <a:lstStyle/>
          <a:p>
            <a:pPr>
              <a:buClr>
                <a:srgbClr val="E24848"/>
              </a:buClr>
              <a:defRPr/>
            </a:pPr>
            <a:r>
              <a:rPr lang="zh-CN" altLang="en-US" sz="900" noProof="1">
                <a:solidFill>
                  <a:schemeClr val="bg1"/>
                </a:solidFill>
                <a:cs typeface="+mn-ea"/>
                <a:sym typeface="+mn-lt"/>
              </a:rPr>
              <a:t>请替换文字内容，修改文字内容，也可以直接复制你的内容到此。请替换文字内容</a:t>
            </a:r>
            <a:endParaRPr lang="en-US" sz="900" noProof="1">
              <a:solidFill>
                <a:schemeClr val="bg1"/>
              </a:solidFill>
              <a:cs typeface="+mn-ea"/>
              <a:sym typeface="+mn-lt"/>
            </a:endParaRPr>
          </a:p>
        </p:txBody>
      </p:sp>
      <p:sp>
        <p:nvSpPr>
          <p:cNvPr id="165" name="Rectangle 95"/>
          <p:cNvSpPr/>
          <p:nvPr/>
        </p:nvSpPr>
        <p:spPr>
          <a:xfrm>
            <a:off x="1805162" y="4966118"/>
            <a:ext cx="1338227" cy="646331"/>
          </a:xfrm>
          <a:prstGeom prst="rect">
            <a:avLst/>
          </a:prstGeom>
          <a:noFill/>
          <a:ln>
            <a:noFill/>
            <a:prstDash val="dash"/>
          </a:ln>
        </p:spPr>
        <p:txBody>
          <a:bodyPr wrap="square" anchor="ctr">
            <a:spAutoFit/>
          </a:bodyPr>
          <a:lstStyle/>
          <a:p>
            <a:pPr>
              <a:buClr>
                <a:srgbClr val="E24848"/>
              </a:buClr>
              <a:defRPr/>
            </a:pPr>
            <a:r>
              <a:rPr lang="zh-CN" altLang="en-US" sz="900" noProof="1">
                <a:solidFill>
                  <a:schemeClr val="bg1"/>
                </a:solidFill>
                <a:cs typeface="+mn-ea"/>
                <a:sym typeface="+mn-lt"/>
              </a:rPr>
              <a:t>请替换文字内容，修改文字内容，也可以直接复制你的内容到此。请替换文字内容</a:t>
            </a:r>
            <a:endParaRPr lang="en-US" sz="900" noProof="1">
              <a:solidFill>
                <a:schemeClr val="bg1"/>
              </a:solidFill>
              <a:cs typeface="+mn-ea"/>
              <a:sym typeface="+mn-lt"/>
            </a:endParaRPr>
          </a:p>
        </p:txBody>
      </p:sp>
      <p:sp>
        <p:nvSpPr>
          <p:cNvPr id="166" name="Rectangle 96"/>
          <p:cNvSpPr/>
          <p:nvPr/>
        </p:nvSpPr>
        <p:spPr>
          <a:xfrm>
            <a:off x="4429990" y="4966118"/>
            <a:ext cx="1338227" cy="646331"/>
          </a:xfrm>
          <a:prstGeom prst="rect">
            <a:avLst/>
          </a:prstGeom>
          <a:noFill/>
          <a:ln>
            <a:noFill/>
            <a:prstDash val="dash"/>
          </a:ln>
        </p:spPr>
        <p:txBody>
          <a:bodyPr wrap="square" anchor="ctr">
            <a:spAutoFit/>
          </a:bodyPr>
          <a:lstStyle/>
          <a:p>
            <a:pPr>
              <a:buClr>
                <a:srgbClr val="E24848"/>
              </a:buClr>
              <a:defRPr/>
            </a:pPr>
            <a:r>
              <a:rPr lang="zh-CN" altLang="en-US" sz="900" noProof="1">
                <a:solidFill>
                  <a:schemeClr val="bg1"/>
                </a:solidFill>
                <a:cs typeface="+mn-ea"/>
                <a:sym typeface="+mn-lt"/>
              </a:rPr>
              <a:t>请替换文字内容，修改文字内容，也可以直接复制你的内容到此。请替换文字内容</a:t>
            </a:r>
            <a:endParaRPr lang="en-US" sz="900" noProof="1">
              <a:solidFill>
                <a:schemeClr val="bg1"/>
              </a:solidFill>
              <a:cs typeface="+mn-ea"/>
              <a:sym typeface="+mn-lt"/>
            </a:endParaRPr>
          </a:p>
        </p:txBody>
      </p:sp>
      <p:grpSp>
        <p:nvGrpSpPr>
          <p:cNvPr id="167" name="Group 97"/>
          <p:cNvGrpSpPr/>
          <p:nvPr/>
        </p:nvGrpSpPr>
        <p:grpSpPr>
          <a:xfrm>
            <a:off x="1080462" y="3998394"/>
            <a:ext cx="486411" cy="419420"/>
            <a:chOff x="8763000" y="873125"/>
            <a:chExt cx="265113" cy="228600"/>
          </a:xfrm>
          <a:solidFill>
            <a:srgbClr val="84FFFF"/>
          </a:solidFill>
        </p:grpSpPr>
        <p:sp>
          <p:nvSpPr>
            <p:cNvPr id="168" name="Freeform 4348"/>
            <p:cNvSpPr/>
            <p:nvPr/>
          </p:nvSpPr>
          <p:spPr bwMode="auto">
            <a:xfrm>
              <a:off x="8763000" y="996950"/>
              <a:ext cx="265113" cy="104775"/>
            </a:xfrm>
            <a:custGeom>
              <a:avLst/>
              <a:gdLst>
                <a:gd name="T0" fmla="*/ 479 w 837"/>
                <a:gd name="T1" fmla="*/ 74 h 329"/>
                <a:gd name="T2" fmla="*/ 478 w 837"/>
                <a:gd name="T3" fmla="*/ 78 h 329"/>
                <a:gd name="T4" fmla="*/ 478 w 837"/>
                <a:gd name="T5" fmla="*/ 81 h 329"/>
                <a:gd name="T6" fmla="*/ 475 w 837"/>
                <a:gd name="T7" fmla="*/ 83 h 329"/>
                <a:gd name="T8" fmla="*/ 474 w 837"/>
                <a:gd name="T9" fmla="*/ 85 h 329"/>
                <a:gd name="T10" fmla="*/ 472 w 837"/>
                <a:gd name="T11" fmla="*/ 87 h 329"/>
                <a:gd name="T12" fmla="*/ 469 w 837"/>
                <a:gd name="T13" fmla="*/ 88 h 329"/>
                <a:gd name="T14" fmla="*/ 467 w 837"/>
                <a:gd name="T15" fmla="*/ 89 h 329"/>
                <a:gd name="T16" fmla="*/ 464 w 837"/>
                <a:gd name="T17" fmla="*/ 89 h 329"/>
                <a:gd name="T18" fmla="*/ 344 w 837"/>
                <a:gd name="T19" fmla="*/ 89 h 329"/>
                <a:gd name="T20" fmla="*/ 341 w 837"/>
                <a:gd name="T21" fmla="*/ 89 h 329"/>
                <a:gd name="T22" fmla="*/ 338 w 837"/>
                <a:gd name="T23" fmla="*/ 88 h 329"/>
                <a:gd name="T24" fmla="*/ 335 w 837"/>
                <a:gd name="T25" fmla="*/ 87 h 329"/>
                <a:gd name="T26" fmla="*/ 333 w 837"/>
                <a:gd name="T27" fmla="*/ 85 h 329"/>
                <a:gd name="T28" fmla="*/ 331 w 837"/>
                <a:gd name="T29" fmla="*/ 83 h 329"/>
                <a:gd name="T30" fmla="*/ 330 w 837"/>
                <a:gd name="T31" fmla="*/ 81 h 329"/>
                <a:gd name="T32" fmla="*/ 329 w 837"/>
                <a:gd name="T33" fmla="*/ 78 h 329"/>
                <a:gd name="T34" fmla="*/ 329 w 837"/>
                <a:gd name="T35" fmla="*/ 74 h 329"/>
                <a:gd name="T36" fmla="*/ 329 w 837"/>
                <a:gd name="T37" fmla="*/ 0 h 329"/>
                <a:gd name="T38" fmla="*/ 0 w 837"/>
                <a:gd name="T39" fmla="*/ 0 h 329"/>
                <a:gd name="T40" fmla="*/ 0 w 837"/>
                <a:gd name="T41" fmla="*/ 314 h 329"/>
                <a:gd name="T42" fmla="*/ 0 w 837"/>
                <a:gd name="T43" fmla="*/ 317 h 329"/>
                <a:gd name="T44" fmla="*/ 1 w 837"/>
                <a:gd name="T45" fmla="*/ 319 h 329"/>
                <a:gd name="T46" fmla="*/ 2 w 837"/>
                <a:gd name="T47" fmla="*/ 323 h 329"/>
                <a:gd name="T48" fmla="*/ 5 w 837"/>
                <a:gd name="T49" fmla="*/ 325 h 329"/>
                <a:gd name="T50" fmla="*/ 7 w 837"/>
                <a:gd name="T51" fmla="*/ 326 h 329"/>
                <a:gd name="T52" fmla="*/ 9 w 837"/>
                <a:gd name="T53" fmla="*/ 328 h 329"/>
                <a:gd name="T54" fmla="*/ 12 w 837"/>
                <a:gd name="T55" fmla="*/ 328 h 329"/>
                <a:gd name="T56" fmla="*/ 14 w 837"/>
                <a:gd name="T57" fmla="*/ 329 h 329"/>
                <a:gd name="T58" fmla="*/ 822 w 837"/>
                <a:gd name="T59" fmla="*/ 329 h 329"/>
                <a:gd name="T60" fmla="*/ 825 w 837"/>
                <a:gd name="T61" fmla="*/ 328 h 329"/>
                <a:gd name="T62" fmla="*/ 828 w 837"/>
                <a:gd name="T63" fmla="*/ 328 h 329"/>
                <a:gd name="T64" fmla="*/ 831 w 837"/>
                <a:gd name="T65" fmla="*/ 326 h 329"/>
                <a:gd name="T66" fmla="*/ 833 w 837"/>
                <a:gd name="T67" fmla="*/ 325 h 329"/>
                <a:gd name="T68" fmla="*/ 835 w 837"/>
                <a:gd name="T69" fmla="*/ 323 h 329"/>
                <a:gd name="T70" fmla="*/ 836 w 837"/>
                <a:gd name="T71" fmla="*/ 319 h 329"/>
                <a:gd name="T72" fmla="*/ 837 w 837"/>
                <a:gd name="T73" fmla="*/ 317 h 329"/>
                <a:gd name="T74" fmla="*/ 837 w 837"/>
                <a:gd name="T75" fmla="*/ 314 h 329"/>
                <a:gd name="T76" fmla="*/ 837 w 837"/>
                <a:gd name="T77" fmla="*/ 0 h 329"/>
                <a:gd name="T78" fmla="*/ 479 w 837"/>
                <a:gd name="T79" fmla="*/ 0 h 329"/>
                <a:gd name="T80" fmla="*/ 479 w 837"/>
                <a:gd name="T81" fmla="*/ 74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37" h="329">
                  <a:moveTo>
                    <a:pt x="479" y="74"/>
                  </a:moveTo>
                  <a:lnTo>
                    <a:pt x="478" y="78"/>
                  </a:lnTo>
                  <a:lnTo>
                    <a:pt x="478" y="81"/>
                  </a:lnTo>
                  <a:lnTo>
                    <a:pt x="475" y="83"/>
                  </a:lnTo>
                  <a:lnTo>
                    <a:pt x="474" y="85"/>
                  </a:lnTo>
                  <a:lnTo>
                    <a:pt x="472" y="87"/>
                  </a:lnTo>
                  <a:lnTo>
                    <a:pt x="469" y="88"/>
                  </a:lnTo>
                  <a:lnTo>
                    <a:pt x="467" y="89"/>
                  </a:lnTo>
                  <a:lnTo>
                    <a:pt x="464" y="89"/>
                  </a:lnTo>
                  <a:lnTo>
                    <a:pt x="344" y="89"/>
                  </a:lnTo>
                  <a:lnTo>
                    <a:pt x="341" y="89"/>
                  </a:lnTo>
                  <a:lnTo>
                    <a:pt x="338" y="88"/>
                  </a:lnTo>
                  <a:lnTo>
                    <a:pt x="335" y="87"/>
                  </a:lnTo>
                  <a:lnTo>
                    <a:pt x="333" y="85"/>
                  </a:lnTo>
                  <a:lnTo>
                    <a:pt x="331" y="83"/>
                  </a:lnTo>
                  <a:lnTo>
                    <a:pt x="330" y="81"/>
                  </a:lnTo>
                  <a:lnTo>
                    <a:pt x="329" y="78"/>
                  </a:lnTo>
                  <a:lnTo>
                    <a:pt x="329" y="74"/>
                  </a:lnTo>
                  <a:lnTo>
                    <a:pt x="329" y="0"/>
                  </a:lnTo>
                  <a:lnTo>
                    <a:pt x="0" y="0"/>
                  </a:lnTo>
                  <a:lnTo>
                    <a:pt x="0" y="314"/>
                  </a:lnTo>
                  <a:lnTo>
                    <a:pt x="0" y="317"/>
                  </a:lnTo>
                  <a:lnTo>
                    <a:pt x="1" y="319"/>
                  </a:lnTo>
                  <a:lnTo>
                    <a:pt x="2" y="323"/>
                  </a:lnTo>
                  <a:lnTo>
                    <a:pt x="5" y="325"/>
                  </a:lnTo>
                  <a:lnTo>
                    <a:pt x="7" y="326"/>
                  </a:lnTo>
                  <a:lnTo>
                    <a:pt x="9" y="328"/>
                  </a:lnTo>
                  <a:lnTo>
                    <a:pt x="12" y="328"/>
                  </a:lnTo>
                  <a:lnTo>
                    <a:pt x="14" y="329"/>
                  </a:lnTo>
                  <a:lnTo>
                    <a:pt x="822" y="329"/>
                  </a:lnTo>
                  <a:lnTo>
                    <a:pt x="825" y="328"/>
                  </a:lnTo>
                  <a:lnTo>
                    <a:pt x="828" y="328"/>
                  </a:lnTo>
                  <a:lnTo>
                    <a:pt x="831" y="326"/>
                  </a:lnTo>
                  <a:lnTo>
                    <a:pt x="833" y="325"/>
                  </a:lnTo>
                  <a:lnTo>
                    <a:pt x="835" y="323"/>
                  </a:lnTo>
                  <a:lnTo>
                    <a:pt x="836" y="319"/>
                  </a:lnTo>
                  <a:lnTo>
                    <a:pt x="837" y="317"/>
                  </a:lnTo>
                  <a:lnTo>
                    <a:pt x="837" y="314"/>
                  </a:lnTo>
                  <a:lnTo>
                    <a:pt x="837" y="0"/>
                  </a:lnTo>
                  <a:lnTo>
                    <a:pt x="479" y="0"/>
                  </a:lnTo>
                  <a:lnTo>
                    <a:pt x="479" y="7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1" i="0" u="none" strike="noStrike" kern="0" cap="none" spc="0" normalizeH="0" baseline="0" noProof="0">
                <a:ln>
                  <a:noFill/>
                </a:ln>
                <a:solidFill>
                  <a:prstClr val="white"/>
                </a:solidFill>
                <a:effectLst/>
                <a:uLnTx/>
                <a:uFillTx/>
                <a:cs typeface="+mn-ea"/>
                <a:sym typeface="+mn-lt"/>
              </a:endParaRPr>
            </a:p>
          </p:txBody>
        </p:sp>
        <p:sp>
          <p:nvSpPr>
            <p:cNvPr id="169" name="Freeform 4349"/>
            <p:cNvSpPr>
              <a:spLocks noEditPoints="1"/>
            </p:cNvSpPr>
            <p:nvPr/>
          </p:nvSpPr>
          <p:spPr bwMode="auto">
            <a:xfrm>
              <a:off x="8763000" y="873125"/>
              <a:ext cx="265113" cy="114300"/>
            </a:xfrm>
            <a:custGeom>
              <a:avLst/>
              <a:gdLst>
                <a:gd name="T0" fmla="*/ 272 w 837"/>
                <a:gd name="T1" fmla="*/ 137 h 359"/>
                <a:gd name="T2" fmla="*/ 278 w 837"/>
                <a:gd name="T3" fmla="*/ 114 h 359"/>
                <a:gd name="T4" fmla="*/ 290 w 837"/>
                <a:gd name="T5" fmla="*/ 92 h 359"/>
                <a:gd name="T6" fmla="*/ 304 w 837"/>
                <a:gd name="T7" fmla="*/ 73 h 359"/>
                <a:gd name="T8" fmla="*/ 322 w 837"/>
                <a:gd name="T9" fmla="*/ 57 h 359"/>
                <a:gd name="T10" fmla="*/ 343 w 837"/>
                <a:gd name="T11" fmla="*/ 44 h 359"/>
                <a:gd name="T12" fmla="*/ 365 w 837"/>
                <a:gd name="T13" fmla="*/ 36 h 359"/>
                <a:gd name="T14" fmla="*/ 391 w 837"/>
                <a:gd name="T15" fmla="*/ 30 h 359"/>
                <a:gd name="T16" fmla="*/ 417 w 837"/>
                <a:gd name="T17" fmla="*/ 30 h 359"/>
                <a:gd name="T18" fmla="*/ 441 w 837"/>
                <a:gd name="T19" fmla="*/ 36 h 359"/>
                <a:gd name="T20" fmla="*/ 465 w 837"/>
                <a:gd name="T21" fmla="*/ 44 h 359"/>
                <a:gd name="T22" fmla="*/ 485 w 837"/>
                <a:gd name="T23" fmla="*/ 57 h 359"/>
                <a:gd name="T24" fmla="*/ 502 w 837"/>
                <a:gd name="T25" fmla="*/ 73 h 359"/>
                <a:gd name="T26" fmla="*/ 517 w 837"/>
                <a:gd name="T27" fmla="*/ 92 h 359"/>
                <a:gd name="T28" fmla="*/ 528 w 837"/>
                <a:gd name="T29" fmla="*/ 114 h 359"/>
                <a:gd name="T30" fmla="*/ 535 w 837"/>
                <a:gd name="T31" fmla="*/ 137 h 359"/>
                <a:gd name="T32" fmla="*/ 270 w 837"/>
                <a:gd name="T33" fmla="*/ 149 h 359"/>
                <a:gd name="T34" fmla="*/ 567 w 837"/>
                <a:gd name="T35" fmla="*/ 149 h 359"/>
                <a:gd name="T36" fmla="*/ 562 w 837"/>
                <a:gd name="T37" fmla="*/ 119 h 359"/>
                <a:gd name="T38" fmla="*/ 551 w 837"/>
                <a:gd name="T39" fmla="*/ 91 h 359"/>
                <a:gd name="T40" fmla="*/ 535 w 837"/>
                <a:gd name="T41" fmla="*/ 65 h 359"/>
                <a:gd name="T42" fmla="*/ 515 w 837"/>
                <a:gd name="T43" fmla="*/ 43 h 359"/>
                <a:gd name="T44" fmla="*/ 491 w 837"/>
                <a:gd name="T45" fmla="*/ 25 h 359"/>
                <a:gd name="T46" fmla="*/ 465 w 837"/>
                <a:gd name="T47" fmla="*/ 11 h 359"/>
                <a:gd name="T48" fmla="*/ 436 w 837"/>
                <a:gd name="T49" fmla="*/ 2 h 359"/>
                <a:gd name="T50" fmla="*/ 404 w 837"/>
                <a:gd name="T51" fmla="*/ 0 h 359"/>
                <a:gd name="T52" fmla="*/ 372 w 837"/>
                <a:gd name="T53" fmla="*/ 2 h 359"/>
                <a:gd name="T54" fmla="*/ 343 w 837"/>
                <a:gd name="T55" fmla="*/ 11 h 359"/>
                <a:gd name="T56" fmla="*/ 315 w 837"/>
                <a:gd name="T57" fmla="*/ 25 h 359"/>
                <a:gd name="T58" fmla="*/ 291 w 837"/>
                <a:gd name="T59" fmla="*/ 43 h 359"/>
                <a:gd name="T60" fmla="*/ 272 w 837"/>
                <a:gd name="T61" fmla="*/ 65 h 359"/>
                <a:gd name="T62" fmla="*/ 256 w 837"/>
                <a:gd name="T63" fmla="*/ 91 h 359"/>
                <a:gd name="T64" fmla="*/ 245 w 837"/>
                <a:gd name="T65" fmla="*/ 119 h 359"/>
                <a:gd name="T66" fmla="*/ 240 w 837"/>
                <a:gd name="T67" fmla="*/ 149 h 359"/>
                <a:gd name="T68" fmla="*/ 12 w 837"/>
                <a:gd name="T69" fmla="*/ 150 h 359"/>
                <a:gd name="T70" fmla="*/ 7 w 837"/>
                <a:gd name="T71" fmla="*/ 152 h 359"/>
                <a:gd name="T72" fmla="*/ 2 w 837"/>
                <a:gd name="T73" fmla="*/ 156 h 359"/>
                <a:gd name="T74" fmla="*/ 0 w 837"/>
                <a:gd name="T75" fmla="*/ 162 h 359"/>
                <a:gd name="T76" fmla="*/ 0 w 837"/>
                <a:gd name="T77" fmla="*/ 359 h 359"/>
                <a:gd name="T78" fmla="*/ 329 w 837"/>
                <a:gd name="T79" fmla="*/ 314 h 359"/>
                <a:gd name="T80" fmla="*/ 330 w 837"/>
                <a:gd name="T81" fmla="*/ 308 h 359"/>
                <a:gd name="T82" fmla="*/ 333 w 837"/>
                <a:gd name="T83" fmla="*/ 304 h 359"/>
                <a:gd name="T84" fmla="*/ 338 w 837"/>
                <a:gd name="T85" fmla="*/ 300 h 359"/>
                <a:gd name="T86" fmla="*/ 344 w 837"/>
                <a:gd name="T87" fmla="*/ 299 h 359"/>
                <a:gd name="T88" fmla="*/ 467 w 837"/>
                <a:gd name="T89" fmla="*/ 299 h 359"/>
                <a:gd name="T90" fmla="*/ 472 w 837"/>
                <a:gd name="T91" fmla="*/ 302 h 359"/>
                <a:gd name="T92" fmla="*/ 475 w 837"/>
                <a:gd name="T93" fmla="*/ 306 h 359"/>
                <a:gd name="T94" fmla="*/ 478 w 837"/>
                <a:gd name="T95" fmla="*/ 312 h 359"/>
                <a:gd name="T96" fmla="*/ 479 w 837"/>
                <a:gd name="T97" fmla="*/ 359 h 359"/>
                <a:gd name="T98" fmla="*/ 837 w 837"/>
                <a:gd name="T99" fmla="*/ 164 h 359"/>
                <a:gd name="T100" fmla="*/ 836 w 837"/>
                <a:gd name="T101" fmla="*/ 159 h 359"/>
                <a:gd name="T102" fmla="*/ 833 w 837"/>
                <a:gd name="T103" fmla="*/ 154 h 359"/>
                <a:gd name="T104" fmla="*/ 828 w 837"/>
                <a:gd name="T105" fmla="*/ 151 h 359"/>
                <a:gd name="T106" fmla="*/ 822 w 837"/>
                <a:gd name="T107" fmla="*/ 149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37" h="359">
                  <a:moveTo>
                    <a:pt x="270" y="149"/>
                  </a:moveTo>
                  <a:lnTo>
                    <a:pt x="272" y="137"/>
                  </a:lnTo>
                  <a:lnTo>
                    <a:pt x="274" y="125"/>
                  </a:lnTo>
                  <a:lnTo>
                    <a:pt x="278" y="114"/>
                  </a:lnTo>
                  <a:lnTo>
                    <a:pt x="284" y="102"/>
                  </a:lnTo>
                  <a:lnTo>
                    <a:pt x="290" y="92"/>
                  </a:lnTo>
                  <a:lnTo>
                    <a:pt x="297" y="82"/>
                  </a:lnTo>
                  <a:lnTo>
                    <a:pt x="304" y="73"/>
                  </a:lnTo>
                  <a:lnTo>
                    <a:pt x="313" y="64"/>
                  </a:lnTo>
                  <a:lnTo>
                    <a:pt x="322" y="57"/>
                  </a:lnTo>
                  <a:lnTo>
                    <a:pt x="332" y="49"/>
                  </a:lnTo>
                  <a:lnTo>
                    <a:pt x="343" y="44"/>
                  </a:lnTo>
                  <a:lnTo>
                    <a:pt x="354" y="39"/>
                  </a:lnTo>
                  <a:lnTo>
                    <a:pt x="365" y="36"/>
                  </a:lnTo>
                  <a:lnTo>
                    <a:pt x="378" y="32"/>
                  </a:lnTo>
                  <a:lnTo>
                    <a:pt x="391" y="30"/>
                  </a:lnTo>
                  <a:lnTo>
                    <a:pt x="404" y="30"/>
                  </a:lnTo>
                  <a:lnTo>
                    <a:pt x="417" y="30"/>
                  </a:lnTo>
                  <a:lnTo>
                    <a:pt x="429" y="32"/>
                  </a:lnTo>
                  <a:lnTo>
                    <a:pt x="441" y="36"/>
                  </a:lnTo>
                  <a:lnTo>
                    <a:pt x="453" y="39"/>
                  </a:lnTo>
                  <a:lnTo>
                    <a:pt x="465" y="44"/>
                  </a:lnTo>
                  <a:lnTo>
                    <a:pt x="475" y="49"/>
                  </a:lnTo>
                  <a:lnTo>
                    <a:pt x="485" y="57"/>
                  </a:lnTo>
                  <a:lnTo>
                    <a:pt x="495" y="64"/>
                  </a:lnTo>
                  <a:lnTo>
                    <a:pt x="502" y="73"/>
                  </a:lnTo>
                  <a:lnTo>
                    <a:pt x="511" y="82"/>
                  </a:lnTo>
                  <a:lnTo>
                    <a:pt x="517" y="92"/>
                  </a:lnTo>
                  <a:lnTo>
                    <a:pt x="524" y="102"/>
                  </a:lnTo>
                  <a:lnTo>
                    <a:pt x="528" y="114"/>
                  </a:lnTo>
                  <a:lnTo>
                    <a:pt x="532" y="125"/>
                  </a:lnTo>
                  <a:lnTo>
                    <a:pt x="535" y="137"/>
                  </a:lnTo>
                  <a:lnTo>
                    <a:pt x="537" y="149"/>
                  </a:lnTo>
                  <a:lnTo>
                    <a:pt x="270" y="149"/>
                  </a:lnTo>
                  <a:close/>
                  <a:moveTo>
                    <a:pt x="822" y="149"/>
                  </a:moveTo>
                  <a:lnTo>
                    <a:pt x="567" y="149"/>
                  </a:lnTo>
                  <a:lnTo>
                    <a:pt x="565" y="134"/>
                  </a:lnTo>
                  <a:lnTo>
                    <a:pt x="562" y="119"/>
                  </a:lnTo>
                  <a:lnTo>
                    <a:pt x="557" y="104"/>
                  </a:lnTo>
                  <a:lnTo>
                    <a:pt x="551" y="91"/>
                  </a:lnTo>
                  <a:lnTo>
                    <a:pt x="544" y="77"/>
                  </a:lnTo>
                  <a:lnTo>
                    <a:pt x="535" y="65"/>
                  </a:lnTo>
                  <a:lnTo>
                    <a:pt x="526" y="54"/>
                  </a:lnTo>
                  <a:lnTo>
                    <a:pt x="515" y="43"/>
                  </a:lnTo>
                  <a:lnTo>
                    <a:pt x="504" y="33"/>
                  </a:lnTo>
                  <a:lnTo>
                    <a:pt x="491" y="25"/>
                  </a:lnTo>
                  <a:lnTo>
                    <a:pt x="479" y="17"/>
                  </a:lnTo>
                  <a:lnTo>
                    <a:pt x="465" y="11"/>
                  </a:lnTo>
                  <a:lnTo>
                    <a:pt x="451" y="7"/>
                  </a:lnTo>
                  <a:lnTo>
                    <a:pt x="436" y="2"/>
                  </a:lnTo>
                  <a:lnTo>
                    <a:pt x="420" y="0"/>
                  </a:lnTo>
                  <a:lnTo>
                    <a:pt x="404" y="0"/>
                  </a:lnTo>
                  <a:lnTo>
                    <a:pt x="388" y="0"/>
                  </a:lnTo>
                  <a:lnTo>
                    <a:pt x="372" y="2"/>
                  </a:lnTo>
                  <a:lnTo>
                    <a:pt x="357" y="7"/>
                  </a:lnTo>
                  <a:lnTo>
                    <a:pt x="343" y="11"/>
                  </a:lnTo>
                  <a:lnTo>
                    <a:pt x="329" y="17"/>
                  </a:lnTo>
                  <a:lnTo>
                    <a:pt x="315" y="25"/>
                  </a:lnTo>
                  <a:lnTo>
                    <a:pt x="303" y="33"/>
                  </a:lnTo>
                  <a:lnTo>
                    <a:pt x="291" y="43"/>
                  </a:lnTo>
                  <a:lnTo>
                    <a:pt x="282" y="54"/>
                  </a:lnTo>
                  <a:lnTo>
                    <a:pt x="272" y="65"/>
                  </a:lnTo>
                  <a:lnTo>
                    <a:pt x="264" y="77"/>
                  </a:lnTo>
                  <a:lnTo>
                    <a:pt x="256" y="91"/>
                  </a:lnTo>
                  <a:lnTo>
                    <a:pt x="251" y="104"/>
                  </a:lnTo>
                  <a:lnTo>
                    <a:pt x="245" y="119"/>
                  </a:lnTo>
                  <a:lnTo>
                    <a:pt x="242" y="134"/>
                  </a:lnTo>
                  <a:lnTo>
                    <a:pt x="240" y="149"/>
                  </a:lnTo>
                  <a:lnTo>
                    <a:pt x="14" y="149"/>
                  </a:lnTo>
                  <a:lnTo>
                    <a:pt x="12" y="150"/>
                  </a:lnTo>
                  <a:lnTo>
                    <a:pt x="9" y="151"/>
                  </a:lnTo>
                  <a:lnTo>
                    <a:pt x="7" y="152"/>
                  </a:lnTo>
                  <a:lnTo>
                    <a:pt x="5" y="154"/>
                  </a:lnTo>
                  <a:lnTo>
                    <a:pt x="2" y="156"/>
                  </a:lnTo>
                  <a:lnTo>
                    <a:pt x="1" y="159"/>
                  </a:lnTo>
                  <a:lnTo>
                    <a:pt x="0" y="162"/>
                  </a:lnTo>
                  <a:lnTo>
                    <a:pt x="0" y="164"/>
                  </a:lnTo>
                  <a:lnTo>
                    <a:pt x="0" y="359"/>
                  </a:lnTo>
                  <a:lnTo>
                    <a:pt x="329" y="359"/>
                  </a:lnTo>
                  <a:lnTo>
                    <a:pt x="329" y="314"/>
                  </a:lnTo>
                  <a:lnTo>
                    <a:pt x="329" y="312"/>
                  </a:lnTo>
                  <a:lnTo>
                    <a:pt x="330" y="308"/>
                  </a:lnTo>
                  <a:lnTo>
                    <a:pt x="331" y="306"/>
                  </a:lnTo>
                  <a:lnTo>
                    <a:pt x="333" y="304"/>
                  </a:lnTo>
                  <a:lnTo>
                    <a:pt x="335" y="302"/>
                  </a:lnTo>
                  <a:lnTo>
                    <a:pt x="338" y="300"/>
                  </a:lnTo>
                  <a:lnTo>
                    <a:pt x="341" y="299"/>
                  </a:lnTo>
                  <a:lnTo>
                    <a:pt x="344" y="299"/>
                  </a:lnTo>
                  <a:lnTo>
                    <a:pt x="464" y="299"/>
                  </a:lnTo>
                  <a:lnTo>
                    <a:pt x="467" y="299"/>
                  </a:lnTo>
                  <a:lnTo>
                    <a:pt x="469" y="300"/>
                  </a:lnTo>
                  <a:lnTo>
                    <a:pt x="472" y="302"/>
                  </a:lnTo>
                  <a:lnTo>
                    <a:pt x="474" y="304"/>
                  </a:lnTo>
                  <a:lnTo>
                    <a:pt x="475" y="306"/>
                  </a:lnTo>
                  <a:lnTo>
                    <a:pt x="478" y="308"/>
                  </a:lnTo>
                  <a:lnTo>
                    <a:pt x="478" y="312"/>
                  </a:lnTo>
                  <a:lnTo>
                    <a:pt x="479" y="314"/>
                  </a:lnTo>
                  <a:lnTo>
                    <a:pt x="479" y="359"/>
                  </a:lnTo>
                  <a:lnTo>
                    <a:pt x="837" y="359"/>
                  </a:lnTo>
                  <a:lnTo>
                    <a:pt x="837" y="164"/>
                  </a:lnTo>
                  <a:lnTo>
                    <a:pt x="837" y="162"/>
                  </a:lnTo>
                  <a:lnTo>
                    <a:pt x="836" y="159"/>
                  </a:lnTo>
                  <a:lnTo>
                    <a:pt x="835" y="156"/>
                  </a:lnTo>
                  <a:lnTo>
                    <a:pt x="833" y="154"/>
                  </a:lnTo>
                  <a:lnTo>
                    <a:pt x="831" y="152"/>
                  </a:lnTo>
                  <a:lnTo>
                    <a:pt x="828" y="151"/>
                  </a:lnTo>
                  <a:lnTo>
                    <a:pt x="825" y="150"/>
                  </a:lnTo>
                  <a:lnTo>
                    <a:pt x="822" y="14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1" i="0" u="none" strike="noStrike" kern="0" cap="none" spc="0" normalizeH="0" baseline="0" noProof="0" dirty="0">
                <a:ln>
                  <a:noFill/>
                </a:ln>
                <a:solidFill>
                  <a:prstClr val="white"/>
                </a:solidFill>
                <a:effectLst/>
                <a:uLnTx/>
                <a:uFillTx/>
                <a:cs typeface="+mn-ea"/>
                <a:sym typeface="+mn-lt"/>
              </a:endParaRPr>
            </a:p>
          </p:txBody>
        </p:sp>
      </p:grpSp>
      <p:grpSp>
        <p:nvGrpSpPr>
          <p:cNvPr id="170" name="Group 100"/>
          <p:cNvGrpSpPr/>
          <p:nvPr/>
        </p:nvGrpSpPr>
        <p:grpSpPr>
          <a:xfrm>
            <a:off x="1033846" y="4969983"/>
            <a:ext cx="538163" cy="533400"/>
            <a:chOff x="3805238" y="5505451"/>
            <a:chExt cx="538163" cy="533400"/>
          </a:xfrm>
          <a:solidFill>
            <a:srgbClr val="84FFFF"/>
          </a:solidFill>
        </p:grpSpPr>
        <p:sp>
          <p:nvSpPr>
            <p:cNvPr id="171" name="Freeform 369"/>
            <p:cNvSpPr/>
            <p:nvPr/>
          </p:nvSpPr>
          <p:spPr bwMode="auto">
            <a:xfrm>
              <a:off x="3805238" y="5505451"/>
              <a:ext cx="538163" cy="195263"/>
            </a:xfrm>
            <a:custGeom>
              <a:avLst/>
              <a:gdLst>
                <a:gd name="T0" fmla="*/ 80 w 678"/>
                <a:gd name="T1" fmla="*/ 247 h 247"/>
                <a:gd name="T2" fmla="*/ 338 w 678"/>
                <a:gd name="T3" fmla="*/ 59 h 247"/>
                <a:gd name="T4" fmla="*/ 596 w 678"/>
                <a:gd name="T5" fmla="*/ 247 h 247"/>
                <a:gd name="T6" fmla="*/ 678 w 678"/>
                <a:gd name="T7" fmla="*/ 247 h 247"/>
                <a:gd name="T8" fmla="*/ 338 w 678"/>
                <a:gd name="T9" fmla="*/ 0 h 247"/>
                <a:gd name="T10" fmla="*/ 0 w 678"/>
                <a:gd name="T11" fmla="*/ 247 h 247"/>
                <a:gd name="T12" fmla="*/ 80 w 678"/>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678" h="247">
                  <a:moveTo>
                    <a:pt x="80" y="247"/>
                  </a:moveTo>
                  <a:lnTo>
                    <a:pt x="338" y="59"/>
                  </a:lnTo>
                  <a:lnTo>
                    <a:pt x="596" y="247"/>
                  </a:lnTo>
                  <a:lnTo>
                    <a:pt x="678" y="247"/>
                  </a:lnTo>
                  <a:lnTo>
                    <a:pt x="338" y="0"/>
                  </a:lnTo>
                  <a:lnTo>
                    <a:pt x="0" y="247"/>
                  </a:lnTo>
                  <a:lnTo>
                    <a:pt x="80" y="247"/>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72" name="Rectangle 370"/>
            <p:cNvSpPr>
              <a:spLocks noChangeArrowheads="1"/>
            </p:cNvSpPr>
            <p:nvPr/>
          </p:nvSpPr>
          <p:spPr bwMode="auto">
            <a:xfrm>
              <a:off x="3871913" y="5934076"/>
              <a:ext cx="4032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73" name="Rectangle 371"/>
            <p:cNvSpPr>
              <a:spLocks noChangeArrowheads="1"/>
            </p:cNvSpPr>
            <p:nvPr/>
          </p:nvSpPr>
          <p:spPr bwMode="auto">
            <a:xfrm>
              <a:off x="3814763" y="5997576"/>
              <a:ext cx="517525"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74" name="Freeform 372"/>
            <p:cNvSpPr/>
            <p:nvPr/>
          </p:nvSpPr>
          <p:spPr bwMode="auto">
            <a:xfrm>
              <a:off x="4079876" y="5784851"/>
              <a:ext cx="31750" cy="65088"/>
            </a:xfrm>
            <a:custGeom>
              <a:avLst/>
              <a:gdLst>
                <a:gd name="T0" fmla="*/ 28 w 41"/>
                <a:gd name="T1" fmla="*/ 11 h 81"/>
                <a:gd name="T2" fmla="*/ 28 w 41"/>
                <a:gd name="T3" fmla="*/ 11 h 81"/>
                <a:gd name="T4" fmla="*/ 16 w 41"/>
                <a:gd name="T5" fmla="*/ 5 h 81"/>
                <a:gd name="T6" fmla="*/ 0 w 41"/>
                <a:gd name="T7" fmla="*/ 0 h 81"/>
                <a:gd name="T8" fmla="*/ 0 w 41"/>
                <a:gd name="T9" fmla="*/ 81 h 81"/>
                <a:gd name="T10" fmla="*/ 0 w 41"/>
                <a:gd name="T11" fmla="*/ 81 h 81"/>
                <a:gd name="T12" fmla="*/ 12 w 41"/>
                <a:gd name="T13" fmla="*/ 80 h 81"/>
                <a:gd name="T14" fmla="*/ 21 w 41"/>
                <a:gd name="T15" fmla="*/ 75 h 81"/>
                <a:gd name="T16" fmla="*/ 30 w 41"/>
                <a:gd name="T17" fmla="*/ 70 h 81"/>
                <a:gd name="T18" fmla="*/ 36 w 41"/>
                <a:gd name="T19" fmla="*/ 62 h 81"/>
                <a:gd name="T20" fmla="*/ 36 w 41"/>
                <a:gd name="T21" fmla="*/ 62 h 81"/>
                <a:gd name="T22" fmla="*/ 39 w 41"/>
                <a:gd name="T23" fmla="*/ 52 h 81"/>
                <a:gd name="T24" fmla="*/ 41 w 41"/>
                <a:gd name="T25" fmla="*/ 41 h 81"/>
                <a:gd name="T26" fmla="*/ 41 w 41"/>
                <a:gd name="T27" fmla="*/ 41 h 81"/>
                <a:gd name="T28" fmla="*/ 41 w 41"/>
                <a:gd name="T29" fmla="*/ 31 h 81"/>
                <a:gd name="T30" fmla="*/ 38 w 41"/>
                <a:gd name="T31" fmla="*/ 23 h 81"/>
                <a:gd name="T32" fmla="*/ 33 w 41"/>
                <a:gd name="T33" fmla="*/ 16 h 81"/>
                <a:gd name="T34" fmla="*/ 28 w 41"/>
                <a:gd name="T35" fmla="*/ 11 h 81"/>
                <a:gd name="T36" fmla="*/ 28 w 41"/>
                <a:gd name="T37"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 h="81">
                  <a:moveTo>
                    <a:pt x="28" y="11"/>
                  </a:moveTo>
                  <a:lnTo>
                    <a:pt x="28" y="11"/>
                  </a:lnTo>
                  <a:lnTo>
                    <a:pt x="16" y="5"/>
                  </a:lnTo>
                  <a:lnTo>
                    <a:pt x="0" y="0"/>
                  </a:lnTo>
                  <a:lnTo>
                    <a:pt x="0" y="81"/>
                  </a:lnTo>
                  <a:lnTo>
                    <a:pt x="0" y="81"/>
                  </a:lnTo>
                  <a:lnTo>
                    <a:pt x="12" y="80"/>
                  </a:lnTo>
                  <a:lnTo>
                    <a:pt x="21" y="75"/>
                  </a:lnTo>
                  <a:lnTo>
                    <a:pt x="30" y="70"/>
                  </a:lnTo>
                  <a:lnTo>
                    <a:pt x="36" y="62"/>
                  </a:lnTo>
                  <a:lnTo>
                    <a:pt x="36" y="62"/>
                  </a:lnTo>
                  <a:lnTo>
                    <a:pt x="39" y="52"/>
                  </a:lnTo>
                  <a:lnTo>
                    <a:pt x="41" y="41"/>
                  </a:lnTo>
                  <a:lnTo>
                    <a:pt x="41" y="41"/>
                  </a:lnTo>
                  <a:lnTo>
                    <a:pt x="41" y="31"/>
                  </a:lnTo>
                  <a:lnTo>
                    <a:pt x="38" y="23"/>
                  </a:lnTo>
                  <a:lnTo>
                    <a:pt x="33" y="16"/>
                  </a:lnTo>
                  <a:lnTo>
                    <a:pt x="28" y="11"/>
                  </a:lnTo>
                  <a:lnTo>
                    <a:pt x="28" y="11"/>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75" name="Freeform 373"/>
            <p:cNvSpPr/>
            <p:nvPr/>
          </p:nvSpPr>
          <p:spPr bwMode="auto">
            <a:xfrm>
              <a:off x="4038601" y="5702301"/>
              <a:ext cx="30163" cy="58738"/>
            </a:xfrm>
            <a:custGeom>
              <a:avLst/>
              <a:gdLst>
                <a:gd name="T0" fmla="*/ 8 w 37"/>
                <a:gd name="T1" fmla="*/ 13 h 74"/>
                <a:gd name="T2" fmla="*/ 8 w 37"/>
                <a:gd name="T3" fmla="*/ 13 h 74"/>
                <a:gd name="T4" fmla="*/ 5 w 37"/>
                <a:gd name="T5" fmla="*/ 20 h 74"/>
                <a:gd name="T6" fmla="*/ 1 w 37"/>
                <a:gd name="T7" fmla="*/ 25 h 74"/>
                <a:gd name="T8" fmla="*/ 0 w 37"/>
                <a:gd name="T9" fmla="*/ 31 h 74"/>
                <a:gd name="T10" fmla="*/ 0 w 37"/>
                <a:gd name="T11" fmla="*/ 38 h 74"/>
                <a:gd name="T12" fmla="*/ 0 w 37"/>
                <a:gd name="T13" fmla="*/ 38 h 74"/>
                <a:gd name="T14" fmla="*/ 0 w 37"/>
                <a:gd name="T15" fmla="*/ 44 h 74"/>
                <a:gd name="T16" fmla="*/ 1 w 37"/>
                <a:gd name="T17" fmla="*/ 51 h 74"/>
                <a:gd name="T18" fmla="*/ 5 w 37"/>
                <a:gd name="T19" fmla="*/ 56 h 74"/>
                <a:gd name="T20" fmla="*/ 10 w 37"/>
                <a:gd name="T21" fmla="*/ 61 h 74"/>
                <a:gd name="T22" fmla="*/ 10 w 37"/>
                <a:gd name="T23" fmla="*/ 61 h 74"/>
                <a:gd name="T24" fmla="*/ 16 w 37"/>
                <a:gd name="T25" fmla="*/ 66 h 74"/>
                <a:gd name="T26" fmla="*/ 21 w 37"/>
                <a:gd name="T27" fmla="*/ 69 h 74"/>
                <a:gd name="T28" fmla="*/ 37 w 37"/>
                <a:gd name="T29" fmla="*/ 74 h 74"/>
                <a:gd name="T30" fmla="*/ 37 w 37"/>
                <a:gd name="T31" fmla="*/ 0 h 74"/>
                <a:gd name="T32" fmla="*/ 37 w 37"/>
                <a:gd name="T33" fmla="*/ 0 h 74"/>
                <a:gd name="T34" fmla="*/ 28 w 37"/>
                <a:gd name="T35" fmla="*/ 2 h 74"/>
                <a:gd name="T36" fmla="*/ 19 w 37"/>
                <a:gd name="T37" fmla="*/ 5 h 74"/>
                <a:gd name="T38" fmla="*/ 13 w 37"/>
                <a:gd name="T39" fmla="*/ 8 h 74"/>
                <a:gd name="T40" fmla="*/ 8 w 37"/>
                <a:gd name="T41" fmla="*/ 13 h 74"/>
                <a:gd name="T42" fmla="*/ 8 w 37"/>
                <a:gd name="T43" fmla="*/ 1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74">
                  <a:moveTo>
                    <a:pt x="8" y="13"/>
                  </a:moveTo>
                  <a:lnTo>
                    <a:pt x="8" y="13"/>
                  </a:lnTo>
                  <a:lnTo>
                    <a:pt x="5" y="20"/>
                  </a:lnTo>
                  <a:lnTo>
                    <a:pt x="1" y="25"/>
                  </a:lnTo>
                  <a:lnTo>
                    <a:pt x="0" y="31"/>
                  </a:lnTo>
                  <a:lnTo>
                    <a:pt x="0" y="38"/>
                  </a:lnTo>
                  <a:lnTo>
                    <a:pt x="0" y="38"/>
                  </a:lnTo>
                  <a:lnTo>
                    <a:pt x="0" y="44"/>
                  </a:lnTo>
                  <a:lnTo>
                    <a:pt x="1" y="51"/>
                  </a:lnTo>
                  <a:lnTo>
                    <a:pt x="5" y="56"/>
                  </a:lnTo>
                  <a:lnTo>
                    <a:pt x="10" y="61"/>
                  </a:lnTo>
                  <a:lnTo>
                    <a:pt x="10" y="61"/>
                  </a:lnTo>
                  <a:lnTo>
                    <a:pt x="16" y="66"/>
                  </a:lnTo>
                  <a:lnTo>
                    <a:pt x="21" y="69"/>
                  </a:lnTo>
                  <a:lnTo>
                    <a:pt x="37" y="74"/>
                  </a:lnTo>
                  <a:lnTo>
                    <a:pt x="37" y="0"/>
                  </a:lnTo>
                  <a:lnTo>
                    <a:pt x="37" y="0"/>
                  </a:lnTo>
                  <a:lnTo>
                    <a:pt x="28" y="2"/>
                  </a:lnTo>
                  <a:lnTo>
                    <a:pt x="19" y="5"/>
                  </a:lnTo>
                  <a:lnTo>
                    <a:pt x="13" y="8"/>
                  </a:lnTo>
                  <a:lnTo>
                    <a:pt x="8" y="13"/>
                  </a:lnTo>
                  <a:lnTo>
                    <a:pt x="8" y="1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76" name="Freeform 374"/>
            <p:cNvSpPr>
              <a:spLocks noEditPoints="1"/>
            </p:cNvSpPr>
            <p:nvPr/>
          </p:nvSpPr>
          <p:spPr bwMode="auto">
            <a:xfrm>
              <a:off x="3933826" y="5640388"/>
              <a:ext cx="280988" cy="279400"/>
            </a:xfrm>
            <a:custGeom>
              <a:avLst/>
              <a:gdLst>
                <a:gd name="T0" fmla="*/ 159 w 355"/>
                <a:gd name="T1" fmla="*/ 0 h 353"/>
                <a:gd name="T2" fmla="*/ 108 w 355"/>
                <a:gd name="T3" fmla="*/ 13 h 353"/>
                <a:gd name="T4" fmla="*/ 64 w 355"/>
                <a:gd name="T5" fmla="*/ 39 h 353"/>
                <a:gd name="T6" fmla="*/ 32 w 355"/>
                <a:gd name="T7" fmla="*/ 77 h 353"/>
                <a:gd name="T8" fmla="*/ 9 w 355"/>
                <a:gd name="T9" fmla="*/ 124 h 353"/>
                <a:gd name="T10" fmla="*/ 0 w 355"/>
                <a:gd name="T11" fmla="*/ 176 h 353"/>
                <a:gd name="T12" fmla="*/ 4 w 355"/>
                <a:gd name="T13" fmla="*/ 212 h 353"/>
                <a:gd name="T14" fmla="*/ 22 w 355"/>
                <a:gd name="T15" fmla="*/ 260 h 353"/>
                <a:gd name="T16" fmla="*/ 53 w 355"/>
                <a:gd name="T17" fmla="*/ 300 h 353"/>
                <a:gd name="T18" fmla="*/ 94 w 355"/>
                <a:gd name="T19" fmla="*/ 331 h 353"/>
                <a:gd name="T20" fmla="*/ 141 w 355"/>
                <a:gd name="T21" fmla="*/ 349 h 353"/>
                <a:gd name="T22" fmla="*/ 177 w 355"/>
                <a:gd name="T23" fmla="*/ 353 h 353"/>
                <a:gd name="T24" fmla="*/ 229 w 355"/>
                <a:gd name="T25" fmla="*/ 345 h 353"/>
                <a:gd name="T26" fmla="*/ 277 w 355"/>
                <a:gd name="T27" fmla="*/ 323 h 353"/>
                <a:gd name="T28" fmla="*/ 314 w 355"/>
                <a:gd name="T29" fmla="*/ 289 h 353"/>
                <a:gd name="T30" fmla="*/ 340 w 355"/>
                <a:gd name="T31" fmla="*/ 245 h 353"/>
                <a:gd name="T32" fmla="*/ 353 w 355"/>
                <a:gd name="T33" fmla="*/ 194 h 353"/>
                <a:gd name="T34" fmla="*/ 353 w 355"/>
                <a:gd name="T35" fmla="*/ 158 h 353"/>
                <a:gd name="T36" fmla="*/ 340 w 355"/>
                <a:gd name="T37" fmla="*/ 108 h 353"/>
                <a:gd name="T38" fmla="*/ 314 w 355"/>
                <a:gd name="T39" fmla="*/ 64 h 353"/>
                <a:gd name="T40" fmla="*/ 277 w 355"/>
                <a:gd name="T41" fmla="*/ 29 h 353"/>
                <a:gd name="T42" fmla="*/ 229 w 355"/>
                <a:gd name="T43" fmla="*/ 6 h 353"/>
                <a:gd name="T44" fmla="*/ 177 w 355"/>
                <a:gd name="T45" fmla="*/ 0 h 353"/>
                <a:gd name="T46" fmla="*/ 228 w 355"/>
                <a:gd name="T47" fmla="*/ 274 h 353"/>
                <a:gd name="T48" fmla="*/ 198 w 355"/>
                <a:gd name="T49" fmla="*/ 284 h 353"/>
                <a:gd name="T50" fmla="*/ 170 w 355"/>
                <a:gd name="T51" fmla="*/ 317 h 353"/>
                <a:gd name="T52" fmla="*/ 149 w 355"/>
                <a:gd name="T53" fmla="*/ 284 h 353"/>
                <a:gd name="T54" fmla="*/ 126 w 355"/>
                <a:gd name="T55" fmla="*/ 273 h 353"/>
                <a:gd name="T56" fmla="*/ 110 w 355"/>
                <a:gd name="T57" fmla="*/ 255 h 353"/>
                <a:gd name="T58" fmla="*/ 103 w 355"/>
                <a:gd name="T59" fmla="*/ 237 h 353"/>
                <a:gd name="T60" fmla="*/ 128 w 355"/>
                <a:gd name="T61" fmla="*/ 212 h 353"/>
                <a:gd name="T62" fmla="*/ 134 w 355"/>
                <a:gd name="T63" fmla="*/ 243 h 353"/>
                <a:gd name="T64" fmla="*/ 148 w 355"/>
                <a:gd name="T65" fmla="*/ 256 h 353"/>
                <a:gd name="T66" fmla="*/ 170 w 355"/>
                <a:gd name="T67" fmla="*/ 180 h 353"/>
                <a:gd name="T68" fmla="*/ 141 w 355"/>
                <a:gd name="T69" fmla="*/ 171 h 353"/>
                <a:gd name="T70" fmla="*/ 121 w 355"/>
                <a:gd name="T71" fmla="*/ 158 h 353"/>
                <a:gd name="T72" fmla="*/ 107 w 355"/>
                <a:gd name="T73" fmla="*/ 129 h 353"/>
                <a:gd name="T74" fmla="*/ 107 w 355"/>
                <a:gd name="T75" fmla="*/ 106 h 353"/>
                <a:gd name="T76" fmla="*/ 121 w 355"/>
                <a:gd name="T77" fmla="*/ 75 h 353"/>
                <a:gd name="T78" fmla="*/ 143 w 355"/>
                <a:gd name="T79" fmla="*/ 60 h 353"/>
                <a:gd name="T80" fmla="*/ 170 w 355"/>
                <a:gd name="T81" fmla="*/ 36 h 353"/>
                <a:gd name="T82" fmla="*/ 185 w 355"/>
                <a:gd name="T83" fmla="*/ 55 h 353"/>
                <a:gd name="T84" fmla="*/ 223 w 355"/>
                <a:gd name="T85" fmla="*/ 67 h 353"/>
                <a:gd name="T86" fmla="*/ 239 w 355"/>
                <a:gd name="T87" fmla="*/ 81 h 353"/>
                <a:gd name="T88" fmla="*/ 249 w 355"/>
                <a:gd name="T89" fmla="*/ 116 h 353"/>
                <a:gd name="T90" fmla="*/ 219 w 355"/>
                <a:gd name="T91" fmla="*/ 104 h 353"/>
                <a:gd name="T92" fmla="*/ 210 w 355"/>
                <a:gd name="T93" fmla="*/ 88 h 353"/>
                <a:gd name="T94" fmla="*/ 185 w 355"/>
                <a:gd name="T95" fmla="*/ 80 h 353"/>
                <a:gd name="T96" fmla="*/ 215 w 355"/>
                <a:gd name="T97" fmla="*/ 163 h 353"/>
                <a:gd name="T98" fmla="*/ 234 w 355"/>
                <a:gd name="T99" fmla="*/ 173 h 353"/>
                <a:gd name="T100" fmla="*/ 252 w 355"/>
                <a:gd name="T101" fmla="*/ 202 h 353"/>
                <a:gd name="T102" fmla="*/ 252 w 355"/>
                <a:gd name="T103" fmla="*/ 235 h 353"/>
                <a:gd name="T104" fmla="*/ 244 w 355"/>
                <a:gd name="T105" fmla="*/ 258 h 353"/>
                <a:gd name="T106" fmla="*/ 228 w 355"/>
                <a:gd name="T107" fmla="*/ 27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 h="353">
                  <a:moveTo>
                    <a:pt x="177" y="0"/>
                  </a:moveTo>
                  <a:lnTo>
                    <a:pt x="177" y="0"/>
                  </a:lnTo>
                  <a:lnTo>
                    <a:pt x="159" y="0"/>
                  </a:lnTo>
                  <a:lnTo>
                    <a:pt x="141" y="3"/>
                  </a:lnTo>
                  <a:lnTo>
                    <a:pt x="125" y="6"/>
                  </a:lnTo>
                  <a:lnTo>
                    <a:pt x="108" y="13"/>
                  </a:lnTo>
                  <a:lnTo>
                    <a:pt x="94" y="21"/>
                  </a:lnTo>
                  <a:lnTo>
                    <a:pt x="79" y="29"/>
                  </a:lnTo>
                  <a:lnTo>
                    <a:pt x="64" y="39"/>
                  </a:lnTo>
                  <a:lnTo>
                    <a:pt x="53" y="50"/>
                  </a:lnTo>
                  <a:lnTo>
                    <a:pt x="41" y="64"/>
                  </a:lnTo>
                  <a:lnTo>
                    <a:pt x="32" y="77"/>
                  </a:lnTo>
                  <a:lnTo>
                    <a:pt x="22" y="91"/>
                  </a:lnTo>
                  <a:lnTo>
                    <a:pt x="15" y="108"/>
                  </a:lnTo>
                  <a:lnTo>
                    <a:pt x="9" y="124"/>
                  </a:lnTo>
                  <a:lnTo>
                    <a:pt x="4" y="140"/>
                  </a:lnTo>
                  <a:lnTo>
                    <a:pt x="2" y="158"/>
                  </a:lnTo>
                  <a:lnTo>
                    <a:pt x="0" y="176"/>
                  </a:lnTo>
                  <a:lnTo>
                    <a:pt x="0" y="176"/>
                  </a:lnTo>
                  <a:lnTo>
                    <a:pt x="2" y="194"/>
                  </a:lnTo>
                  <a:lnTo>
                    <a:pt x="4" y="212"/>
                  </a:lnTo>
                  <a:lnTo>
                    <a:pt x="9" y="229"/>
                  </a:lnTo>
                  <a:lnTo>
                    <a:pt x="15" y="245"/>
                  </a:lnTo>
                  <a:lnTo>
                    <a:pt x="22" y="260"/>
                  </a:lnTo>
                  <a:lnTo>
                    <a:pt x="32" y="274"/>
                  </a:lnTo>
                  <a:lnTo>
                    <a:pt x="41" y="289"/>
                  </a:lnTo>
                  <a:lnTo>
                    <a:pt x="53" y="300"/>
                  </a:lnTo>
                  <a:lnTo>
                    <a:pt x="64" y="312"/>
                  </a:lnTo>
                  <a:lnTo>
                    <a:pt x="79" y="323"/>
                  </a:lnTo>
                  <a:lnTo>
                    <a:pt x="94" y="331"/>
                  </a:lnTo>
                  <a:lnTo>
                    <a:pt x="108" y="338"/>
                  </a:lnTo>
                  <a:lnTo>
                    <a:pt x="125" y="345"/>
                  </a:lnTo>
                  <a:lnTo>
                    <a:pt x="141" y="349"/>
                  </a:lnTo>
                  <a:lnTo>
                    <a:pt x="159" y="351"/>
                  </a:lnTo>
                  <a:lnTo>
                    <a:pt x="177" y="353"/>
                  </a:lnTo>
                  <a:lnTo>
                    <a:pt x="177" y="353"/>
                  </a:lnTo>
                  <a:lnTo>
                    <a:pt x="195" y="351"/>
                  </a:lnTo>
                  <a:lnTo>
                    <a:pt x="213" y="349"/>
                  </a:lnTo>
                  <a:lnTo>
                    <a:pt x="229" y="345"/>
                  </a:lnTo>
                  <a:lnTo>
                    <a:pt x="246" y="338"/>
                  </a:lnTo>
                  <a:lnTo>
                    <a:pt x="262" y="331"/>
                  </a:lnTo>
                  <a:lnTo>
                    <a:pt x="277" y="323"/>
                  </a:lnTo>
                  <a:lnTo>
                    <a:pt x="290" y="312"/>
                  </a:lnTo>
                  <a:lnTo>
                    <a:pt x="303" y="300"/>
                  </a:lnTo>
                  <a:lnTo>
                    <a:pt x="314" y="289"/>
                  </a:lnTo>
                  <a:lnTo>
                    <a:pt x="324" y="274"/>
                  </a:lnTo>
                  <a:lnTo>
                    <a:pt x="332" y="260"/>
                  </a:lnTo>
                  <a:lnTo>
                    <a:pt x="340" y="245"/>
                  </a:lnTo>
                  <a:lnTo>
                    <a:pt x="347" y="229"/>
                  </a:lnTo>
                  <a:lnTo>
                    <a:pt x="350" y="212"/>
                  </a:lnTo>
                  <a:lnTo>
                    <a:pt x="353" y="194"/>
                  </a:lnTo>
                  <a:lnTo>
                    <a:pt x="355" y="176"/>
                  </a:lnTo>
                  <a:lnTo>
                    <a:pt x="355" y="176"/>
                  </a:lnTo>
                  <a:lnTo>
                    <a:pt x="353" y="158"/>
                  </a:lnTo>
                  <a:lnTo>
                    <a:pt x="350" y="140"/>
                  </a:lnTo>
                  <a:lnTo>
                    <a:pt x="347" y="124"/>
                  </a:lnTo>
                  <a:lnTo>
                    <a:pt x="340" y="108"/>
                  </a:lnTo>
                  <a:lnTo>
                    <a:pt x="332" y="91"/>
                  </a:lnTo>
                  <a:lnTo>
                    <a:pt x="324" y="77"/>
                  </a:lnTo>
                  <a:lnTo>
                    <a:pt x="314" y="64"/>
                  </a:lnTo>
                  <a:lnTo>
                    <a:pt x="303" y="50"/>
                  </a:lnTo>
                  <a:lnTo>
                    <a:pt x="290" y="39"/>
                  </a:lnTo>
                  <a:lnTo>
                    <a:pt x="277" y="29"/>
                  </a:lnTo>
                  <a:lnTo>
                    <a:pt x="262" y="21"/>
                  </a:lnTo>
                  <a:lnTo>
                    <a:pt x="246" y="13"/>
                  </a:lnTo>
                  <a:lnTo>
                    <a:pt x="229" y="6"/>
                  </a:lnTo>
                  <a:lnTo>
                    <a:pt x="213" y="3"/>
                  </a:lnTo>
                  <a:lnTo>
                    <a:pt x="195" y="0"/>
                  </a:lnTo>
                  <a:lnTo>
                    <a:pt x="177" y="0"/>
                  </a:lnTo>
                  <a:lnTo>
                    <a:pt x="177" y="0"/>
                  </a:lnTo>
                  <a:close/>
                  <a:moveTo>
                    <a:pt x="228" y="274"/>
                  </a:moveTo>
                  <a:lnTo>
                    <a:pt x="228" y="274"/>
                  </a:lnTo>
                  <a:lnTo>
                    <a:pt x="219" y="278"/>
                  </a:lnTo>
                  <a:lnTo>
                    <a:pt x="210" y="282"/>
                  </a:lnTo>
                  <a:lnTo>
                    <a:pt x="198" y="284"/>
                  </a:lnTo>
                  <a:lnTo>
                    <a:pt x="185" y="286"/>
                  </a:lnTo>
                  <a:lnTo>
                    <a:pt x="185" y="317"/>
                  </a:lnTo>
                  <a:lnTo>
                    <a:pt x="170" y="317"/>
                  </a:lnTo>
                  <a:lnTo>
                    <a:pt x="170" y="286"/>
                  </a:lnTo>
                  <a:lnTo>
                    <a:pt x="170" y="286"/>
                  </a:lnTo>
                  <a:lnTo>
                    <a:pt x="149" y="284"/>
                  </a:lnTo>
                  <a:lnTo>
                    <a:pt x="141" y="281"/>
                  </a:lnTo>
                  <a:lnTo>
                    <a:pt x="133" y="278"/>
                  </a:lnTo>
                  <a:lnTo>
                    <a:pt x="126" y="273"/>
                  </a:lnTo>
                  <a:lnTo>
                    <a:pt x="120" y="268"/>
                  </a:lnTo>
                  <a:lnTo>
                    <a:pt x="113" y="261"/>
                  </a:lnTo>
                  <a:lnTo>
                    <a:pt x="110" y="255"/>
                  </a:lnTo>
                  <a:lnTo>
                    <a:pt x="110" y="255"/>
                  </a:lnTo>
                  <a:lnTo>
                    <a:pt x="105" y="246"/>
                  </a:lnTo>
                  <a:lnTo>
                    <a:pt x="103" y="237"/>
                  </a:lnTo>
                  <a:lnTo>
                    <a:pt x="102" y="225"/>
                  </a:lnTo>
                  <a:lnTo>
                    <a:pt x="100" y="212"/>
                  </a:lnTo>
                  <a:lnTo>
                    <a:pt x="128" y="212"/>
                  </a:lnTo>
                  <a:lnTo>
                    <a:pt x="128" y="212"/>
                  </a:lnTo>
                  <a:lnTo>
                    <a:pt x="130" y="230"/>
                  </a:lnTo>
                  <a:lnTo>
                    <a:pt x="134" y="243"/>
                  </a:lnTo>
                  <a:lnTo>
                    <a:pt x="134" y="243"/>
                  </a:lnTo>
                  <a:lnTo>
                    <a:pt x="141" y="251"/>
                  </a:lnTo>
                  <a:lnTo>
                    <a:pt x="148" y="256"/>
                  </a:lnTo>
                  <a:lnTo>
                    <a:pt x="159" y="261"/>
                  </a:lnTo>
                  <a:lnTo>
                    <a:pt x="170" y="263"/>
                  </a:lnTo>
                  <a:lnTo>
                    <a:pt x="170" y="180"/>
                  </a:lnTo>
                  <a:lnTo>
                    <a:pt x="170" y="180"/>
                  </a:lnTo>
                  <a:lnTo>
                    <a:pt x="154" y="176"/>
                  </a:lnTo>
                  <a:lnTo>
                    <a:pt x="141" y="171"/>
                  </a:lnTo>
                  <a:lnTo>
                    <a:pt x="130" y="165"/>
                  </a:lnTo>
                  <a:lnTo>
                    <a:pt x="121" y="158"/>
                  </a:lnTo>
                  <a:lnTo>
                    <a:pt x="121" y="158"/>
                  </a:lnTo>
                  <a:lnTo>
                    <a:pt x="113" y="150"/>
                  </a:lnTo>
                  <a:lnTo>
                    <a:pt x="108" y="140"/>
                  </a:lnTo>
                  <a:lnTo>
                    <a:pt x="107" y="129"/>
                  </a:lnTo>
                  <a:lnTo>
                    <a:pt x="105" y="117"/>
                  </a:lnTo>
                  <a:lnTo>
                    <a:pt x="105" y="117"/>
                  </a:lnTo>
                  <a:lnTo>
                    <a:pt x="107" y="106"/>
                  </a:lnTo>
                  <a:lnTo>
                    <a:pt x="110" y="95"/>
                  </a:lnTo>
                  <a:lnTo>
                    <a:pt x="115" y="85"/>
                  </a:lnTo>
                  <a:lnTo>
                    <a:pt x="121" y="75"/>
                  </a:lnTo>
                  <a:lnTo>
                    <a:pt x="121" y="75"/>
                  </a:lnTo>
                  <a:lnTo>
                    <a:pt x="131" y="67"/>
                  </a:lnTo>
                  <a:lnTo>
                    <a:pt x="143" y="60"/>
                  </a:lnTo>
                  <a:lnTo>
                    <a:pt x="156" y="57"/>
                  </a:lnTo>
                  <a:lnTo>
                    <a:pt x="170" y="55"/>
                  </a:lnTo>
                  <a:lnTo>
                    <a:pt x="170" y="36"/>
                  </a:lnTo>
                  <a:lnTo>
                    <a:pt x="185" y="36"/>
                  </a:lnTo>
                  <a:lnTo>
                    <a:pt x="185" y="55"/>
                  </a:lnTo>
                  <a:lnTo>
                    <a:pt x="185" y="55"/>
                  </a:lnTo>
                  <a:lnTo>
                    <a:pt x="200" y="57"/>
                  </a:lnTo>
                  <a:lnTo>
                    <a:pt x="211" y="62"/>
                  </a:lnTo>
                  <a:lnTo>
                    <a:pt x="223" y="67"/>
                  </a:lnTo>
                  <a:lnTo>
                    <a:pt x="232" y="73"/>
                  </a:lnTo>
                  <a:lnTo>
                    <a:pt x="232" y="73"/>
                  </a:lnTo>
                  <a:lnTo>
                    <a:pt x="239" y="81"/>
                  </a:lnTo>
                  <a:lnTo>
                    <a:pt x="244" y="93"/>
                  </a:lnTo>
                  <a:lnTo>
                    <a:pt x="247" y="103"/>
                  </a:lnTo>
                  <a:lnTo>
                    <a:pt x="249" y="116"/>
                  </a:lnTo>
                  <a:lnTo>
                    <a:pt x="223" y="116"/>
                  </a:lnTo>
                  <a:lnTo>
                    <a:pt x="223" y="116"/>
                  </a:lnTo>
                  <a:lnTo>
                    <a:pt x="219" y="104"/>
                  </a:lnTo>
                  <a:lnTo>
                    <a:pt x="216" y="96"/>
                  </a:lnTo>
                  <a:lnTo>
                    <a:pt x="216" y="96"/>
                  </a:lnTo>
                  <a:lnTo>
                    <a:pt x="210" y="88"/>
                  </a:lnTo>
                  <a:lnTo>
                    <a:pt x="203" y="83"/>
                  </a:lnTo>
                  <a:lnTo>
                    <a:pt x="195" y="80"/>
                  </a:lnTo>
                  <a:lnTo>
                    <a:pt x="185" y="80"/>
                  </a:lnTo>
                  <a:lnTo>
                    <a:pt x="185" y="153"/>
                  </a:lnTo>
                  <a:lnTo>
                    <a:pt x="185" y="153"/>
                  </a:lnTo>
                  <a:lnTo>
                    <a:pt x="215" y="163"/>
                  </a:lnTo>
                  <a:lnTo>
                    <a:pt x="226" y="168"/>
                  </a:lnTo>
                  <a:lnTo>
                    <a:pt x="234" y="173"/>
                  </a:lnTo>
                  <a:lnTo>
                    <a:pt x="234" y="173"/>
                  </a:lnTo>
                  <a:lnTo>
                    <a:pt x="242" y="181"/>
                  </a:lnTo>
                  <a:lnTo>
                    <a:pt x="249" y="191"/>
                  </a:lnTo>
                  <a:lnTo>
                    <a:pt x="252" y="202"/>
                  </a:lnTo>
                  <a:lnTo>
                    <a:pt x="254" y="215"/>
                  </a:lnTo>
                  <a:lnTo>
                    <a:pt x="254" y="215"/>
                  </a:lnTo>
                  <a:lnTo>
                    <a:pt x="252" y="235"/>
                  </a:lnTo>
                  <a:lnTo>
                    <a:pt x="250" y="243"/>
                  </a:lnTo>
                  <a:lnTo>
                    <a:pt x="247" y="251"/>
                  </a:lnTo>
                  <a:lnTo>
                    <a:pt x="244" y="258"/>
                  </a:lnTo>
                  <a:lnTo>
                    <a:pt x="239" y="263"/>
                  </a:lnTo>
                  <a:lnTo>
                    <a:pt x="234" y="269"/>
                  </a:lnTo>
                  <a:lnTo>
                    <a:pt x="228" y="274"/>
                  </a:lnTo>
                  <a:lnTo>
                    <a:pt x="228" y="27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grpSp>
      <p:grpSp>
        <p:nvGrpSpPr>
          <p:cNvPr id="177" name="Group 107"/>
          <p:cNvGrpSpPr/>
          <p:nvPr/>
        </p:nvGrpSpPr>
        <p:grpSpPr>
          <a:xfrm>
            <a:off x="3740903" y="4003316"/>
            <a:ext cx="536575" cy="409576"/>
            <a:chOff x="6678613" y="4643438"/>
            <a:chExt cx="536575" cy="409576"/>
          </a:xfrm>
          <a:solidFill>
            <a:srgbClr val="84FFFF"/>
          </a:solidFill>
        </p:grpSpPr>
        <p:sp>
          <p:nvSpPr>
            <p:cNvPr id="178" name="Freeform 325"/>
            <p:cNvSpPr>
              <a:spLocks noEditPoints="1"/>
            </p:cNvSpPr>
            <p:nvPr/>
          </p:nvSpPr>
          <p:spPr bwMode="auto">
            <a:xfrm>
              <a:off x="6861176" y="4778376"/>
              <a:ext cx="65088" cy="122238"/>
            </a:xfrm>
            <a:custGeom>
              <a:avLst/>
              <a:gdLst>
                <a:gd name="T0" fmla="*/ 12 w 84"/>
                <a:gd name="T1" fmla="*/ 23 h 153"/>
                <a:gd name="T2" fmla="*/ 23 w 84"/>
                <a:gd name="T3" fmla="*/ 15 h 153"/>
                <a:gd name="T4" fmla="*/ 38 w 84"/>
                <a:gd name="T5" fmla="*/ 11 h 153"/>
                <a:gd name="T6" fmla="*/ 46 w 84"/>
                <a:gd name="T7" fmla="*/ 0 h 153"/>
                <a:gd name="T8" fmla="*/ 46 w 84"/>
                <a:gd name="T9" fmla="*/ 11 h 153"/>
                <a:gd name="T10" fmla="*/ 61 w 84"/>
                <a:gd name="T11" fmla="*/ 15 h 153"/>
                <a:gd name="T12" fmla="*/ 72 w 84"/>
                <a:gd name="T13" fmla="*/ 21 h 153"/>
                <a:gd name="T14" fmla="*/ 75 w 84"/>
                <a:gd name="T15" fmla="*/ 26 h 153"/>
                <a:gd name="T16" fmla="*/ 80 w 84"/>
                <a:gd name="T17" fmla="*/ 37 h 153"/>
                <a:gd name="T18" fmla="*/ 67 w 84"/>
                <a:gd name="T19" fmla="*/ 44 h 153"/>
                <a:gd name="T20" fmla="*/ 66 w 84"/>
                <a:gd name="T21" fmla="*/ 37 h 153"/>
                <a:gd name="T22" fmla="*/ 64 w 84"/>
                <a:gd name="T23" fmla="*/ 33 h 153"/>
                <a:gd name="T24" fmla="*/ 56 w 84"/>
                <a:gd name="T25" fmla="*/ 26 h 153"/>
                <a:gd name="T26" fmla="*/ 46 w 84"/>
                <a:gd name="T27" fmla="*/ 24 h 153"/>
                <a:gd name="T28" fmla="*/ 46 w 84"/>
                <a:gd name="T29" fmla="*/ 65 h 153"/>
                <a:gd name="T30" fmla="*/ 72 w 84"/>
                <a:gd name="T31" fmla="*/ 75 h 153"/>
                <a:gd name="T32" fmla="*/ 77 w 84"/>
                <a:gd name="T33" fmla="*/ 80 h 153"/>
                <a:gd name="T34" fmla="*/ 84 w 84"/>
                <a:gd name="T35" fmla="*/ 91 h 153"/>
                <a:gd name="T36" fmla="*/ 84 w 84"/>
                <a:gd name="T37" fmla="*/ 98 h 153"/>
                <a:gd name="T38" fmla="*/ 80 w 84"/>
                <a:gd name="T39" fmla="*/ 118 h 153"/>
                <a:gd name="T40" fmla="*/ 69 w 84"/>
                <a:gd name="T41" fmla="*/ 131 h 153"/>
                <a:gd name="T42" fmla="*/ 59 w 84"/>
                <a:gd name="T43" fmla="*/ 134 h 153"/>
                <a:gd name="T44" fmla="*/ 46 w 84"/>
                <a:gd name="T45" fmla="*/ 153 h 153"/>
                <a:gd name="T46" fmla="*/ 38 w 84"/>
                <a:gd name="T47" fmla="*/ 137 h 153"/>
                <a:gd name="T48" fmla="*/ 28 w 84"/>
                <a:gd name="T49" fmla="*/ 135 h 153"/>
                <a:gd name="T50" fmla="*/ 10 w 84"/>
                <a:gd name="T51" fmla="*/ 127 h 153"/>
                <a:gd name="T52" fmla="*/ 5 w 84"/>
                <a:gd name="T53" fmla="*/ 119 h 153"/>
                <a:gd name="T54" fmla="*/ 0 w 84"/>
                <a:gd name="T55" fmla="*/ 96 h 153"/>
                <a:gd name="T56" fmla="*/ 15 w 84"/>
                <a:gd name="T57" fmla="*/ 96 h 153"/>
                <a:gd name="T58" fmla="*/ 20 w 84"/>
                <a:gd name="T59" fmla="*/ 114 h 153"/>
                <a:gd name="T60" fmla="*/ 21 w 84"/>
                <a:gd name="T61" fmla="*/ 118 h 153"/>
                <a:gd name="T62" fmla="*/ 31 w 84"/>
                <a:gd name="T63" fmla="*/ 122 h 153"/>
                <a:gd name="T64" fmla="*/ 38 w 84"/>
                <a:gd name="T65" fmla="*/ 78 h 153"/>
                <a:gd name="T66" fmla="*/ 23 w 84"/>
                <a:gd name="T67" fmla="*/ 73 h 153"/>
                <a:gd name="T68" fmla="*/ 12 w 84"/>
                <a:gd name="T69" fmla="*/ 67 h 153"/>
                <a:gd name="T70" fmla="*/ 8 w 84"/>
                <a:gd name="T71" fmla="*/ 62 h 153"/>
                <a:gd name="T72" fmla="*/ 3 w 84"/>
                <a:gd name="T73" fmla="*/ 52 h 153"/>
                <a:gd name="T74" fmla="*/ 3 w 84"/>
                <a:gd name="T75" fmla="*/ 46 h 153"/>
                <a:gd name="T76" fmla="*/ 5 w 84"/>
                <a:gd name="T77" fmla="*/ 33 h 153"/>
                <a:gd name="T78" fmla="*/ 12 w 84"/>
                <a:gd name="T79" fmla="*/ 23 h 153"/>
                <a:gd name="T80" fmla="*/ 23 w 84"/>
                <a:gd name="T81" fmla="*/ 57 h 153"/>
                <a:gd name="T82" fmla="*/ 30 w 84"/>
                <a:gd name="T83" fmla="*/ 60 h 153"/>
                <a:gd name="T84" fmla="*/ 38 w 84"/>
                <a:gd name="T85" fmla="*/ 24 h 153"/>
                <a:gd name="T86" fmla="*/ 30 w 84"/>
                <a:gd name="T87" fmla="*/ 26 h 153"/>
                <a:gd name="T88" fmla="*/ 23 w 84"/>
                <a:gd name="T89" fmla="*/ 31 h 153"/>
                <a:gd name="T90" fmla="*/ 20 w 84"/>
                <a:gd name="T91" fmla="*/ 37 h 153"/>
                <a:gd name="T92" fmla="*/ 18 w 84"/>
                <a:gd name="T93" fmla="*/ 44 h 153"/>
                <a:gd name="T94" fmla="*/ 23 w 84"/>
                <a:gd name="T95" fmla="*/ 57 h 153"/>
                <a:gd name="T96" fmla="*/ 66 w 84"/>
                <a:gd name="T97" fmla="*/ 114 h 153"/>
                <a:gd name="T98" fmla="*/ 69 w 84"/>
                <a:gd name="T99" fmla="*/ 109 h 153"/>
                <a:gd name="T100" fmla="*/ 69 w 84"/>
                <a:gd name="T101" fmla="*/ 103 h 153"/>
                <a:gd name="T102" fmla="*/ 67 w 84"/>
                <a:gd name="T103" fmla="*/ 93 h 153"/>
                <a:gd name="T104" fmla="*/ 61 w 84"/>
                <a:gd name="T105" fmla="*/ 86 h 153"/>
                <a:gd name="T106" fmla="*/ 56 w 84"/>
                <a:gd name="T107" fmla="*/ 83 h 153"/>
                <a:gd name="T108" fmla="*/ 46 w 84"/>
                <a:gd name="T109" fmla="*/ 124 h 153"/>
                <a:gd name="T110" fmla="*/ 52 w 84"/>
                <a:gd name="T111" fmla="*/ 124 h 153"/>
                <a:gd name="T112" fmla="*/ 62 w 84"/>
                <a:gd name="T113" fmla="*/ 119 h 153"/>
                <a:gd name="T114" fmla="*/ 66 w 84"/>
                <a:gd name="T115" fmla="*/ 114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4" h="153">
                  <a:moveTo>
                    <a:pt x="12" y="23"/>
                  </a:moveTo>
                  <a:lnTo>
                    <a:pt x="12" y="23"/>
                  </a:lnTo>
                  <a:lnTo>
                    <a:pt x="18" y="18"/>
                  </a:lnTo>
                  <a:lnTo>
                    <a:pt x="23" y="15"/>
                  </a:lnTo>
                  <a:lnTo>
                    <a:pt x="31" y="13"/>
                  </a:lnTo>
                  <a:lnTo>
                    <a:pt x="38" y="11"/>
                  </a:lnTo>
                  <a:lnTo>
                    <a:pt x="38" y="0"/>
                  </a:lnTo>
                  <a:lnTo>
                    <a:pt x="46" y="0"/>
                  </a:lnTo>
                  <a:lnTo>
                    <a:pt x="46" y="11"/>
                  </a:lnTo>
                  <a:lnTo>
                    <a:pt x="46" y="11"/>
                  </a:lnTo>
                  <a:lnTo>
                    <a:pt x="54" y="13"/>
                  </a:lnTo>
                  <a:lnTo>
                    <a:pt x="61" y="15"/>
                  </a:lnTo>
                  <a:lnTo>
                    <a:pt x="67" y="18"/>
                  </a:lnTo>
                  <a:lnTo>
                    <a:pt x="72" y="21"/>
                  </a:lnTo>
                  <a:lnTo>
                    <a:pt x="72" y="21"/>
                  </a:lnTo>
                  <a:lnTo>
                    <a:pt x="75" y="26"/>
                  </a:lnTo>
                  <a:lnTo>
                    <a:pt x="79" y="31"/>
                  </a:lnTo>
                  <a:lnTo>
                    <a:pt x="80" y="37"/>
                  </a:lnTo>
                  <a:lnTo>
                    <a:pt x="82" y="44"/>
                  </a:lnTo>
                  <a:lnTo>
                    <a:pt x="67" y="44"/>
                  </a:lnTo>
                  <a:lnTo>
                    <a:pt x="67" y="44"/>
                  </a:lnTo>
                  <a:lnTo>
                    <a:pt x="66" y="37"/>
                  </a:lnTo>
                  <a:lnTo>
                    <a:pt x="64" y="33"/>
                  </a:lnTo>
                  <a:lnTo>
                    <a:pt x="64" y="33"/>
                  </a:lnTo>
                  <a:lnTo>
                    <a:pt x="61" y="29"/>
                  </a:lnTo>
                  <a:lnTo>
                    <a:pt x="56" y="26"/>
                  </a:lnTo>
                  <a:lnTo>
                    <a:pt x="52" y="24"/>
                  </a:lnTo>
                  <a:lnTo>
                    <a:pt x="46" y="24"/>
                  </a:lnTo>
                  <a:lnTo>
                    <a:pt x="46" y="65"/>
                  </a:lnTo>
                  <a:lnTo>
                    <a:pt x="46" y="65"/>
                  </a:lnTo>
                  <a:lnTo>
                    <a:pt x="62" y="70"/>
                  </a:lnTo>
                  <a:lnTo>
                    <a:pt x="72" y="75"/>
                  </a:lnTo>
                  <a:lnTo>
                    <a:pt x="72" y="75"/>
                  </a:lnTo>
                  <a:lnTo>
                    <a:pt x="77" y="80"/>
                  </a:lnTo>
                  <a:lnTo>
                    <a:pt x="82" y="85"/>
                  </a:lnTo>
                  <a:lnTo>
                    <a:pt x="84" y="91"/>
                  </a:lnTo>
                  <a:lnTo>
                    <a:pt x="84" y="98"/>
                  </a:lnTo>
                  <a:lnTo>
                    <a:pt x="84" y="98"/>
                  </a:lnTo>
                  <a:lnTo>
                    <a:pt x="84" y="109"/>
                  </a:lnTo>
                  <a:lnTo>
                    <a:pt x="80" y="118"/>
                  </a:lnTo>
                  <a:lnTo>
                    <a:pt x="75" y="124"/>
                  </a:lnTo>
                  <a:lnTo>
                    <a:pt x="69" y="131"/>
                  </a:lnTo>
                  <a:lnTo>
                    <a:pt x="69" y="131"/>
                  </a:lnTo>
                  <a:lnTo>
                    <a:pt x="59" y="134"/>
                  </a:lnTo>
                  <a:lnTo>
                    <a:pt x="46" y="137"/>
                  </a:lnTo>
                  <a:lnTo>
                    <a:pt x="46" y="153"/>
                  </a:lnTo>
                  <a:lnTo>
                    <a:pt x="38" y="153"/>
                  </a:lnTo>
                  <a:lnTo>
                    <a:pt x="38" y="137"/>
                  </a:lnTo>
                  <a:lnTo>
                    <a:pt x="38" y="137"/>
                  </a:lnTo>
                  <a:lnTo>
                    <a:pt x="28" y="135"/>
                  </a:lnTo>
                  <a:lnTo>
                    <a:pt x="18" y="132"/>
                  </a:lnTo>
                  <a:lnTo>
                    <a:pt x="10" y="127"/>
                  </a:lnTo>
                  <a:lnTo>
                    <a:pt x="5" y="119"/>
                  </a:lnTo>
                  <a:lnTo>
                    <a:pt x="5" y="119"/>
                  </a:lnTo>
                  <a:lnTo>
                    <a:pt x="2" y="109"/>
                  </a:lnTo>
                  <a:lnTo>
                    <a:pt x="0" y="96"/>
                  </a:lnTo>
                  <a:lnTo>
                    <a:pt x="15" y="96"/>
                  </a:lnTo>
                  <a:lnTo>
                    <a:pt x="15" y="96"/>
                  </a:lnTo>
                  <a:lnTo>
                    <a:pt x="17" y="106"/>
                  </a:lnTo>
                  <a:lnTo>
                    <a:pt x="20" y="114"/>
                  </a:lnTo>
                  <a:lnTo>
                    <a:pt x="20" y="114"/>
                  </a:lnTo>
                  <a:lnTo>
                    <a:pt x="21" y="118"/>
                  </a:lnTo>
                  <a:lnTo>
                    <a:pt x="26" y="121"/>
                  </a:lnTo>
                  <a:lnTo>
                    <a:pt x="31" y="122"/>
                  </a:lnTo>
                  <a:lnTo>
                    <a:pt x="38" y="124"/>
                  </a:lnTo>
                  <a:lnTo>
                    <a:pt x="38" y="78"/>
                  </a:lnTo>
                  <a:lnTo>
                    <a:pt x="38" y="78"/>
                  </a:lnTo>
                  <a:lnTo>
                    <a:pt x="23" y="73"/>
                  </a:lnTo>
                  <a:lnTo>
                    <a:pt x="17" y="70"/>
                  </a:lnTo>
                  <a:lnTo>
                    <a:pt x="12" y="67"/>
                  </a:lnTo>
                  <a:lnTo>
                    <a:pt x="12" y="67"/>
                  </a:lnTo>
                  <a:lnTo>
                    <a:pt x="8" y="62"/>
                  </a:lnTo>
                  <a:lnTo>
                    <a:pt x="5" y="57"/>
                  </a:lnTo>
                  <a:lnTo>
                    <a:pt x="3" y="52"/>
                  </a:lnTo>
                  <a:lnTo>
                    <a:pt x="3" y="46"/>
                  </a:lnTo>
                  <a:lnTo>
                    <a:pt x="3" y="46"/>
                  </a:lnTo>
                  <a:lnTo>
                    <a:pt x="3" y="39"/>
                  </a:lnTo>
                  <a:lnTo>
                    <a:pt x="5" y="33"/>
                  </a:lnTo>
                  <a:lnTo>
                    <a:pt x="8" y="28"/>
                  </a:lnTo>
                  <a:lnTo>
                    <a:pt x="12" y="23"/>
                  </a:lnTo>
                  <a:lnTo>
                    <a:pt x="12" y="23"/>
                  </a:lnTo>
                  <a:close/>
                  <a:moveTo>
                    <a:pt x="23" y="57"/>
                  </a:moveTo>
                  <a:lnTo>
                    <a:pt x="23" y="57"/>
                  </a:lnTo>
                  <a:lnTo>
                    <a:pt x="30" y="60"/>
                  </a:lnTo>
                  <a:lnTo>
                    <a:pt x="38" y="64"/>
                  </a:lnTo>
                  <a:lnTo>
                    <a:pt x="38" y="24"/>
                  </a:lnTo>
                  <a:lnTo>
                    <a:pt x="38" y="24"/>
                  </a:lnTo>
                  <a:lnTo>
                    <a:pt x="30" y="26"/>
                  </a:lnTo>
                  <a:lnTo>
                    <a:pt x="25" y="28"/>
                  </a:lnTo>
                  <a:lnTo>
                    <a:pt x="23" y="31"/>
                  </a:lnTo>
                  <a:lnTo>
                    <a:pt x="23" y="31"/>
                  </a:lnTo>
                  <a:lnTo>
                    <a:pt x="20" y="37"/>
                  </a:lnTo>
                  <a:lnTo>
                    <a:pt x="18" y="44"/>
                  </a:lnTo>
                  <a:lnTo>
                    <a:pt x="18" y="44"/>
                  </a:lnTo>
                  <a:lnTo>
                    <a:pt x="20" y="52"/>
                  </a:lnTo>
                  <a:lnTo>
                    <a:pt x="23" y="57"/>
                  </a:lnTo>
                  <a:lnTo>
                    <a:pt x="23" y="57"/>
                  </a:lnTo>
                  <a:close/>
                  <a:moveTo>
                    <a:pt x="66" y="114"/>
                  </a:moveTo>
                  <a:lnTo>
                    <a:pt x="66" y="114"/>
                  </a:lnTo>
                  <a:lnTo>
                    <a:pt x="69" y="109"/>
                  </a:lnTo>
                  <a:lnTo>
                    <a:pt x="69" y="103"/>
                  </a:lnTo>
                  <a:lnTo>
                    <a:pt x="69" y="103"/>
                  </a:lnTo>
                  <a:lnTo>
                    <a:pt x="69" y="98"/>
                  </a:lnTo>
                  <a:lnTo>
                    <a:pt x="67" y="93"/>
                  </a:lnTo>
                  <a:lnTo>
                    <a:pt x="64" y="90"/>
                  </a:lnTo>
                  <a:lnTo>
                    <a:pt x="61" y="86"/>
                  </a:lnTo>
                  <a:lnTo>
                    <a:pt x="61" y="86"/>
                  </a:lnTo>
                  <a:lnTo>
                    <a:pt x="56" y="83"/>
                  </a:lnTo>
                  <a:lnTo>
                    <a:pt x="46" y="80"/>
                  </a:lnTo>
                  <a:lnTo>
                    <a:pt x="46" y="124"/>
                  </a:lnTo>
                  <a:lnTo>
                    <a:pt x="46" y="124"/>
                  </a:lnTo>
                  <a:lnTo>
                    <a:pt x="52" y="124"/>
                  </a:lnTo>
                  <a:lnTo>
                    <a:pt x="59" y="122"/>
                  </a:lnTo>
                  <a:lnTo>
                    <a:pt x="62" y="119"/>
                  </a:lnTo>
                  <a:lnTo>
                    <a:pt x="66" y="114"/>
                  </a:lnTo>
                  <a:lnTo>
                    <a:pt x="66" y="11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79" name="Freeform 326"/>
            <p:cNvSpPr/>
            <p:nvPr/>
          </p:nvSpPr>
          <p:spPr bwMode="auto">
            <a:xfrm>
              <a:off x="6678613" y="4643438"/>
              <a:ext cx="536575" cy="327025"/>
            </a:xfrm>
            <a:custGeom>
              <a:avLst/>
              <a:gdLst>
                <a:gd name="T0" fmla="*/ 466 w 677"/>
                <a:gd name="T1" fmla="*/ 410 h 410"/>
                <a:gd name="T2" fmla="*/ 72 w 677"/>
                <a:gd name="T3" fmla="*/ 410 h 410"/>
                <a:gd name="T4" fmla="*/ 0 w 677"/>
                <a:gd name="T5" fmla="*/ 85 h 410"/>
                <a:gd name="T6" fmla="*/ 443 w 677"/>
                <a:gd name="T7" fmla="*/ 85 h 410"/>
                <a:gd name="T8" fmla="*/ 430 w 677"/>
                <a:gd name="T9" fmla="*/ 131 h 410"/>
                <a:gd name="T10" fmla="*/ 58 w 677"/>
                <a:gd name="T11" fmla="*/ 131 h 410"/>
                <a:gd name="T12" fmla="*/ 110 w 677"/>
                <a:gd name="T13" fmla="*/ 363 h 410"/>
                <a:gd name="T14" fmla="*/ 429 w 677"/>
                <a:gd name="T15" fmla="*/ 363 h 410"/>
                <a:gd name="T16" fmla="*/ 509 w 677"/>
                <a:gd name="T17" fmla="*/ 0 h 410"/>
                <a:gd name="T18" fmla="*/ 677 w 677"/>
                <a:gd name="T19" fmla="*/ 0 h 410"/>
                <a:gd name="T20" fmla="*/ 677 w 677"/>
                <a:gd name="T21" fmla="*/ 47 h 410"/>
                <a:gd name="T22" fmla="*/ 546 w 677"/>
                <a:gd name="T23" fmla="*/ 47 h 410"/>
                <a:gd name="T24" fmla="*/ 466 w 677"/>
                <a:gd name="T25" fmla="*/ 410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7" h="410">
                  <a:moveTo>
                    <a:pt x="466" y="410"/>
                  </a:moveTo>
                  <a:lnTo>
                    <a:pt x="72" y="410"/>
                  </a:lnTo>
                  <a:lnTo>
                    <a:pt x="0" y="85"/>
                  </a:lnTo>
                  <a:lnTo>
                    <a:pt x="443" y="85"/>
                  </a:lnTo>
                  <a:lnTo>
                    <a:pt x="430" y="131"/>
                  </a:lnTo>
                  <a:lnTo>
                    <a:pt x="58" y="131"/>
                  </a:lnTo>
                  <a:lnTo>
                    <a:pt x="110" y="363"/>
                  </a:lnTo>
                  <a:lnTo>
                    <a:pt x="429" y="363"/>
                  </a:lnTo>
                  <a:lnTo>
                    <a:pt x="509" y="0"/>
                  </a:lnTo>
                  <a:lnTo>
                    <a:pt x="677" y="0"/>
                  </a:lnTo>
                  <a:lnTo>
                    <a:pt x="677" y="47"/>
                  </a:lnTo>
                  <a:lnTo>
                    <a:pt x="546" y="47"/>
                  </a:lnTo>
                  <a:lnTo>
                    <a:pt x="466" y="4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80" name="Freeform 327"/>
            <p:cNvSpPr/>
            <p:nvPr/>
          </p:nvSpPr>
          <p:spPr bwMode="auto">
            <a:xfrm>
              <a:off x="6770688" y="4984751"/>
              <a:ext cx="69850" cy="68263"/>
            </a:xfrm>
            <a:custGeom>
              <a:avLst/>
              <a:gdLst>
                <a:gd name="T0" fmla="*/ 87 w 87"/>
                <a:gd name="T1" fmla="*/ 44 h 87"/>
                <a:gd name="T2" fmla="*/ 87 w 87"/>
                <a:gd name="T3" fmla="*/ 44 h 87"/>
                <a:gd name="T4" fmla="*/ 85 w 87"/>
                <a:gd name="T5" fmla="*/ 52 h 87"/>
                <a:gd name="T6" fmla="*/ 84 w 87"/>
                <a:gd name="T7" fmla="*/ 60 h 87"/>
                <a:gd name="T8" fmla="*/ 79 w 87"/>
                <a:gd name="T9" fmla="*/ 67 h 87"/>
                <a:gd name="T10" fmla="*/ 74 w 87"/>
                <a:gd name="T11" fmla="*/ 74 h 87"/>
                <a:gd name="T12" fmla="*/ 67 w 87"/>
                <a:gd name="T13" fmla="*/ 80 h 87"/>
                <a:gd name="T14" fmla="*/ 61 w 87"/>
                <a:gd name="T15" fmla="*/ 83 h 87"/>
                <a:gd name="T16" fmla="*/ 53 w 87"/>
                <a:gd name="T17" fmla="*/ 87 h 87"/>
                <a:gd name="T18" fmla="*/ 43 w 87"/>
                <a:gd name="T19" fmla="*/ 87 h 87"/>
                <a:gd name="T20" fmla="*/ 43 w 87"/>
                <a:gd name="T21" fmla="*/ 87 h 87"/>
                <a:gd name="T22" fmla="*/ 35 w 87"/>
                <a:gd name="T23" fmla="*/ 87 h 87"/>
                <a:gd name="T24" fmla="*/ 27 w 87"/>
                <a:gd name="T25" fmla="*/ 83 h 87"/>
                <a:gd name="T26" fmla="*/ 20 w 87"/>
                <a:gd name="T27" fmla="*/ 80 h 87"/>
                <a:gd name="T28" fmla="*/ 14 w 87"/>
                <a:gd name="T29" fmla="*/ 74 h 87"/>
                <a:gd name="T30" fmla="*/ 7 w 87"/>
                <a:gd name="T31" fmla="*/ 67 h 87"/>
                <a:gd name="T32" fmla="*/ 4 w 87"/>
                <a:gd name="T33" fmla="*/ 60 h 87"/>
                <a:gd name="T34" fmla="*/ 0 w 87"/>
                <a:gd name="T35" fmla="*/ 52 h 87"/>
                <a:gd name="T36" fmla="*/ 0 w 87"/>
                <a:gd name="T37" fmla="*/ 44 h 87"/>
                <a:gd name="T38" fmla="*/ 0 w 87"/>
                <a:gd name="T39" fmla="*/ 44 h 87"/>
                <a:gd name="T40" fmla="*/ 0 w 87"/>
                <a:gd name="T41" fmla="*/ 34 h 87"/>
                <a:gd name="T42" fmla="*/ 4 w 87"/>
                <a:gd name="T43" fmla="*/ 26 h 87"/>
                <a:gd name="T44" fmla="*/ 7 w 87"/>
                <a:gd name="T45" fmla="*/ 20 h 87"/>
                <a:gd name="T46" fmla="*/ 14 w 87"/>
                <a:gd name="T47" fmla="*/ 13 h 87"/>
                <a:gd name="T48" fmla="*/ 20 w 87"/>
                <a:gd name="T49" fmla="*/ 8 h 87"/>
                <a:gd name="T50" fmla="*/ 27 w 87"/>
                <a:gd name="T51" fmla="*/ 3 h 87"/>
                <a:gd name="T52" fmla="*/ 35 w 87"/>
                <a:gd name="T53" fmla="*/ 2 h 87"/>
                <a:gd name="T54" fmla="*/ 43 w 87"/>
                <a:gd name="T55" fmla="*/ 0 h 87"/>
                <a:gd name="T56" fmla="*/ 43 w 87"/>
                <a:gd name="T57" fmla="*/ 0 h 87"/>
                <a:gd name="T58" fmla="*/ 53 w 87"/>
                <a:gd name="T59" fmla="*/ 2 h 87"/>
                <a:gd name="T60" fmla="*/ 61 w 87"/>
                <a:gd name="T61" fmla="*/ 3 h 87"/>
                <a:gd name="T62" fmla="*/ 67 w 87"/>
                <a:gd name="T63" fmla="*/ 8 h 87"/>
                <a:gd name="T64" fmla="*/ 74 w 87"/>
                <a:gd name="T65" fmla="*/ 13 h 87"/>
                <a:gd name="T66" fmla="*/ 79 w 87"/>
                <a:gd name="T67" fmla="*/ 20 h 87"/>
                <a:gd name="T68" fmla="*/ 84 w 87"/>
                <a:gd name="T69" fmla="*/ 26 h 87"/>
                <a:gd name="T70" fmla="*/ 85 w 87"/>
                <a:gd name="T71" fmla="*/ 34 h 87"/>
                <a:gd name="T72" fmla="*/ 87 w 87"/>
                <a:gd name="T73" fmla="*/ 44 h 87"/>
                <a:gd name="T74" fmla="*/ 87 w 87"/>
                <a:gd name="T75"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7">
                  <a:moveTo>
                    <a:pt x="87" y="44"/>
                  </a:moveTo>
                  <a:lnTo>
                    <a:pt x="87" y="44"/>
                  </a:lnTo>
                  <a:lnTo>
                    <a:pt x="85" y="52"/>
                  </a:lnTo>
                  <a:lnTo>
                    <a:pt x="84" y="60"/>
                  </a:lnTo>
                  <a:lnTo>
                    <a:pt x="79" y="67"/>
                  </a:lnTo>
                  <a:lnTo>
                    <a:pt x="74" y="74"/>
                  </a:lnTo>
                  <a:lnTo>
                    <a:pt x="67" y="80"/>
                  </a:lnTo>
                  <a:lnTo>
                    <a:pt x="61" y="83"/>
                  </a:lnTo>
                  <a:lnTo>
                    <a:pt x="53" y="87"/>
                  </a:lnTo>
                  <a:lnTo>
                    <a:pt x="43" y="87"/>
                  </a:lnTo>
                  <a:lnTo>
                    <a:pt x="43" y="87"/>
                  </a:lnTo>
                  <a:lnTo>
                    <a:pt x="35" y="87"/>
                  </a:lnTo>
                  <a:lnTo>
                    <a:pt x="27" y="83"/>
                  </a:lnTo>
                  <a:lnTo>
                    <a:pt x="20" y="80"/>
                  </a:lnTo>
                  <a:lnTo>
                    <a:pt x="14" y="74"/>
                  </a:lnTo>
                  <a:lnTo>
                    <a:pt x="7" y="67"/>
                  </a:lnTo>
                  <a:lnTo>
                    <a:pt x="4" y="60"/>
                  </a:lnTo>
                  <a:lnTo>
                    <a:pt x="0" y="52"/>
                  </a:lnTo>
                  <a:lnTo>
                    <a:pt x="0" y="44"/>
                  </a:lnTo>
                  <a:lnTo>
                    <a:pt x="0" y="44"/>
                  </a:lnTo>
                  <a:lnTo>
                    <a:pt x="0" y="34"/>
                  </a:lnTo>
                  <a:lnTo>
                    <a:pt x="4" y="26"/>
                  </a:lnTo>
                  <a:lnTo>
                    <a:pt x="7" y="20"/>
                  </a:lnTo>
                  <a:lnTo>
                    <a:pt x="14" y="13"/>
                  </a:lnTo>
                  <a:lnTo>
                    <a:pt x="20" y="8"/>
                  </a:lnTo>
                  <a:lnTo>
                    <a:pt x="27" y="3"/>
                  </a:lnTo>
                  <a:lnTo>
                    <a:pt x="35" y="2"/>
                  </a:lnTo>
                  <a:lnTo>
                    <a:pt x="43" y="0"/>
                  </a:lnTo>
                  <a:lnTo>
                    <a:pt x="43" y="0"/>
                  </a:lnTo>
                  <a:lnTo>
                    <a:pt x="53" y="2"/>
                  </a:lnTo>
                  <a:lnTo>
                    <a:pt x="61" y="3"/>
                  </a:lnTo>
                  <a:lnTo>
                    <a:pt x="67" y="8"/>
                  </a:lnTo>
                  <a:lnTo>
                    <a:pt x="74" y="13"/>
                  </a:lnTo>
                  <a:lnTo>
                    <a:pt x="79" y="20"/>
                  </a:lnTo>
                  <a:lnTo>
                    <a:pt x="84" y="26"/>
                  </a:lnTo>
                  <a:lnTo>
                    <a:pt x="85" y="34"/>
                  </a:lnTo>
                  <a:lnTo>
                    <a:pt x="87" y="44"/>
                  </a:lnTo>
                  <a:lnTo>
                    <a:pt x="87"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81" name="Freeform 328"/>
            <p:cNvSpPr/>
            <p:nvPr/>
          </p:nvSpPr>
          <p:spPr bwMode="auto">
            <a:xfrm>
              <a:off x="6951663" y="4984751"/>
              <a:ext cx="68263" cy="68263"/>
            </a:xfrm>
            <a:custGeom>
              <a:avLst/>
              <a:gdLst>
                <a:gd name="T0" fmla="*/ 86 w 86"/>
                <a:gd name="T1" fmla="*/ 44 h 87"/>
                <a:gd name="T2" fmla="*/ 86 w 86"/>
                <a:gd name="T3" fmla="*/ 44 h 87"/>
                <a:gd name="T4" fmla="*/ 85 w 86"/>
                <a:gd name="T5" fmla="*/ 52 h 87"/>
                <a:gd name="T6" fmla="*/ 83 w 86"/>
                <a:gd name="T7" fmla="*/ 60 h 87"/>
                <a:gd name="T8" fmla="*/ 78 w 86"/>
                <a:gd name="T9" fmla="*/ 67 h 87"/>
                <a:gd name="T10" fmla="*/ 73 w 86"/>
                <a:gd name="T11" fmla="*/ 74 h 87"/>
                <a:gd name="T12" fmla="*/ 67 w 86"/>
                <a:gd name="T13" fmla="*/ 80 h 87"/>
                <a:gd name="T14" fmla="*/ 60 w 86"/>
                <a:gd name="T15" fmla="*/ 83 h 87"/>
                <a:gd name="T16" fmla="*/ 52 w 86"/>
                <a:gd name="T17" fmla="*/ 87 h 87"/>
                <a:gd name="T18" fmla="*/ 42 w 86"/>
                <a:gd name="T19" fmla="*/ 87 h 87"/>
                <a:gd name="T20" fmla="*/ 42 w 86"/>
                <a:gd name="T21" fmla="*/ 87 h 87"/>
                <a:gd name="T22" fmla="*/ 34 w 86"/>
                <a:gd name="T23" fmla="*/ 87 h 87"/>
                <a:gd name="T24" fmla="*/ 26 w 86"/>
                <a:gd name="T25" fmla="*/ 83 h 87"/>
                <a:gd name="T26" fmla="*/ 19 w 86"/>
                <a:gd name="T27" fmla="*/ 80 h 87"/>
                <a:gd name="T28" fmla="*/ 13 w 86"/>
                <a:gd name="T29" fmla="*/ 74 h 87"/>
                <a:gd name="T30" fmla="*/ 6 w 86"/>
                <a:gd name="T31" fmla="*/ 67 h 87"/>
                <a:gd name="T32" fmla="*/ 3 w 86"/>
                <a:gd name="T33" fmla="*/ 60 h 87"/>
                <a:gd name="T34" fmla="*/ 0 w 86"/>
                <a:gd name="T35" fmla="*/ 52 h 87"/>
                <a:gd name="T36" fmla="*/ 0 w 86"/>
                <a:gd name="T37" fmla="*/ 44 h 87"/>
                <a:gd name="T38" fmla="*/ 0 w 86"/>
                <a:gd name="T39" fmla="*/ 44 h 87"/>
                <a:gd name="T40" fmla="*/ 0 w 86"/>
                <a:gd name="T41" fmla="*/ 34 h 87"/>
                <a:gd name="T42" fmla="*/ 3 w 86"/>
                <a:gd name="T43" fmla="*/ 26 h 87"/>
                <a:gd name="T44" fmla="*/ 6 w 86"/>
                <a:gd name="T45" fmla="*/ 20 h 87"/>
                <a:gd name="T46" fmla="*/ 13 w 86"/>
                <a:gd name="T47" fmla="*/ 13 h 87"/>
                <a:gd name="T48" fmla="*/ 19 w 86"/>
                <a:gd name="T49" fmla="*/ 8 h 87"/>
                <a:gd name="T50" fmla="*/ 26 w 86"/>
                <a:gd name="T51" fmla="*/ 3 h 87"/>
                <a:gd name="T52" fmla="*/ 34 w 86"/>
                <a:gd name="T53" fmla="*/ 2 h 87"/>
                <a:gd name="T54" fmla="*/ 42 w 86"/>
                <a:gd name="T55" fmla="*/ 0 h 87"/>
                <a:gd name="T56" fmla="*/ 42 w 86"/>
                <a:gd name="T57" fmla="*/ 0 h 87"/>
                <a:gd name="T58" fmla="*/ 52 w 86"/>
                <a:gd name="T59" fmla="*/ 2 h 87"/>
                <a:gd name="T60" fmla="*/ 60 w 86"/>
                <a:gd name="T61" fmla="*/ 3 h 87"/>
                <a:gd name="T62" fmla="*/ 67 w 86"/>
                <a:gd name="T63" fmla="*/ 8 h 87"/>
                <a:gd name="T64" fmla="*/ 73 w 86"/>
                <a:gd name="T65" fmla="*/ 13 h 87"/>
                <a:gd name="T66" fmla="*/ 78 w 86"/>
                <a:gd name="T67" fmla="*/ 20 h 87"/>
                <a:gd name="T68" fmla="*/ 83 w 86"/>
                <a:gd name="T69" fmla="*/ 26 h 87"/>
                <a:gd name="T70" fmla="*/ 85 w 86"/>
                <a:gd name="T71" fmla="*/ 34 h 87"/>
                <a:gd name="T72" fmla="*/ 86 w 86"/>
                <a:gd name="T73" fmla="*/ 44 h 87"/>
                <a:gd name="T74" fmla="*/ 86 w 86"/>
                <a:gd name="T75"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7">
                  <a:moveTo>
                    <a:pt x="86" y="44"/>
                  </a:moveTo>
                  <a:lnTo>
                    <a:pt x="86" y="44"/>
                  </a:lnTo>
                  <a:lnTo>
                    <a:pt x="85" y="52"/>
                  </a:lnTo>
                  <a:lnTo>
                    <a:pt x="83" y="60"/>
                  </a:lnTo>
                  <a:lnTo>
                    <a:pt x="78" y="67"/>
                  </a:lnTo>
                  <a:lnTo>
                    <a:pt x="73" y="74"/>
                  </a:lnTo>
                  <a:lnTo>
                    <a:pt x="67" y="80"/>
                  </a:lnTo>
                  <a:lnTo>
                    <a:pt x="60" y="83"/>
                  </a:lnTo>
                  <a:lnTo>
                    <a:pt x="52" y="87"/>
                  </a:lnTo>
                  <a:lnTo>
                    <a:pt x="42" y="87"/>
                  </a:lnTo>
                  <a:lnTo>
                    <a:pt x="42" y="87"/>
                  </a:lnTo>
                  <a:lnTo>
                    <a:pt x="34" y="87"/>
                  </a:lnTo>
                  <a:lnTo>
                    <a:pt x="26" y="83"/>
                  </a:lnTo>
                  <a:lnTo>
                    <a:pt x="19" y="80"/>
                  </a:lnTo>
                  <a:lnTo>
                    <a:pt x="13" y="74"/>
                  </a:lnTo>
                  <a:lnTo>
                    <a:pt x="6" y="67"/>
                  </a:lnTo>
                  <a:lnTo>
                    <a:pt x="3" y="60"/>
                  </a:lnTo>
                  <a:lnTo>
                    <a:pt x="0" y="52"/>
                  </a:lnTo>
                  <a:lnTo>
                    <a:pt x="0" y="44"/>
                  </a:lnTo>
                  <a:lnTo>
                    <a:pt x="0" y="44"/>
                  </a:lnTo>
                  <a:lnTo>
                    <a:pt x="0" y="34"/>
                  </a:lnTo>
                  <a:lnTo>
                    <a:pt x="3" y="26"/>
                  </a:lnTo>
                  <a:lnTo>
                    <a:pt x="6" y="20"/>
                  </a:lnTo>
                  <a:lnTo>
                    <a:pt x="13" y="13"/>
                  </a:lnTo>
                  <a:lnTo>
                    <a:pt x="19" y="8"/>
                  </a:lnTo>
                  <a:lnTo>
                    <a:pt x="26" y="3"/>
                  </a:lnTo>
                  <a:lnTo>
                    <a:pt x="34" y="2"/>
                  </a:lnTo>
                  <a:lnTo>
                    <a:pt x="42" y="0"/>
                  </a:lnTo>
                  <a:lnTo>
                    <a:pt x="42" y="0"/>
                  </a:lnTo>
                  <a:lnTo>
                    <a:pt x="52" y="2"/>
                  </a:lnTo>
                  <a:lnTo>
                    <a:pt x="60" y="3"/>
                  </a:lnTo>
                  <a:lnTo>
                    <a:pt x="67" y="8"/>
                  </a:lnTo>
                  <a:lnTo>
                    <a:pt x="73" y="13"/>
                  </a:lnTo>
                  <a:lnTo>
                    <a:pt x="78" y="20"/>
                  </a:lnTo>
                  <a:lnTo>
                    <a:pt x="83" y="26"/>
                  </a:lnTo>
                  <a:lnTo>
                    <a:pt x="85" y="34"/>
                  </a:lnTo>
                  <a:lnTo>
                    <a:pt x="86" y="44"/>
                  </a:lnTo>
                  <a:lnTo>
                    <a:pt x="86"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grpSp>
      <p:grpSp>
        <p:nvGrpSpPr>
          <p:cNvPr id="182" name="Group 112"/>
          <p:cNvGrpSpPr/>
          <p:nvPr/>
        </p:nvGrpSpPr>
        <p:grpSpPr>
          <a:xfrm>
            <a:off x="3753016" y="5016480"/>
            <a:ext cx="499487" cy="445779"/>
            <a:chOff x="3817938" y="3571875"/>
            <a:chExt cx="295275" cy="263525"/>
          </a:xfrm>
          <a:solidFill>
            <a:srgbClr val="84FFFF"/>
          </a:solidFill>
        </p:grpSpPr>
        <p:sp>
          <p:nvSpPr>
            <p:cNvPr id="183" name="Freeform 123"/>
            <p:cNvSpPr/>
            <p:nvPr/>
          </p:nvSpPr>
          <p:spPr bwMode="auto">
            <a:xfrm>
              <a:off x="3833813" y="3660775"/>
              <a:ext cx="69850" cy="69850"/>
            </a:xfrm>
            <a:custGeom>
              <a:avLst/>
              <a:gdLst>
                <a:gd name="T0" fmla="*/ 22 w 44"/>
                <a:gd name="T1" fmla="*/ 44 h 44"/>
                <a:gd name="T2" fmla="*/ 22 w 44"/>
                <a:gd name="T3" fmla="*/ 44 h 44"/>
                <a:gd name="T4" fmla="*/ 30 w 44"/>
                <a:gd name="T5" fmla="*/ 42 h 44"/>
                <a:gd name="T6" fmla="*/ 38 w 44"/>
                <a:gd name="T7" fmla="*/ 38 h 44"/>
                <a:gd name="T8" fmla="*/ 42 w 44"/>
                <a:gd name="T9" fmla="*/ 30 h 44"/>
                <a:gd name="T10" fmla="*/ 44 w 44"/>
                <a:gd name="T11" fmla="*/ 22 h 44"/>
                <a:gd name="T12" fmla="*/ 44 w 44"/>
                <a:gd name="T13" fmla="*/ 22 h 44"/>
                <a:gd name="T14" fmla="*/ 42 w 44"/>
                <a:gd name="T15" fmla="*/ 12 h 44"/>
                <a:gd name="T16" fmla="*/ 38 w 44"/>
                <a:gd name="T17" fmla="*/ 6 h 44"/>
                <a:gd name="T18" fmla="*/ 30 w 44"/>
                <a:gd name="T19" fmla="*/ 2 h 44"/>
                <a:gd name="T20" fmla="*/ 22 w 44"/>
                <a:gd name="T21" fmla="*/ 0 h 44"/>
                <a:gd name="T22" fmla="*/ 22 w 44"/>
                <a:gd name="T23" fmla="*/ 0 h 44"/>
                <a:gd name="T24" fmla="*/ 14 w 44"/>
                <a:gd name="T25" fmla="*/ 2 h 44"/>
                <a:gd name="T26" fmla="*/ 6 w 44"/>
                <a:gd name="T27" fmla="*/ 6 h 44"/>
                <a:gd name="T28" fmla="*/ 2 w 44"/>
                <a:gd name="T29" fmla="*/ 12 h 44"/>
                <a:gd name="T30" fmla="*/ 0 w 44"/>
                <a:gd name="T31" fmla="*/ 22 h 44"/>
                <a:gd name="T32" fmla="*/ 0 w 44"/>
                <a:gd name="T33" fmla="*/ 22 h 44"/>
                <a:gd name="T34" fmla="*/ 2 w 44"/>
                <a:gd name="T35" fmla="*/ 30 h 44"/>
                <a:gd name="T36" fmla="*/ 6 w 44"/>
                <a:gd name="T37" fmla="*/ 38 h 44"/>
                <a:gd name="T38" fmla="*/ 14 w 44"/>
                <a:gd name="T39" fmla="*/ 42 h 44"/>
                <a:gd name="T40" fmla="*/ 22 w 44"/>
                <a:gd name="T41" fmla="*/ 44 h 44"/>
                <a:gd name="T42" fmla="*/ 22 w 44"/>
                <a:gd name="T4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44">
                  <a:moveTo>
                    <a:pt x="22" y="44"/>
                  </a:moveTo>
                  <a:lnTo>
                    <a:pt x="22" y="44"/>
                  </a:lnTo>
                  <a:lnTo>
                    <a:pt x="30" y="42"/>
                  </a:lnTo>
                  <a:lnTo>
                    <a:pt x="38" y="38"/>
                  </a:lnTo>
                  <a:lnTo>
                    <a:pt x="42" y="30"/>
                  </a:lnTo>
                  <a:lnTo>
                    <a:pt x="44" y="22"/>
                  </a:lnTo>
                  <a:lnTo>
                    <a:pt x="44" y="22"/>
                  </a:lnTo>
                  <a:lnTo>
                    <a:pt x="42" y="12"/>
                  </a:lnTo>
                  <a:lnTo>
                    <a:pt x="38" y="6"/>
                  </a:lnTo>
                  <a:lnTo>
                    <a:pt x="30" y="2"/>
                  </a:lnTo>
                  <a:lnTo>
                    <a:pt x="22" y="0"/>
                  </a:lnTo>
                  <a:lnTo>
                    <a:pt x="22" y="0"/>
                  </a:lnTo>
                  <a:lnTo>
                    <a:pt x="14" y="2"/>
                  </a:lnTo>
                  <a:lnTo>
                    <a:pt x="6" y="6"/>
                  </a:lnTo>
                  <a:lnTo>
                    <a:pt x="2" y="12"/>
                  </a:lnTo>
                  <a:lnTo>
                    <a:pt x="0" y="22"/>
                  </a:lnTo>
                  <a:lnTo>
                    <a:pt x="0" y="22"/>
                  </a:lnTo>
                  <a:lnTo>
                    <a:pt x="2" y="30"/>
                  </a:lnTo>
                  <a:lnTo>
                    <a:pt x="6" y="38"/>
                  </a:lnTo>
                  <a:lnTo>
                    <a:pt x="14" y="42"/>
                  </a:lnTo>
                  <a:lnTo>
                    <a:pt x="22" y="44"/>
                  </a:lnTo>
                  <a:lnTo>
                    <a:pt x="22"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84" name="Freeform 124"/>
            <p:cNvSpPr/>
            <p:nvPr/>
          </p:nvSpPr>
          <p:spPr bwMode="auto">
            <a:xfrm>
              <a:off x="3817938" y="3740150"/>
              <a:ext cx="101600" cy="95250"/>
            </a:xfrm>
            <a:custGeom>
              <a:avLst/>
              <a:gdLst>
                <a:gd name="T0" fmla="*/ 32 w 64"/>
                <a:gd name="T1" fmla="*/ 0 h 60"/>
                <a:gd name="T2" fmla="*/ 32 w 64"/>
                <a:gd name="T3" fmla="*/ 0 h 60"/>
                <a:gd name="T4" fmla="*/ 26 w 64"/>
                <a:gd name="T5" fmla="*/ 2 h 60"/>
                <a:gd name="T6" fmla="*/ 20 w 64"/>
                <a:gd name="T7" fmla="*/ 4 h 60"/>
                <a:gd name="T8" fmla="*/ 10 w 64"/>
                <a:gd name="T9" fmla="*/ 10 h 60"/>
                <a:gd name="T10" fmla="*/ 2 w 64"/>
                <a:gd name="T11" fmla="*/ 20 h 60"/>
                <a:gd name="T12" fmla="*/ 0 w 64"/>
                <a:gd name="T13" fmla="*/ 26 h 60"/>
                <a:gd name="T14" fmla="*/ 0 w 64"/>
                <a:gd name="T15" fmla="*/ 32 h 60"/>
                <a:gd name="T16" fmla="*/ 0 w 64"/>
                <a:gd name="T17" fmla="*/ 60 h 60"/>
                <a:gd name="T18" fmla="*/ 64 w 64"/>
                <a:gd name="T19" fmla="*/ 60 h 60"/>
                <a:gd name="T20" fmla="*/ 64 w 64"/>
                <a:gd name="T21" fmla="*/ 32 h 60"/>
                <a:gd name="T22" fmla="*/ 64 w 64"/>
                <a:gd name="T23" fmla="*/ 32 h 60"/>
                <a:gd name="T24" fmla="*/ 64 w 64"/>
                <a:gd name="T25" fmla="*/ 26 h 60"/>
                <a:gd name="T26" fmla="*/ 62 w 64"/>
                <a:gd name="T27" fmla="*/ 20 h 60"/>
                <a:gd name="T28" fmla="*/ 54 w 64"/>
                <a:gd name="T29" fmla="*/ 10 h 60"/>
                <a:gd name="T30" fmla="*/ 44 w 64"/>
                <a:gd name="T31" fmla="*/ 4 h 60"/>
                <a:gd name="T32" fmla="*/ 38 w 64"/>
                <a:gd name="T33" fmla="*/ 2 h 60"/>
                <a:gd name="T34" fmla="*/ 32 w 64"/>
                <a:gd name="T35" fmla="*/ 0 h 60"/>
                <a:gd name="T36" fmla="*/ 32 w 64"/>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60">
                  <a:moveTo>
                    <a:pt x="32" y="0"/>
                  </a:moveTo>
                  <a:lnTo>
                    <a:pt x="32" y="0"/>
                  </a:lnTo>
                  <a:lnTo>
                    <a:pt x="26" y="2"/>
                  </a:lnTo>
                  <a:lnTo>
                    <a:pt x="20" y="4"/>
                  </a:lnTo>
                  <a:lnTo>
                    <a:pt x="10" y="10"/>
                  </a:lnTo>
                  <a:lnTo>
                    <a:pt x="2" y="20"/>
                  </a:lnTo>
                  <a:lnTo>
                    <a:pt x="0" y="26"/>
                  </a:lnTo>
                  <a:lnTo>
                    <a:pt x="0" y="32"/>
                  </a:lnTo>
                  <a:lnTo>
                    <a:pt x="0" y="60"/>
                  </a:lnTo>
                  <a:lnTo>
                    <a:pt x="64" y="60"/>
                  </a:lnTo>
                  <a:lnTo>
                    <a:pt x="64" y="32"/>
                  </a:lnTo>
                  <a:lnTo>
                    <a:pt x="64" y="32"/>
                  </a:lnTo>
                  <a:lnTo>
                    <a:pt x="64" y="26"/>
                  </a:lnTo>
                  <a:lnTo>
                    <a:pt x="62" y="20"/>
                  </a:lnTo>
                  <a:lnTo>
                    <a:pt x="54" y="10"/>
                  </a:lnTo>
                  <a:lnTo>
                    <a:pt x="44" y="4"/>
                  </a:lnTo>
                  <a:lnTo>
                    <a:pt x="38" y="2"/>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85" name="Freeform 125"/>
            <p:cNvSpPr/>
            <p:nvPr/>
          </p:nvSpPr>
          <p:spPr bwMode="auto">
            <a:xfrm>
              <a:off x="4027488" y="3660775"/>
              <a:ext cx="69850" cy="69850"/>
            </a:xfrm>
            <a:custGeom>
              <a:avLst/>
              <a:gdLst>
                <a:gd name="T0" fmla="*/ 22 w 44"/>
                <a:gd name="T1" fmla="*/ 44 h 44"/>
                <a:gd name="T2" fmla="*/ 22 w 44"/>
                <a:gd name="T3" fmla="*/ 44 h 44"/>
                <a:gd name="T4" fmla="*/ 32 w 44"/>
                <a:gd name="T5" fmla="*/ 42 h 44"/>
                <a:gd name="T6" fmla="*/ 38 w 44"/>
                <a:gd name="T7" fmla="*/ 38 h 44"/>
                <a:gd name="T8" fmla="*/ 42 w 44"/>
                <a:gd name="T9" fmla="*/ 30 h 44"/>
                <a:gd name="T10" fmla="*/ 44 w 44"/>
                <a:gd name="T11" fmla="*/ 22 h 44"/>
                <a:gd name="T12" fmla="*/ 44 w 44"/>
                <a:gd name="T13" fmla="*/ 22 h 44"/>
                <a:gd name="T14" fmla="*/ 42 w 44"/>
                <a:gd name="T15" fmla="*/ 12 h 44"/>
                <a:gd name="T16" fmla="*/ 38 w 44"/>
                <a:gd name="T17" fmla="*/ 6 h 44"/>
                <a:gd name="T18" fmla="*/ 32 w 44"/>
                <a:gd name="T19" fmla="*/ 2 h 44"/>
                <a:gd name="T20" fmla="*/ 22 w 44"/>
                <a:gd name="T21" fmla="*/ 0 h 44"/>
                <a:gd name="T22" fmla="*/ 22 w 44"/>
                <a:gd name="T23" fmla="*/ 0 h 44"/>
                <a:gd name="T24" fmla="*/ 14 w 44"/>
                <a:gd name="T25" fmla="*/ 2 h 44"/>
                <a:gd name="T26" fmla="*/ 6 w 44"/>
                <a:gd name="T27" fmla="*/ 6 h 44"/>
                <a:gd name="T28" fmla="*/ 2 w 44"/>
                <a:gd name="T29" fmla="*/ 12 h 44"/>
                <a:gd name="T30" fmla="*/ 0 w 44"/>
                <a:gd name="T31" fmla="*/ 22 h 44"/>
                <a:gd name="T32" fmla="*/ 0 w 44"/>
                <a:gd name="T33" fmla="*/ 22 h 44"/>
                <a:gd name="T34" fmla="*/ 2 w 44"/>
                <a:gd name="T35" fmla="*/ 30 h 44"/>
                <a:gd name="T36" fmla="*/ 6 w 44"/>
                <a:gd name="T37" fmla="*/ 38 h 44"/>
                <a:gd name="T38" fmla="*/ 14 w 44"/>
                <a:gd name="T39" fmla="*/ 42 h 44"/>
                <a:gd name="T40" fmla="*/ 22 w 44"/>
                <a:gd name="T41" fmla="*/ 44 h 44"/>
                <a:gd name="T42" fmla="*/ 22 w 44"/>
                <a:gd name="T4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4" h="44">
                  <a:moveTo>
                    <a:pt x="22" y="44"/>
                  </a:moveTo>
                  <a:lnTo>
                    <a:pt x="22" y="44"/>
                  </a:lnTo>
                  <a:lnTo>
                    <a:pt x="32" y="42"/>
                  </a:lnTo>
                  <a:lnTo>
                    <a:pt x="38" y="38"/>
                  </a:lnTo>
                  <a:lnTo>
                    <a:pt x="42" y="30"/>
                  </a:lnTo>
                  <a:lnTo>
                    <a:pt x="44" y="22"/>
                  </a:lnTo>
                  <a:lnTo>
                    <a:pt x="44" y="22"/>
                  </a:lnTo>
                  <a:lnTo>
                    <a:pt x="42" y="12"/>
                  </a:lnTo>
                  <a:lnTo>
                    <a:pt x="38" y="6"/>
                  </a:lnTo>
                  <a:lnTo>
                    <a:pt x="32" y="2"/>
                  </a:lnTo>
                  <a:lnTo>
                    <a:pt x="22" y="0"/>
                  </a:lnTo>
                  <a:lnTo>
                    <a:pt x="22" y="0"/>
                  </a:lnTo>
                  <a:lnTo>
                    <a:pt x="14" y="2"/>
                  </a:lnTo>
                  <a:lnTo>
                    <a:pt x="6" y="6"/>
                  </a:lnTo>
                  <a:lnTo>
                    <a:pt x="2" y="12"/>
                  </a:lnTo>
                  <a:lnTo>
                    <a:pt x="0" y="22"/>
                  </a:lnTo>
                  <a:lnTo>
                    <a:pt x="0" y="22"/>
                  </a:lnTo>
                  <a:lnTo>
                    <a:pt x="2" y="30"/>
                  </a:lnTo>
                  <a:lnTo>
                    <a:pt x="6" y="38"/>
                  </a:lnTo>
                  <a:lnTo>
                    <a:pt x="14" y="42"/>
                  </a:lnTo>
                  <a:lnTo>
                    <a:pt x="22" y="44"/>
                  </a:lnTo>
                  <a:lnTo>
                    <a:pt x="22" y="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86" name="Freeform 126"/>
            <p:cNvSpPr/>
            <p:nvPr/>
          </p:nvSpPr>
          <p:spPr bwMode="auto">
            <a:xfrm>
              <a:off x="4011613" y="3740150"/>
              <a:ext cx="101600" cy="95250"/>
            </a:xfrm>
            <a:custGeom>
              <a:avLst/>
              <a:gdLst>
                <a:gd name="T0" fmla="*/ 32 w 64"/>
                <a:gd name="T1" fmla="*/ 0 h 60"/>
                <a:gd name="T2" fmla="*/ 32 w 64"/>
                <a:gd name="T3" fmla="*/ 0 h 60"/>
                <a:gd name="T4" fmla="*/ 26 w 64"/>
                <a:gd name="T5" fmla="*/ 2 h 60"/>
                <a:gd name="T6" fmla="*/ 20 w 64"/>
                <a:gd name="T7" fmla="*/ 4 h 60"/>
                <a:gd name="T8" fmla="*/ 10 w 64"/>
                <a:gd name="T9" fmla="*/ 10 h 60"/>
                <a:gd name="T10" fmla="*/ 4 w 64"/>
                <a:gd name="T11" fmla="*/ 20 h 60"/>
                <a:gd name="T12" fmla="*/ 2 w 64"/>
                <a:gd name="T13" fmla="*/ 26 h 60"/>
                <a:gd name="T14" fmla="*/ 0 w 64"/>
                <a:gd name="T15" fmla="*/ 32 h 60"/>
                <a:gd name="T16" fmla="*/ 0 w 64"/>
                <a:gd name="T17" fmla="*/ 60 h 60"/>
                <a:gd name="T18" fmla="*/ 64 w 64"/>
                <a:gd name="T19" fmla="*/ 60 h 60"/>
                <a:gd name="T20" fmla="*/ 64 w 64"/>
                <a:gd name="T21" fmla="*/ 32 h 60"/>
                <a:gd name="T22" fmla="*/ 64 w 64"/>
                <a:gd name="T23" fmla="*/ 32 h 60"/>
                <a:gd name="T24" fmla="*/ 64 w 64"/>
                <a:gd name="T25" fmla="*/ 26 h 60"/>
                <a:gd name="T26" fmla="*/ 62 w 64"/>
                <a:gd name="T27" fmla="*/ 20 h 60"/>
                <a:gd name="T28" fmla="*/ 54 w 64"/>
                <a:gd name="T29" fmla="*/ 10 h 60"/>
                <a:gd name="T30" fmla="*/ 44 w 64"/>
                <a:gd name="T31" fmla="*/ 4 h 60"/>
                <a:gd name="T32" fmla="*/ 38 w 64"/>
                <a:gd name="T33" fmla="*/ 2 h 60"/>
                <a:gd name="T34" fmla="*/ 32 w 64"/>
                <a:gd name="T35" fmla="*/ 0 h 60"/>
                <a:gd name="T36" fmla="*/ 32 w 64"/>
                <a:gd name="T3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60">
                  <a:moveTo>
                    <a:pt x="32" y="0"/>
                  </a:moveTo>
                  <a:lnTo>
                    <a:pt x="32" y="0"/>
                  </a:lnTo>
                  <a:lnTo>
                    <a:pt x="26" y="2"/>
                  </a:lnTo>
                  <a:lnTo>
                    <a:pt x="20" y="4"/>
                  </a:lnTo>
                  <a:lnTo>
                    <a:pt x="10" y="10"/>
                  </a:lnTo>
                  <a:lnTo>
                    <a:pt x="4" y="20"/>
                  </a:lnTo>
                  <a:lnTo>
                    <a:pt x="2" y="26"/>
                  </a:lnTo>
                  <a:lnTo>
                    <a:pt x="0" y="32"/>
                  </a:lnTo>
                  <a:lnTo>
                    <a:pt x="0" y="60"/>
                  </a:lnTo>
                  <a:lnTo>
                    <a:pt x="64" y="60"/>
                  </a:lnTo>
                  <a:lnTo>
                    <a:pt x="64" y="32"/>
                  </a:lnTo>
                  <a:lnTo>
                    <a:pt x="64" y="32"/>
                  </a:lnTo>
                  <a:lnTo>
                    <a:pt x="64" y="26"/>
                  </a:lnTo>
                  <a:lnTo>
                    <a:pt x="62" y="20"/>
                  </a:lnTo>
                  <a:lnTo>
                    <a:pt x="54" y="10"/>
                  </a:lnTo>
                  <a:lnTo>
                    <a:pt x="44" y="4"/>
                  </a:lnTo>
                  <a:lnTo>
                    <a:pt x="38" y="2"/>
                  </a:lnTo>
                  <a:lnTo>
                    <a:pt x="32" y="0"/>
                  </a:lnTo>
                  <a:lnTo>
                    <a:pt x="32"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87" name="Freeform 127"/>
            <p:cNvSpPr/>
            <p:nvPr/>
          </p:nvSpPr>
          <p:spPr bwMode="auto">
            <a:xfrm>
              <a:off x="3929063" y="3571875"/>
              <a:ext cx="73025" cy="73025"/>
            </a:xfrm>
            <a:custGeom>
              <a:avLst/>
              <a:gdLst>
                <a:gd name="T0" fmla="*/ 24 w 46"/>
                <a:gd name="T1" fmla="*/ 46 h 46"/>
                <a:gd name="T2" fmla="*/ 24 w 46"/>
                <a:gd name="T3" fmla="*/ 46 h 46"/>
                <a:gd name="T4" fmla="*/ 32 w 46"/>
                <a:gd name="T5" fmla="*/ 44 h 46"/>
                <a:gd name="T6" fmla="*/ 38 w 46"/>
                <a:gd name="T7" fmla="*/ 38 h 46"/>
                <a:gd name="T8" fmla="*/ 44 w 46"/>
                <a:gd name="T9" fmla="*/ 32 h 46"/>
                <a:gd name="T10" fmla="*/ 46 w 46"/>
                <a:gd name="T11" fmla="*/ 22 h 46"/>
                <a:gd name="T12" fmla="*/ 46 w 46"/>
                <a:gd name="T13" fmla="*/ 22 h 46"/>
                <a:gd name="T14" fmla="*/ 44 w 46"/>
                <a:gd name="T15" fmla="*/ 14 h 46"/>
                <a:gd name="T16" fmla="*/ 38 w 46"/>
                <a:gd name="T17" fmla="*/ 8 h 46"/>
                <a:gd name="T18" fmla="*/ 32 w 46"/>
                <a:gd name="T19" fmla="*/ 2 h 46"/>
                <a:gd name="T20" fmla="*/ 24 w 46"/>
                <a:gd name="T21" fmla="*/ 0 h 46"/>
                <a:gd name="T22" fmla="*/ 24 w 46"/>
                <a:gd name="T23" fmla="*/ 0 h 46"/>
                <a:gd name="T24" fmla="*/ 14 w 46"/>
                <a:gd name="T25" fmla="*/ 2 h 46"/>
                <a:gd name="T26" fmla="*/ 8 w 46"/>
                <a:gd name="T27" fmla="*/ 8 h 46"/>
                <a:gd name="T28" fmla="*/ 2 w 46"/>
                <a:gd name="T29" fmla="*/ 14 h 46"/>
                <a:gd name="T30" fmla="*/ 0 w 46"/>
                <a:gd name="T31" fmla="*/ 22 h 46"/>
                <a:gd name="T32" fmla="*/ 0 w 46"/>
                <a:gd name="T33" fmla="*/ 22 h 46"/>
                <a:gd name="T34" fmla="*/ 2 w 46"/>
                <a:gd name="T35" fmla="*/ 32 h 46"/>
                <a:gd name="T36" fmla="*/ 8 w 46"/>
                <a:gd name="T37" fmla="*/ 38 h 46"/>
                <a:gd name="T38" fmla="*/ 14 w 46"/>
                <a:gd name="T39" fmla="*/ 44 h 46"/>
                <a:gd name="T40" fmla="*/ 24 w 46"/>
                <a:gd name="T41" fmla="*/ 46 h 46"/>
                <a:gd name="T42" fmla="*/ 24 w 46"/>
                <a:gd name="T43"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6" h="46">
                  <a:moveTo>
                    <a:pt x="24" y="46"/>
                  </a:moveTo>
                  <a:lnTo>
                    <a:pt x="24" y="46"/>
                  </a:lnTo>
                  <a:lnTo>
                    <a:pt x="32" y="44"/>
                  </a:lnTo>
                  <a:lnTo>
                    <a:pt x="38" y="38"/>
                  </a:lnTo>
                  <a:lnTo>
                    <a:pt x="44" y="32"/>
                  </a:lnTo>
                  <a:lnTo>
                    <a:pt x="46" y="22"/>
                  </a:lnTo>
                  <a:lnTo>
                    <a:pt x="46" y="22"/>
                  </a:lnTo>
                  <a:lnTo>
                    <a:pt x="44" y="14"/>
                  </a:lnTo>
                  <a:lnTo>
                    <a:pt x="38" y="8"/>
                  </a:lnTo>
                  <a:lnTo>
                    <a:pt x="32" y="2"/>
                  </a:lnTo>
                  <a:lnTo>
                    <a:pt x="24" y="0"/>
                  </a:lnTo>
                  <a:lnTo>
                    <a:pt x="24" y="0"/>
                  </a:lnTo>
                  <a:lnTo>
                    <a:pt x="14" y="2"/>
                  </a:lnTo>
                  <a:lnTo>
                    <a:pt x="8" y="8"/>
                  </a:lnTo>
                  <a:lnTo>
                    <a:pt x="2" y="14"/>
                  </a:lnTo>
                  <a:lnTo>
                    <a:pt x="0" y="22"/>
                  </a:lnTo>
                  <a:lnTo>
                    <a:pt x="0" y="22"/>
                  </a:lnTo>
                  <a:lnTo>
                    <a:pt x="2" y="32"/>
                  </a:lnTo>
                  <a:lnTo>
                    <a:pt x="8" y="38"/>
                  </a:lnTo>
                  <a:lnTo>
                    <a:pt x="14" y="44"/>
                  </a:lnTo>
                  <a:lnTo>
                    <a:pt x="24" y="46"/>
                  </a:lnTo>
                  <a:lnTo>
                    <a:pt x="24" y="46"/>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sp>
          <p:nvSpPr>
            <p:cNvPr id="188" name="Freeform 128"/>
            <p:cNvSpPr/>
            <p:nvPr/>
          </p:nvSpPr>
          <p:spPr bwMode="auto">
            <a:xfrm>
              <a:off x="3916363" y="3654425"/>
              <a:ext cx="98425" cy="95250"/>
            </a:xfrm>
            <a:custGeom>
              <a:avLst/>
              <a:gdLst>
                <a:gd name="T0" fmla="*/ 62 w 62"/>
                <a:gd name="T1" fmla="*/ 32 h 60"/>
                <a:gd name="T2" fmla="*/ 62 w 62"/>
                <a:gd name="T3" fmla="*/ 32 h 60"/>
                <a:gd name="T4" fmla="*/ 62 w 62"/>
                <a:gd name="T5" fmla="*/ 26 h 60"/>
                <a:gd name="T6" fmla="*/ 60 w 62"/>
                <a:gd name="T7" fmla="*/ 20 h 60"/>
                <a:gd name="T8" fmla="*/ 54 w 62"/>
                <a:gd name="T9" fmla="*/ 10 h 60"/>
                <a:gd name="T10" fmla="*/ 44 w 62"/>
                <a:gd name="T11" fmla="*/ 2 h 60"/>
                <a:gd name="T12" fmla="*/ 38 w 62"/>
                <a:gd name="T13" fmla="*/ 0 h 60"/>
                <a:gd name="T14" fmla="*/ 32 w 62"/>
                <a:gd name="T15" fmla="*/ 0 h 60"/>
                <a:gd name="T16" fmla="*/ 32 w 62"/>
                <a:gd name="T17" fmla="*/ 0 h 60"/>
                <a:gd name="T18" fmla="*/ 24 w 62"/>
                <a:gd name="T19" fmla="*/ 0 h 60"/>
                <a:gd name="T20" fmla="*/ 18 w 62"/>
                <a:gd name="T21" fmla="*/ 2 h 60"/>
                <a:gd name="T22" fmla="*/ 8 w 62"/>
                <a:gd name="T23" fmla="*/ 10 h 60"/>
                <a:gd name="T24" fmla="*/ 2 w 62"/>
                <a:gd name="T25" fmla="*/ 20 h 60"/>
                <a:gd name="T26" fmla="*/ 0 w 62"/>
                <a:gd name="T27" fmla="*/ 26 h 60"/>
                <a:gd name="T28" fmla="*/ 0 w 62"/>
                <a:gd name="T29" fmla="*/ 32 h 60"/>
                <a:gd name="T30" fmla="*/ 0 w 62"/>
                <a:gd name="T31" fmla="*/ 60 h 60"/>
                <a:gd name="T32" fmla="*/ 62 w 62"/>
                <a:gd name="T33" fmla="*/ 60 h 60"/>
                <a:gd name="T34" fmla="*/ 62 w 62"/>
                <a:gd name="T35" fmla="*/ 3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2" h="60">
                  <a:moveTo>
                    <a:pt x="62" y="32"/>
                  </a:moveTo>
                  <a:lnTo>
                    <a:pt x="62" y="32"/>
                  </a:lnTo>
                  <a:lnTo>
                    <a:pt x="62" y="26"/>
                  </a:lnTo>
                  <a:lnTo>
                    <a:pt x="60" y="20"/>
                  </a:lnTo>
                  <a:lnTo>
                    <a:pt x="54" y="10"/>
                  </a:lnTo>
                  <a:lnTo>
                    <a:pt x="44" y="2"/>
                  </a:lnTo>
                  <a:lnTo>
                    <a:pt x="38" y="0"/>
                  </a:lnTo>
                  <a:lnTo>
                    <a:pt x="32" y="0"/>
                  </a:lnTo>
                  <a:lnTo>
                    <a:pt x="32" y="0"/>
                  </a:lnTo>
                  <a:lnTo>
                    <a:pt x="24" y="0"/>
                  </a:lnTo>
                  <a:lnTo>
                    <a:pt x="18" y="2"/>
                  </a:lnTo>
                  <a:lnTo>
                    <a:pt x="8" y="10"/>
                  </a:lnTo>
                  <a:lnTo>
                    <a:pt x="2" y="20"/>
                  </a:lnTo>
                  <a:lnTo>
                    <a:pt x="0" y="26"/>
                  </a:lnTo>
                  <a:lnTo>
                    <a:pt x="0" y="32"/>
                  </a:lnTo>
                  <a:lnTo>
                    <a:pt x="0" y="60"/>
                  </a:lnTo>
                  <a:lnTo>
                    <a:pt x="62" y="60"/>
                  </a:lnTo>
                  <a:lnTo>
                    <a:pt x="62" y="32"/>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prstClr val="white"/>
                </a:solidFill>
                <a:effectLst/>
                <a:uLnTx/>
                <a:uFillTx/>
                <a:cs typeface="+mn-ea"/>
                <a:sym typeface="+mn-lt"/>
              </a:endParaRPr>
            </a:p>
          </p:txBody>
        </p:sp>
      </p:gr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2" decel="100000" fill="hold" nodeType="withEffect">
                                  <p:stCondLst>
                                    <p:cond delay="1000"/>
                                  </p:stCondLst>
                                  <p:childTnLst>
                                    <p:set>
                                      <p:cBhvr>
                                        <p:cTn id="17" dur="1" fill="hold">
                                          <p:stCondLst>
                                            <p:cond delay="0"/>
                                          </p:stCondLst>
                                        </p:cTn>
                                        <p:tgtEl>
                                          <p:spTgt spid="160"/>
                                        </p:tgtEl>
                                        <p:attrNameLst>
                                          <p:attrName>style.visibility</p:attrName>
                                        </p:attrNameLst>
                                      </p:cBhvr>
                                      <p:to>
                                        <p:strVal val="visible"/>
                                      </p:to>
                                    </p:set>
                                    <p:anim calcmode="lin" valueType="num">
                                      <p:cBhvr additive="base">
                                        <p:cTn id="18" dur="1500" fill="hold"/>
                                        <p:tgtEl>
                                          <p:spTgt spid="160"/>
                                        </p:tgtEl>
                                        <p:attrNameLst>
                                          <p:attrName>ppt_x</p:attrName>
                                        </p:attrNameLst>
                                      </p:cBhvr>
                                      <p:tavLst>
                                        <p:tav tm="0">
                                          <p:val>
                                            <p:strVal val="1+#ppt_w/2"/>
                                          </p:val>
                                        </p:tav>
                                        <p:tav tm="100000">
                                          <p:val>
                                            <p:strVal val="#ppt_x"/>
                                          </p:val>
                                        </p:tav>
                                      </p:tavLst>
                                    </p:anim>
                                    <p:anim calcmode="lin" valueType="num">
                                      <p:cBhvr additive="base">
                                        <p:cTn id="19" dur="1500" fill="hold"/>
                                        <p:tgtEl>
                                          <p:spTgt spid="160"/>
                                        </p:tgtEl>
                                        <p:attrNameLst>
                                          <p:attrName>ppt_y</p:attrName>
                                        </p:attrNameLst>
                                      </p:cBhvr>
                                      <p:tavLst>
                                        <p:tav tm="0">
                                          <p:val>
                                            <p:strVal val="#ppt_y"/>
                                          </p:val>
                                        </p:tav>
                                        <p:tav tm="100000">
                                          <p:val>
                                            <p:strVal val="#ppt_y"/>
                                          </p:val>
                                        </p:tav>
                                      </p:tavLst>
                                    </p:anim>
                                  </p:childTnLst>
                                </p:cTn>
                              </p:par>
                            </p:childTnLst>
                          </p:cTn>
                        </p:par>
                        <p:par>
                          <p:cTn id="20" fill="hold">
                            <p:stCondLst>
                              <p:cond delay="0"/>
                            </p:stCondLst>
                            <p:childTnLst>
                              <p:par>
                                <p:cTn id="21" presetID="2" presetClass="entr" presetSubtype="4" fill="hold" nodeType="afterEffect">
                                  <p:stCondLst>
                                    <p:cond delay="0"/>
                                  </p:stCondLst>
                                  <p:childTnLst>
                                    <p:set>
                                      <p:cBhvr>
                                        <p:cTn id="22" dur="1" fill="hold">
                                          <p:stCondLst>
                                            <p:cond delay="0"/>
                                          </p:stCondLst>
                                        </p:cTn>
                                        <p:tgtEl>
                                          <p:spTgt spid="157"/>
                                        </p:tgtEl>
                                        <p:attrNameLst>
                                          <p:attrName>style.visibility</p:attrName>
                                        </p:attrNameLst>
                                      </p:cBhvr>
                                      <p:to>
                                        <p:strVal val="visible"/>
                                      </p:to>
                                    </p:set>
                                    <p:anim calcmode="lin" valueType="num">
                                      <p:cBhvr additive="base">
                                        <p:cTn id="23" dur="500" fill="hold"/>
                                        <p:tgtEl>
                                          <p:spTgt spid="157"/>
                                        </p:tgtEl>
                                        <p:attrNameLst>
                                          <p:attrName>ppt_x</p:attrName>
                                        </p:attrNameLst>
                                      </p:cBhvr>
                                      <p:tavLst>
                                        <p:tav tm="0">
                                          <p:val>
                                            <p:strVal val="#ppt_x"/>
                                          </p:val>
                                        </p:tav>
                                        <p:tav tm="100000">
                                          <p:val>
                                            <p:strVal val="#ppt_x"/>
                                          </p:val>
                                        </p:tav>
                                      </p:tavLst>
                                    </p:anim>
                                    <p:anim calcmode="lin" valueType="num">
                                      <p:cBhvr additive="base">
                                        <p:cTn id="24" dur="500" fill="hold"/>
                                        <p:tgtEl>
                                          <p:spTgt spid="157"/>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200"/>
                                  </p:stCondLst>
                                  <p:childTnLst>
                                    <p:set>
                                      <p:cBhvr>
                                        <p:cTn id="26" dur="1" fill="hold">
                                          <p:stCondLst>
                                            <p:cond delay="0"/>
                                          </p:stCondLst>
                                        </p:cTn>
                                        <p:tgtEl>
                                          <p:spTgt spid="154"/>
                                        </p:tgtEl>
                                        <p:attrNameLst>
                                          <p:attrName>style.visibility</p:attrName>
                                        </p:attrNameLst>
                                      </p:cBhvr>
                                      <p:to>
                                        <p:strVal val="visible"/>
                                      </p:to>
                                    </p:set>
                                    <p:anim calcmode="lin" valueType="num">
                                      <p:cBhvr additive="base">
                                        <p:cTn id="27" dur="500" fill="hold"/>
                                        <p:tgtEl>
                                          <p:spTgt spid="154"/>
                                        </p:tgtEl>
                                        <p:attrNameLst>
                                          <p:attrName>ppt_x</p:attrName>
                                        </p:attrNameLst>
                                      </p:cBhvr>
                                      <p:tavLst>
                                        <p:tav tm="0">
                                          <p:val>
                                            <p:strVal val="#ppt_x"/>
                                          </p:val>
                                        </p:tav>
                                        <p:tav tm="100000">
                                          <p:val>
                                            <p:strVal val="#ppt_x"/>
                                          </p:val>
                                        </p:tav>
                                      </p:tavLst>
                                    </p:anim>
                                    <p:anim calcmode="lin" valueType="num">
                                      <p:cBhvr additive="base">
                                        <p:cTn id="28" dur="500" fill="hold"/>
                                        <p:tgtEl>
                                          <p:spTgt spid="154"/>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500"/>
                                  </p:stCondLst>
                                  <p:childTnLst>
                                    <p:set>
                                      <p:cBhvr>
                                        <p:cTn id="30" dur="1" fill="hold">
                                          <p:stCondLst>
                                            <p:cond delay="0"/>
                                          </p:stCondLst>
                                        </p:cTn>
                                        <p:tgtEl>
                                          <p:spTgt spid="151"/>
                                        </p:tgtEl>
                                        <p:attrNameLst>
                                          <p:attrName>style.visibility</p:attrName>
                                        </p:attrNameLst>
                                      </p:cBhvr>
                                      <p:to>
                                        <p:strVal val="visible"/>
                                      </p:to>
                                    </p:set>
                                    <p:anim calcmode="lin" valueType="num">
                                      <p:cBhvr additive="base">
                                        <p:cTn id="31" dur="500" fill="hold"/>
                                        <p:tgtEl>
                                          <p:spTgt spid="151"/>
                                        </p:tgtEl>
                                        <p:attrNameLst>
                                          <p:attrName>ppt_x</p:attrName>
                                        </p:attrNameLst>
                                      </p:cBhvr>
                                      <p:tavLst>
                                        <p:tav tm="0">
                                          <p:val>
                                            <p:strVal val="#ppt_x"/>
                                          </p:val>
                                        </p:tav>
                                        <p:tav tm="100000">
                                          <p:val>
                                            <p:strVal val="#ppt_x"/>
                                          </p:val>
                                        </p:tav>
                                      </p:tavLst>
                                    </p:anim>
                                    <p:anim calcmode="lin" valueType="num">
                                      <p:cBhvr additive="base">
                                        <p:cTn id="32" dur="500" fill="hold"/>
                                        <p:tgtEl>
                                          <p:spTgt spid="151"/>
                                        </p:tgtEl>
                                        <p:attrNameLst>
                                          <p:attrName>ppt_y</p:attrName>
                                        </p:attrNameLst>
                                      </p:cBhvr>
                                      <p:tavLst>
                                        <p:tav tm="0">
                                          <p:val>
                                            <p:strVal val="1+#ppt_h/2"/>
                                          </p:val>
                                        </p:tav>
                                        <p:tav tm="100000">
                                          <p:val>
                                            <p:strVal val="#ppt_y"/>
                                          </p:val>
                                        </p:tav>
                                      </p:tavLst>
                                    </p:anim>
                                  </p:childTnLst>
                                </p:cTn>
                              </p:par>
                              <p:par>
                                <p:cTn id="33" presetID="42" presetClass="entr" presetSubtype="0" fill="hold" grpId="0" nodeType="withEffect">
                                  <p:stCondLst>
                                    <p:cond delay="0"/>
                                  </p:stCondLst>
                                  <p:iterate type="lt">
                                    <p:tmPct val="10000"/>
                                  </p:iterate>
                                  <p:childTnLst>
                                    <p:set>
                                      <p:cBhvr>
                                        <p:cTn id="34" dur="1" fill="hold">
                                          <p:stCondLst>
                                            <p:cond delay="0"/>
                                          </p:stCondLst>
                                        </p:cTn>
                                        <p:tgtEl>
                                          <p:spTgt spid="161"/>
                                        </p:tgtEl>
                                        <p:attrNameLst>
                                          <p:attrName>style.visibility</p:attrName>
                                        </p:attrNameLst>
                                      </p:cBhvr>
                                      <p:to>
                                        <p:strVal val="visible"/>
                                      </p:to>
                                    </p:set>
                                    <p:animEffect transition="in" filter="fade">
                                      <p:cBhvr>
                                        <p:cTn id="35" dur="1000"/>
                                        <p:tgtEl>
                                          <p:spTgt spid="161"/>
                                        </p:tgtEl>
                                      </p:cBhvr>
                                    </p:animEffect>
                                    <p:anim calcmode="lin" valueType="num">
                                      <p:cBhvr>
                                        <p:cTn id="36" dur="1000" fill="hold"/>
                                        <p:tgtEl>
                                          <p:spTgt spid="161"/>
                                        </p:tgtEl>
                                        <p:attrNameLst>
                                          <p:attrName>ppt_x</p:attrName>
                                        </p:attrNameLst>
                                      </p:cBhvr>
                                      <p:tavLst>
                                        <p:tav tm="0">
                                          <p:val>
                                            <p:strVal val="#ppt_x"/>
                                          </p:val>
                                        </p:tav>
                                        <p:tav tm="100000">
                                          <p:val>
                                            <p:strVal val="#ppt_x"/>
                                          </p:val>
                                        </p:tav>
                                      </p:tavLst>
                                    </p:anim>
                                    <p:anim calcmode="lin" valueType="num">
                                      <p:cBhvr>
                                        <p:cTn id="37" dur="1000" fill="hold"/>
                                        <p:tgtEl>
                                          <p:spTgt spid="161"/>
                                        </p:tgtEl>
                                        <p:attrNameLst>
                                          <p:attrName>ppt_y</p:attrName>
                                        </p:attrNameLst>
                                      </p:cBhvr>
                                      <p:tavLst>
                                        <p:tav tm="0">
                                          <p:val>
                                            <p:strVal val="#ppt_y+.1"/>
                                          </p:val>
                                        </p:tav>
                                        <p:tav tm="100000">
                                          <p:val>
                                            <p:strVal val="#ppt_y"/>
                                          </p:val>
                                        </p:tav>
                                      </p:tavLst>
                                    </p:anim>
                                  </p:childTnLst>
                                </p:cTn>
                              </p:par>
                              <p:par>
                                <p:cTn id="38" presetID="23" presetClass="entr" presetSubtype="528" fill="hold" grpId="0" nodeType="withEffect">
                                  <p:stCondLst>
                                    <p:cond delay="0"/>
                                  </p:stCondLst>
                                  <p:iterate type="lt">
                                    <p:tmPct val="5000"/>
                                  </p:iterate>
                                  <p:childTnLst>
                                    <p:set>
                                      <p:cBhvr>
                                        <p:cTn id="39" dur="1" fill="hold">
                                          <p:stCondLst>
                                            <p:cond delay="0"/>
                                          </p:stCondLst>
                                        </p:cTn>
                                        <p:tgtEl>
                                          <p:spTgt spid="162"/>
                                        </p:tgtEl>
                                        <p:attrNameLst>
                                          <p:attrName>style.visibility</p:attrName>
                                        </p:attrNameLst>
                                      </p:cBhvr>
                                      <p:to>
                                        <p:strVal val="visible"/>
                                      </p:to>
                                    </p:set>
                                    <p:anim to="" calcmode="lin" valueType="num">
                                      <p:cBhvr>
                                        <p:cTn id="40" dur="1000" fill="hold">
                                          <p:stCondLst>
                                            <p:cond delay="0"/>
                                          </p:stCondLst>
                                        </p:cTn>
                                        <p:tgtEl>
                                          <p:spTgt spid="162"/>
                                        </p:tgtEl>
                                        <p:attrNameLst>
                                          <p:attrName>ppt_x</p:attrName>
                                        </p:attrNameLst>
                                      </p:cBhvr>
                                      <p:tavLst>
                                        <p:tav tm="0" fmla="#ppt_x+(8/9)*(#ppt_x-(#ppt_x-#ppt_w/2))*((1.5-1.5*$)^2-(1.5-1.5*$)^3)">
                                          <p:val>
                                            <p:fltVal val="0"/>
                                          </p:val>
                                        </p:tav>
                                        <p:tav tm="100000">
                                          <p:val>
                                            <p:fltVal val="1"/>
                                          </p:val>
                                        </p:tav>
                                      </p:tavLst>
                                    </p:anim>
                                    <p:anim to="" calcmode="lin" valueType="num">
                                      <p:cBhvr>
                                        <p:cTn id="41" dur="1000" fill="hold">
                                          <p:stCondLst>
                                            <p:cond delay="0"/>
                                          </p:stCondLst>
                                        </p:cTn>
                                        <p:tgtEl>
                                          <p:spTgt spid="162"/>
                                        </p:tgtEl>
                                        <p:attrNameLst>
                                          <p:attrName>ppt_y</p:attrName>
                                        </p:attrNameLst>
                                      </p:cBhvr>
                                      <p:tavLst>
                                        <p:tav tm="0" fmla="#ppt_y+(8/9)*(#ppt_y-(#ppt_y+#ppt_h/2))*((1.5-1.5*$)^2-(1.5-1.5*$)^3)">
                                          <p:val>
                                            <p:fltVal val="0"/>
                                          </p:val>
                                        </p:tav>
                                        <p:tav tm="100000">
                                          <p:val>
                                            <p:fltVal val="1"/>
                                          </p:val>
                                        </p:tav>
                                      </p:tavLst>
                                    </p:anim>
                                    <p:anim to="" calcmode="lin" valueType="num">
                                      <p:cBhvr>
                                        <p:cTn id="42" dur="1000" fill="hold">
                                          <p:stCondLst>
                                            <p:cond delay="0"/>
                                          </p:stCondLst>
                                        </p:cTn>
                                        <p:tgtEl>
                                          <p:spTgt spid="162"/>
                                        </p:tgtEl>
                                        <p:attrNameLst>
                                          <p:attrName>ppt_w</p:attrName>
                                        </p:attrNameLst>
                                      </p:cBhvr>
                                      <p:tavLst>
                                        <p:tav tm="0" fmla="#ppt_w+(8/9)*(#ppt_w-0)*((1.5-1.5*$)^2-(1.5-1.5*$)^3)">
                                          <p:val>
                                            <p:fltVal val="0"/>
                                          </p:val>
                                        </p:tav>
                                        <p:tav tm="100000">
                                          <p:val>
                                            <p:fltVal val="1"/>
                                          </p:val>
                                        </p:tav>
                                      </p:tavLst>
                                    </p:anim>
                                    <p:anim to="" calcmode="lin" valueType="num">
                                      <p:cBhvr>
                                        <p:cTn id="43" dur="1000" fill="hold">
                                          <p:stCondLst>
                                            <p:cond delay="0"/>
                                          </p:stCondLst>
                                        </p:cTn>
                                        <p:tgtEl>
                                          <p:spTgt spid="162"/>
                                        </p:tgtEl>
                                        <p:attrNameLst>
                                          <p:attrName>ppt_h</p:attrName>
                                        </p:attrNameLst>
                                      </p:cBhvr>
                                      <p:tavLst>
                                        <p:tav tm="0" fmla="#ppt_h+(8/9)*(#ppt_h-0)*((1.5-1.5*$)^2-(1.5-1.5*$)^3)">
                                          <p:val>
                                            <p:fltVal val="0"/>
                                          </p:val>
                                        </p:tav>
                                        <p:tav tm="100000">
                                          <p:val>
                                            <p:fltVal val="1"/>
                                          </p:val>
                                        </p:tav>
                                      </p:tavLst>
                                    </p:anim>
                                  </p:childTnLst>
                                </p:cTn>
                              </p:par>
                            </p:childTnLst>
                          </p:cTn>
                        </p:par>
                        <p:par>
                          <p:cTn id="44" fill="hold">
                            <p:stCondLst>
                              <p:cond delay="4699"/>
                            </p:stCondLst>
                            <p:childTnLst>
                              <p:par>
                                <p:cTn id="45" presetID="53" presetClass="entr" presetSubtype="16" fill="hold" nodeType="afterEffect">
                                  <p:stCondLst>
                                    <p:cond delay="0"/>
                                  </p:stCondLst>
                                  <p:childTnLst>
                                    <p:set>
                                      <p:cBhvr>
                                        <p:cTn id="46" dur="1" fill="hold">
                                          <p:stCondLst>
                                            <p:cond delay="0"/>
                                          </p:stCondLst>
                                        </p:cTn>
                                        <p:tgtEl>
                                          <p:spTgt spid="167"/>
                                        </p:tgtEl>
                                        <p:attrNameLst>
                                          <p:attrName>style.visibility</p:attrName>
                                        </p:attrNameLst>
                                      </p:cBhvr>
                                      <p:to>
                                        <p:strVal val="visible"/>
                                      </p:to>
                                    </p:set>
                                    <p:anim calcmode="lin" valueType="num">
                                      <p:cBhvr>
                                        <p:cTn id="47" dur="500" fill="hold"/>
                                        <p:tgtEl>
                                          <p:spTgt spid="167"/>
                                        </p:tgtEl>
                                        <p:attrNameLst>
                                          <p:attrName>ppt_w</p:attrName>
                                        </p:attrNameLst>
                                      </p:cBhvr>
                                      <p:tavLst>
                                        <p:tav tm="0">
                                          <p:val>
                                            <p:fltVal val="0"/>
                                          </p:val>
                                        </p:tav>
                                        <p:tav tm="100000">
                                          <p:val>
                                            <p:strVal val="#ppt_w"/>
                                          </p:val>
                                        </p:tav>
                                      </p:tavLst>
                                    </p:anim>
                                    <p:anim calcmode="lin" valueType="num">
                                      <p:cBhvr>
                                        <p:cTn id="48" dur="500" fill="hold"/>
                                        <p:tgtEl>
                                          <p:spTgt spid="167"/>
                                        </p:tgtEl>
                                        <p:attrNameLst>
                                          <p:attrName>ppt_h</p:attrName>
                                        </p:attrNameLst>
                                      </p:cBhvr>
                                      <p:tavLst>
                                        <p:tav tm="0">
                                          <p:val>
                                            <p:fltVal val="0"/>
                                          </p:val>
                                        </p:tav>
                                        <p:tav tm="100000">
                                          <p:val>
                                            <p:strVal val="#ppt_h"/>
                                          </p:val>
                                        </p:tav>
                                      </p:tavLst>
                                    </p:anim>
                                    <p:animEffect transition="in" filter="fade">
                                      <p:cBhvr>
                                        <p:cTn id="49" dur="500"/>
                                        <p:tgtEl>
                                          <p:spTgt spid="167"/>
                                        </p:tgtEl>
                                      </p:cBhvr>
                                    </p:animEffect>
                                  </p:childTnLst>
                                </p:cTn>
                              </p:par>
                            </p:childTnLst>
                          </p:cTn>
                        </p:par>
                        <p:par>
                          <p:cTn id="50" fill="hold">
                            <p:stCondLst>
                              <p:cond delay="5199"/>
                            </p:stCondLst>
                            <p:childTnLst>
                              <p:par>
                                <p:cTn id="51" presetID="53" presetClass="entr" presetSubtype="16" fill="hold" nodeType="afterEffect">
                                  <p:stCondLst>
                                    <p:cond delay="0"/>
                                  </p:stCondLst>
                                  <p:childTnLst>
                                    <p:set>
                                      <p:cBhvr>
                                        <p:cTn id="52" dur="1" fill="hold">
                                          <p:stCondLst>
                                            <p:cond delay="0"/>
                                          </p:stCondLst>
                                        </p:cTn>
                                        <p:tgtEl>
                                          <p:spTgt spid="170"/>
                                        </p:tgtEl>
                                        <p:attrNameLst>
                                          <p:attrName>style.visibility</p:attrName>
                                        </p:attrNameLst>
                                      </p:cBhvr>
                                      <p:to>
                                        <p:strVal val="visible"/>
                                      </p:to>
                                    </p:set>
                                    <p:anim calcmode="lin" valueType="num">
                                      <p:cBhvr>
                                        <p:cTn id="53" dur="500" fill="hold"/>
                                        <p:tgtEl>
                                          <p:spTgt spid="170"/>
                                        </p:tgtEl>
                                        <p:attrNameLst>
                                          <p:attrName>ppt_w</p:attrName>
                                        </p:attrNameLst>
                                      </p:cBhvr>
                                      <p:tavLst>
                                        <p:tav tm="0">
                                          <p:val>
                                            <p:fltVal val="0"/>
                                          </p:val>
                                        </p:tav>
                                        <p:tav tm="100000">
                                          <p:val>
                                            <p:strVal val="#ppt_w"/>
                                          </p:val>
                                        </p:tav>
                                      </p:tavLst>
                                    </p:anim>
                                    <p:anim calcmode="lin" valueType="num">
                                      <p:cBhvr>
                                        <p:cTn id="54" dur="500" fill="hold"/>
                                        <p:tgtEl>
                                          <p:spTgt spid="170"/>
                                        </p:tgtEl>
                                        <p:attrNameLst>
                                          <p:attrName>ppt_h</p:attrName>
                                        </p:attrNameLst>
                                      </p:cBhvr>
                                      <p:tavLst>
                                        <p:tav tm="0">
                                          <p:val>
                                            <p:fltVal val="0"/>
                                          </p:val>
                                        </p:tav>
                                        <p:tav tm="100000">
                                          <p:val>
                                            <p:strVal val="#ppt_h"/>
                                          </p:val>
                                        </p:tav>
                                      </p:tavLst>
                                    </p:anim>
                                    <p:animEffect transition="in" filter="fade">
                                      <p:cBhvr>
                                        <p:cTn id="55" dur="500"/>
                                        <p:tgtEl>
                                          <p:spTgt spid="170"/>
                                        </p:tgtEl>
                                      </p:cBhvr>
                                    </p:animEffect>
                                  </p:childTnLst>
                                </p:cTn>
                              </p:par>
                            </p:childTnLst>
                          </p:cTn>
                        </p:par>
                        <p:par>
                          <p:cTn id="56" fill="hold">
                            <p:stCondLst>
                              <p:cond delay="5699"/>
                            </p:stCondLst>
                            <p:childTnLst>
                              <p:par>
                                <p:cTn id="57" presetID="53" presetClass="entr" presetSubtype="16" fill="hold" nodeType="afterEffect">
                                  <p:stCondLst>
                                    <p:cond delay="0"/>
                                  </p:stCondLst>
                                  <p:childTnLst>
                                    <p:set>
                                      <p:cBhvr>
                                        <p:cTn id="58" dur="1" fill="hold">
                                          <p:stCondLst>
                                            <p:cond delay="0"/>
                                          </p:stCondLst>
                                        </p:cTn>
                                        <p:tgtEl>
                                          <p:spTgt spid="177"/>
                                        </p:tgtEl>
                                        <p:attrNameLst>
                                          <p:attrName>style.visibility</p:attrName>
                                        </p:attrNameLst>
                                      </p:cBhvr>
                                      <p:to>
                                        <p:strVal val="visible"/>
                                      </p:to>
                                    </p:set>
                                    <p:anim calcmode="lin" valueType="num">
                                      <p:cBhvr>
                                        <p:cTn id="59" dur="500" fill="hold"/>
                                        <p:tgtEl>
                                          <p:spTgt spid="177"/>
                                        </p:tgtEl>
                                        <p:attrNameLst>
                                          <p:attrName>ppt_w</p:attrName>
                                        </p:attrNameLst>
                                      </p:cBhvr>
                                      <p:tavLst>
                                        <p:tav tm="0">
                                          <p:val>
                                            <p:fltVal val="0"/>
                                          </p:val>
                                        </p:tav>
                                        <p:tav tm="100000">
                                          <p:val>
                                            <p:strVal val="#ppt_w"/>
                                          </p:val>
                                        </p:tav>
                                      </p:tavLst>
                                    </p:anim>
                                    <p:anim calcmode="lin" valueType="num">
                                      <p:cBhvr>
                                        <p:cTn id="60" dur="500" fill="hold"/>
                                        <p:tgtEl>
                                          <p:spTgt spid="177"/>
                                        </p:tgtEl>
                                        <p:attrNameLst>
                                          <p:attrName>ppt_h</p:attrName>
                                        </p:attrNameLst>
                                      </p:cBhvr>
                                      <p:tavLst>
                                        <p:tav tm="0">
                                          <p:val>
                                            <p:fltVal val="0"/>
                                          </p:val>
                                        </p:tav>
                                        <p:tav tm="100000">
                                          <p:val>
                                            <p:strVal val="#ppt_h"/>
                                          </p:val>
                                        </p:tav>
                                      </p:tavLst>
                                    </p:anim>
                                    <p:animEffect transition="in" filter="fade">
                                      <p:cBhvr>
                                        <p:cTn id="61" dur="500"/>
                                        <p:tgtEl>
                                          <p:spTgt spid="177"/>
                                        </p:tgtEl>
                                      </p:cBhvr>
                                    </p:animEffect>
                                  </p:childTnLst>
                                </p:cTn>
                              </p:par>
                            </p:childTnLst>
                          </p:cTn>
                        </p:par>
                        <p:par>
                          <p:cTn id="62" fill="hold">
                            <p:stCondLst>
                              <p:cond delay="6199"/>
                            </p:stCondLst>
                            <p:childTnLst>
                              <p:par>
                                <p:cTn id="63" presetID="53" presetClass="entr" presetSubtype="16" fill="hold" nodeType="afterEffect">
                                  <p:stCondLst>
                                    <p:cond delay="0"/>
                                  </p:stCondLst>
                                  <p:childTnLst>
                                    <p:set>
                                      <p:cBhvr>
                                        <p:cTn id="64" dur="1" fill="hold">
                                          <p:stCondLst>
                                            <p:cond delay="0"/>
                                          </p:stCondLst>
                                        </p:cTn>
                                        <p:tgtEl>
                                          <p:spTgt spid="182"/>
                                        </p:tgtEl>
                                        <p:attrNameLst>
                                          <p:attrName>style.visibility</p:attrName>
                                        </p:attrNameLst>
                                      </p:cBhvr>
                                      <p:to>
                                        <p:strVal val="visible"/>
                                      </p:to>
                                    </p:set>
                                    <p:anim calcmode="lin" valueType="num">
                                      <p:cBhvr>
                                        <p:cTn id="65" dur="500" fill="hold"/>
                                        <p:tgtEl>
                                          <p:spTgt spid="182"/>
                                        </p:tgtEl>
                                        <p:attrNameLst>
                                          <p:attrName>ppt_w</p:attrName>
                                        </p:attrNameLst>
                                      </p:cBhvr>
                                      <p:tavLst>
                                        <p:tav tm="0">
                                          <p:val>
                                            <p:fltVal val="0"/>
                                          </p:val>
                                        </p:tav>
                                        <p:tav tm="100000">
                                          <p:val>
                                            <p:strVal val="#ppt_w"/>
                                          </p:val>
                                        </p:tav>
                                      </p:tavLst>
                                    </p:anim>
                                    <p:anim calcmode="lin" valueType="num">
                                      <p:cBhvr>
                                        <p:cTn id="66" dur="500" fill="hold"/>
                                        <p:tgtEl>
                                          <p:spTgt spid="182"/>
                                        </p:tgtEl>
                                        <p:attrNameLst>
                                          <p:attrName>ppt_h</p:attrName>
                                        </p:attrNameLst>
                                      </p:cBhvr>
                                      <p:tavLst>
                                        <p:tav tm="0">
                                          <p:val>
                                            <p:fltVal val="0"/>
                                          </p:val>
                                        </p:tav>
                                        <p:tav tm="100000">
                                          <p:val>
                                            <p:strVal val="#ppt_h"/>
                                          </p:val>
                                        </p:tav>
                                      </p:tavLst>
                                    </p:anim>
                                    <p:animEffect transition="in" filter="fade">
                                      <p:cBhvr>
                                        <p:cTn id="67" dur="500"/>
                                        <p:tgtEl>
                                          <p:spTgt spid="182"/>
                                        </p:tgtEl>
                                      </p:cBhvr>
                                    </p:animEffect>
                                  </p:childTnLst>
                                </p:cTn>
                              </p:par>
                            </p:childTnLst>
                          </p:cTn>
                        </p:par>
                        <p:par>
                          <p:cTn id="68" fill="hold">
                            <p:stCondLst>
                              <p:cond delay="6699"/>
                            </p:stCondLst>
                            <p:childTnLst>
                              <p:par>
                                <p:cTn id="69" presetID="14" presetClass="entr" presetSubtype="10" fill="hold" grpId="0" nodeType="afterEffect">
                                  <p:stCondLst>
                                    <p:cond delay="0"/>
                                  </p:stCondLst>
                                  <p:childTnLst>
                                    <p:set>
                                      <p:cBhvr>
                                        <p:cTn id="70" dur="1" fill="hold">
                                          <p:stCondLst>
                                            <p:cond delay="0"/>
                                          </p:stCondLst>
                                        </p:cTn>
                                        <p:tgtEl>
                                          <p:spTgt spid="166"/>
                                        </p:tgtEl>
                                        <p:attrNameLst>
                                          <p:attrName>style.visibility</p:attrName>
                                        </p:attrNameLst>
                                      </p:cBhvr>
                                      <p:to>
                                        <p:strVal val="visible"/>
                                      </p:to>
                                    </p:set>
                                    <p:animEffect transition="in" filter="randombar(horizontal)">
                                      <p:cBhvr>
                                        <p:cTn id="71" dur="500"/>
                                        <p:tgtEl>
                                          <p:spTgt spid="166"/>
                                        </p:tgtEl>
                                      </p:cBhvr>
                                    </p:animEffect>
                                  </p:childTnLst>
                                </p:cTn>
                              </p:par>
                            </p:childTnLst>
                          </p:cTn>
                        </p:par>
                        <p:par>
                          <p:cTn id="72" fill="hold">
                            <p:stCondLst>
                              <p:cond delay="7199"/>
                            </p:stCondLst>
                            <p:childTnLst>
                              <p:par>
                                <p:cTn id="73" presetID="14" presetClass="entr" presetSubtype="10" fill="hold" grpId="0" nodeType="afterEffect">
                                  <p:stCondLst>
                                    <p:cond delay="0"/>
                                  </p:stCondLst>
                                  <p:childTnLst>
                                    <p:set>
                                      <p:cBhvr>
                                        <p:cTn id="74" dur="1" fill="hold">
                                          <p:stCondLst>
                                            <p:cond delay="0"/>
                                          </p:stCondLst>
                                        </p:cTn>
                                        <p:tgtEl>
                                          <p:spTgt spid="165"/>
                                        </p:tgtEl>
                                        <p:attrNameLst>
                                          <p:attrName>style.visibility</p:attrName>
                                        </p:attrNameLst>
                                      </p:cBhvr>
                                      <p:to>
                                        <p:strVal val="visible"/>
                                      </p:to>
                                    </p:set>
                                    <p:animEffect transition="in" filter="randombar(horizontal)">
                                      <p:cBhvr>
                                        <p:cTn id="75" dur="500"/>
                                        <p:tgtEl>
                                          <p:spTgt spid="165"/>
                                        </p:tgtEl>
                                      </p:cBhvr>
                                    </p:animEffect>
                                  </p:childTnLst>
                                </p:cTn>
                              </p:par>
                            </p:childTnLst>
                          </p:cTn>
                        </p:par>
                        <p:par>
                          <p:cTn id="76" fill="hold">
                            <p:stCondLst>
                              <p:cond delay="7699"/>
                            </p:stCondLst>
                            <p:childTnLst>
                              <p:par>
                                <p:cTn id="77" presetID="14" presetClass="entr" presetSubtype="10" fill="hold" grpId="0" nodeType="afterEffect">
                                  <p:stCondLst>
                                    <p:cond delay="0"/>
                                  </p:stCondLst>
                                  <p:childTnLst>
                                    <p:set>
                                      <p:cBhvr>
                                        <p:cTn id="78" dur="1" fill="hold">
                                          <p:stCondLst>
                                            <p:cond delay="0"/>
                                          </p:stCondLst>
                                        </p:cTn>
                                        <p:tgtEl>
                                          <p:spTgt spid="163"/>
                                        </p:tgtEl>
                                        <p:attrNameLst>
                                          <p:attrName>style.visibility</p:attrName>
                                        </p:attrNameLst>
                                      </p:cBhvr>
                                      <p:to>
                                        <p:strVal val="visible"/>
                                      </p:to>
                                    </p:set>
                                    <p:animEffect transition="in" filter="randombar(horizontal)">
                                      <p:cBhvr>
                                        <p:cTn id="79" dur="500"/>
                                        <p:tgtEl>
                                          <p:spTgt spid="163"/>
                                        </p:tgtEl>
                                      </p:cBhvr>
                                    </p:animEffect>
                                  </p:childTnLst>
                                </p:cTn>
                              </p:par>
                            </p:childTnLst>
                          </p:cTn>
                        </p:par>
                        <p:par>
                          <p:cTn id="80" fill="hold">
                            <p:stCondLst>
                              <p:cond delay="8199"/>
                            </p:stCondLst>
                            <p:childTnLst>
                              <p:par>
                                <p:cTn id="81" presetID="14" presetClass="entr" presetSubtype="10" fill="hold" grpId="0" nodeType="afterEffect">
                                  <p:stCondLst>
                                    <p:cond delay="0"/>
                                  </p:stCondLst>
                                  <p:childTnLst>
                                    <p:set>
                                      <p:cBhvr>
                                        <p:cTn id="82" dur="1" fill="hold">
                                          <p:stCondLst>
                                            <p:cond delay="0"/>
                                          </p:stCondLst>
                                        </p:cTn>
                                        <p:tgtEl>
                                          <p:spTgt spid="164"/>
                                        </p:tgtEl>
                                        <p:attrNameLst>
                                          <p:attrName>style.visibility</p:attrName>
                                        </p:attrNameLst>
                                      </p:cBhvr>
                                      <p:to>
                                        <p:strVal val="visible"/>
                                      </p:to>
                                    </p:set>
                                    <p:animEffect transition="in" filter="randombar(horizontal)">
                                      <p:cBhvr>
                                        <p:cTn id="83" dur="500"/>
                                        <p:tgtEl>
                                          <p:spTgt spid="1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61" grpId="0"/>
      <p:bldP spid="162" grpId="0"/>
      <p:bldP spid="163" grpId="0"/>
      <p:bldP spid="164" grpId="0"/>
      <p:bldP spid="165" grpId="0"/>
      <p:bldP spid="16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2" cstate="screen"/>
          <a:stretch>
            <a:fillRect/>
          </a:stretch>
        </p:blipFill>
        <p:spPr>
          <a:xfrm>
            <a:off x="2210174" y="396690"/>
            <a:ext cx="7771652" cy="4857282"/>
          </a:xfrm>
          <a:prstGeom prst="rect">
            <a:avLst/>
          </a:prstGeom>
        </p:spPr>
      </p:pic>
      <p:sp>
        <p:nvSpPr>
          <p:cNvPr id="5" name="椭圆 4"/>
          <p:cNvSpPr/>
          <p:nvPr/>
        </p:nvSpPr>
        <p:spPr>
          <a:xfrm rot="1180186" flipV="1">
            <a:off x="2646364" y="2170090"/>
            <a:ext cx="6691423" cy="1310482"/>
          </a:xfrm>
          <a:prstGeom prst="ellipse">
            <a:avLst/>
          </a:prstGeom>
          <a:noFill/>
          <a:ln w="76200">
            <a:gradFill flip="none" rotWithShape="1">
              <a:gsLst>
                <a:gs pos="0">
                  <a:srgbClr val="13FFEC"/>
                </a:gs>
                <a:gs pos="41000">
                  <a:srgbClr val="06E2F7"/>
                </a:gs>
                <a:gs pos="91000">
                  <a:srgbClr val="00D4FD">
                    <a:alpha val="0"/>
                  </a:srgbClr>
                </a:gs>
              </a:gsLst>
              <a:lin ang="5400000" scaled="1"/>
              <a:tileRect/>
            </a:gradFill>
          </a:ln>
          <a:effectLst>
            <a:glow rad="177800">
              <a:srgbClr val="00D4FD">
                <a:alpha val="8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cs typeface="+mn-ea"/>
              <a:sym typeface="+mn-lt"/>
            </a:endParaRPr>
          </a:p>
        </p:txBody>
      </p:sp>
      <p:sp>
        <p:nvSpPr>
          <p:cNvPr id="6" name="椭圆 5"/>
          <p:cNvSpPr/>
          <p:nvPr/>
        </p:nvSpPr>
        <p:spPr>
          <a:xfrm rot="1180186" flipV="1">
            <a:off x="2790603" y="2056102"/>
            <a:ext cx="6502604" cy="1273502"/>
          </a:xfrm>
          <a:prstGeom prst="ellipse">
            <a:avLst/>
          </a:prstGeom>
          <a:noFill/>
          <a:ln w="3175">
            <a:gradFill flip="none" rotWithShape="1">
              <a:gsLst>
                <a:gs pos="0">
                  <a:srgbClr val="13FFEC"/>
                </a:gs>
                <a:gs pos="41000">
                  <a:srgbClr val="06E2F7"/>
                </a:gs>
                <a:gs pos="91000">
                  <a:srgbClr val="00D4FD">
                    <a:alpha val="0"/>
                  </a:srgbClr>
                </a:gs>
              </a:gsLst>
              <a:lin ang="5400000" scaled="1"/>
              <a:tileRect/>
            </a:gradFill>
          </a:ln>
          <a:effectLst>
            <a:glow rad="177800">
              <a:srgbClr val="00D4FD">
                <a:alpha val="8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cs typeface="+mn-ea"/>
              <a:sym typeface="+mn-lt"/>
            </a:endParaRPr>
          </a:p>
        </p:txBody>
      </p:sp>
      <p:sp>
        <p:nvSpPr>
          <p:cNvPr id="7" name="椭圆 6"/>
          <p:cNvSpPr/>
          <p:nvPr/>
        </p:nvSpPr>
        <p:spPr>
          <a:xfrm rot="1180186" flipV="1">
            <a:off x="2550141" y="2382323"/>
            <a:ext cx="6691423" cy="1310482"/>
          </a:xfrm>
          <a:prstGeom prst="ellipse">
            <a:avLst/>
          </a:prstGeom>
          <a:noFill/>
          <a:ln w="76200">
            <a:gradFill flip="none" rotWithShape="1">
              <a:gsLst>
                <a:gs pos="0">
                  <a:srgbClr val="13FFEC"/>
                </a:gs>
                <a:gs pos="41000">
                  <a:srgbClr val="06E2F7"/>
                </a:gs>
                <a:gs pos="91000">
                  <a:srgbClr val="00D4FD">
                    <a:alpha val="0"/>
                  </a:srgbClr>
                </a:gs>
              </a:gsLst>
              <a:lin ang="5400000" scaled="1"/>
              <a:tileRect/>
            </a:gradFill>
          </a:ln>
          <a:effectLst>
            <a:glow rad="177800">
              <a:srgbClr val="00D4FD">
                <a:alpha val="8000"/>
              </a:srgb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noFill/>
              <a:cs typeface="+mn-ea"/>
              <a:sym typeface="+mn-lt"/>
            </a:endParaRPr>
          </a:p>
        </p:txBody>
      </p:sp>
      <p:sp>
        <p:nvSpPr>
          <p:cNvPr id="9" name="矩形 8"/>
          <p:cNvSpPr/>
          <p:nvPr/>
        </p:nvSpPr>
        <p:spPr>
          <a:xfrm>
            <a:off x="4468659" y="1506463"/>
            <a:ext cx="3372647" cy="769441"/>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4400" b="1" i="0" u="none" strike="noStrike" kern="0" cap="none" spc="0" normalizeH="0" baseline="0" noProof="0" dirty="0" smtClean="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CONTENTS</a:t>
            </a:r>
            <a:endParaRPr kumimoji="0" lang="zh-CN" altLang="en-US" sz="44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endParaRPr>
          </a:p>
        </p:txBody>
      </p:sp>
      <p:pic>
        <p:nvPicPr>
          <p:cNvPr id="59" name="1"/>
          <p:cNvPicPr>
            <a:picLocks noChangeAspect="1"/>
          </p:cNvPicPr>
          <p:nvPr/>
        </p:nvPicPr>
        <p:blipFill rotWithShape="1">
          <a:blip r:embed="rId3" cstate="screen"/>
          <a:srcRect/>
          <a:stretch>
            <a:fillRect/>
          </a:stretch>
        </p:blipFill>
        <p:spPr>
          <a:xfrm>
            <a:off x="1749646" y="4330262"/>
            <a:ext cx="1151467" cy="1984083"/>
          </a:xfrm>
          <a:prstGeom prst="rect">
            <a:avLst/>
          </a:prstGeom>
        </p:spPr>
      </p:pic>
      <p:pic>
        <p:nvPicPr>
          <p:cNvPr id="60" name="2"/>
          <p:cNvPicPr>
            <a:picLocks noChangeAspect="1"/>
          </p:cNvPicPr>
          <p:nvPr/>
        </p:nvPicPr>
        <p:blipFill rotWithShape="1">
          <a:blip r:embed="rId4" cstate="screen"/>
          <a:srcRect/>
          <a:stretch>
            <a:fillRect/>
          </a:stretch>
        </p:blipFill>
        <p:spPr>
          <a:xfrm>
            <a:off x="4285828" y="4283832"/>
            <a:ext cx="985077" cy="1890814"/>
          </a:xfrm>
          <a:prstGeom prst="rect">
            <a:avLst/>
          </a:prstGeom>
        </p:spPr>
      </p:pic>
      <p:pic>
        <p:nvPicPr>
          <p:cNvPr id="61" name="3"/>
          <p:cNvPicPr>
            <a:picLocks noChangeAspect="1"/>
          </p:cNvPicPr>
          <p:nvPr/>
        </p:nvPicPr>
        <p:blipFill rotWithShape="1">
          <a:blip r:embed="rId5" cstate="screen"/>
          <a:srcRect/>
          <a:stretch>
            <a:fillRect/>
          </a:stretch>
        </p:blipFill>
        <p:spPr>
          <a:xfrm>
            <a:off x="6662727" y="4345036"/>
            <a:ext cx="1178579" cy="2013759"/>
          </a:xfrm>
          <a:prstGeom prst="rect">
            <a:avLst/>
          </a:prstGeom>
        </p:spPr>
      </p:pic>
      <p:pic>
        <p:nvPicPr>
          <p:cNvPr id="62" name="4"/>
          <p:cNvPicPr>
            <a:picLocks noChangeAspect="1"/>
          </p:cNvPicPr>
          <p:nvPr/>
        </p:nvPicPr>
        <p:blipFill rotWithShape="1">
          <a:blip r:embed="rId6" cstate="screen"/>
          <a:srcRect/>
          <a:stretch>
            <a:fillRect/>
          </a:stretch>
        </p:blipFill>
        <p:spPr>
          <a:xfrm>
            <a:off x="9026893" y="4402020"/>
            <a:ext cx="1585161" cy="2128226"/>
          </a:xfrm>
          <a:prstGeom prst="rect">
            <a:avLst/>
          </a:prstGeom>
        </p:spPr>
      </p:pic>
      <p:sp>
        <p:nvSpPr>
          <p:cNvPr id="79" name="矩形 78"/>
          <p:cNvSpPr/>
          <p:nvPr/>
        </p:nvSpPr>
        <p:spPr>
          <a:xfrm>
            <a:off x="1014104" y="5742321"/>
            <a:ext cx="2622550" cy="523220"/>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智慧企业</a:t>
            </a:r>
          </a:p>
        </p:txBody>
      </p:sp>
      <p:sp>
        <p:nvSpPr>
          <p:cNvPr id="80" name="矩形 79"/>
          <p:cNvSpPr/>
          <p:nvPr/>
        </p:nvSpPr>
        <p:spPr>
          <a:xfrm>
            <a:off x="3512135" y="5742321"/>
            <a:ext cx="2622550" cy="523220"/>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智能制造</a:t>
            </a:r>
          </a:p>
        </p:txBody>
      </p:sp>
      <p:sp>
        <p:nvSpPr>
          <p:cNvPr id="81" name="矩形 80"/>
          <p:cNvSpPr/>
          <p:nvPr/>
        </p:nvSpPr>
        <p:spPr>
          <a:xfrm>
            <a:off x="6010166" y="5742321"/>
            <a:ext cx="2622550" cy="523220"/>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市场前景</a:t>
            </a:r>
          </a:p>
        </p:txBody>
      </p:sp>
      <p:sp>
        <p:nvSpPr>
          <p:cNvPr id="82" name="矩形 81"/>
          <p:cNvSpPr/>
          <p:nvPr/>
        </p:nvSpPr>
        <p:spPr>
          <a:xfrm>
            <a:off x="8508198" y="5742321"/>
            <a:ext cx="2622550" cy="523220"/>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未来发展</a:t>
            </a:r>
          </a:p>
        </p:txBody>
      </p:sp>
      <p:pic>
        <p:nvPicPr>
          <p:cNvPr id="83" name="图片 82"/>
          <p:cNvPicPr>
            <a:picLocks noChangeAspect="1"/>
          </p:cNvPicPr>
          <p:nvPr/>
        </p:nvPicPr>
        <p:blipFill rotWithShape="1">
          <a:blip r:embed="rId7" cstate="screen"/>
          <a:srcRect/>
          <a:stretch>
            <a:fillRect/>
          </a:stretch>
        </p:blipFill>
        <p:spPr>
          <a:xfrm>
            <a:off x="323850" y="147319"/>
            <a:ext cx="946150" cy="1417236"/>
          </a:xfrm>
          <a:prstGeom prst="rect">
            <a:avLst/>
          </a:prstGeom>
        </p:spPr>
      </p:pic>
      <p:pic>
        <p:nvPicPr>
          <p:cNvPr id="84" name="图片 83"/>
          <p:cNvPicPr>
            <a:picLocks noChangeAspect="1"/>
          </p:cNvPicPr>
          <p:nvPr/>
        </p:nvPicPr>
        <p:blipFill rotWithShape="1">
          <a:blip r:embed="rId8" cstate="screen"/>
          <a:srcRect/>
          <a:stretch>
            <a:fillRect/>
          </a:stretch>
        </p:blipFill>
        <p:spPr>
          <a:xfrm>
            <a:off x="10598150" y="372783"/>
            <a:ext cx="1193800" cy="655917"/>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Tm="0">
        <p14:flash/>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ppt_x"/>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1" decel="100000" fill="hold" grpId="0" nodeType="withEffect">
                                  <p:stCondLst>
                                    <p:cond delay="20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000" fill="hold"/>
                                        <p:tgtEl>
                                          <p:spTgt spid="5"/>
                                        </p:tgtEl>
                                        <p:attrNameLst>
                                          <p:attrName>ppt_x</p:attrName>
                                        </p:attrNameLst>
                                      </p:cBhvr>
                                      <p:tavLst>
                                        <p:tav tm="0">
                                          <p:val>
                                            <p:strVal val="#ppt_x"/>
                                          </p:val>
                                        </p:tav>
                                        <p:tav tm="100000">
                                          <p:val>
                                            <p:strVal val="#ppt_x"/>
                                          </p:val>
                                        </p:tav>
                                      </p:tavLst>
                                    </p:anim>
                                    <p:anim calcmode="lin" valueType="num">
                                      <p:cBhvr additive="base">
                                        <p:cTn id="12" dur="1000" fill="hold"/>
                                        <p:tgtEl>
                                          <p:spTgt spid="5"/>
                                        </p:tgtEl>
                                        <p:attrNameLst>
                                          <p:attrName>ppt_y</p:attrName>
                                        </p:attrNameLst>
                                      </p:cBhvr>
                                      <p:tavLst>
                                        <p:tav tm="0">
                                          <p:val>
                                            <p:strVal val="0-#ppt_h/2"/>
                                          </p:val>
                                        </p:tav>
                                        <p:tav tm="100000">
                                          <p:val>
                                            <p:strVal val="#ppt_y"/>
                                          </p:val>
                                        </p:tav>
                                      </p:tavLst>
                                    </p:anim>
                                  </p:childTnLst>
                                </p:cTn>
                              </p:par>
                              <p:par>
                                <p:cTn id="13" presetID="2" presetClass="entr" presetSubtype="1" decel="100000" fill="hold" grpId="0" nodeType="withEffect">
                                  <p:stCondLst>
                                    <p:cond delay="50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000" fill="hold"/>
                                        <p:tgtEl>
                                          <p:spTgt spid="6"/>
                                        </p:tgtEl>
                                        <p:attrNameLst>
                                          <p:attrName>ppt_x</p:attrName>
                                        </p:attrNameLst>
                                      </p:cBhvr>
                                      <p:tavLst>
                                        <p:tav tm="0">
                                          <p:val>
                                            <p:strVal val="#ppt_x"/>
                                          </p:val>
                                        </p:tav>
                                        <p:tav tm="100000">
                                          <p:val>
                                            <p:strVal val="#ppt_x"/>
                                          </p:val>
                                        </p:tav>
                                      </p:tavLst>
                                    </p:anim>
                                    <p:anim calcmode="lin" valueType="num">
                                      <p:cBhvr additive="base">
                                        <p:cTn id="16" dur="1000" fill="hold"/>
                                        <p:tgtEl>
                                          <p:spTgt spid="6"/>
                                        </p:tgtEl>
                                        <p:attrNameLst>
                                          <p:attrName>ppt_y</p:attrName>
                                        </p:attrNameLst>
                                      </p:cBhvr>
                                      <p:tavLst>
                                        <p:tav tm="0">
                                          <p:val>
                                            <p:strVal val="0-#ppt_h/2"/>
                                          </p:val>
                                        </p:tav>
                                        <p:tav tm="100000">
                                          <p:val>
                                            <p:strVal val="#ppt_y"/>
                                          </p:val>
                                        </p:tav>
                                      </p:tavLst>
                                    </p:anim>
                                  </p:childTnLst>
                                </p:cTn>
                              </p:par>
                              <p:par>
                                <p:cTn id="17" presetID="49" presetClass="entr" presetSubtype="0" decel="10000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p:cTn id="19" dur="1500" fill="hold"/>
                                        <p:tgtEl>
                                          <p:spTgt spid="4"/>
                                        </p:tgtEl>
                                        <p:attrNameLst>
                                          <p:attrName>ppt_w</p:attrName>
                                        </p:attrNameLst>
                                      </p:cBhvr>
                                      <p:tavLst>
                                        <p:tav tm="0">
                                          <p:val>
                                            <p:fltVal val="0"/>
                                          </p:val>
                                        </p:tav>
                                        <p:tav tm="100000">
                                          <p:val>
                                            <p:strVal val="#ppt_w"/>
                                          </p:val>
                                        </p:tav>
                                      </p:tavLst>
                                    </p:anim>
                                    <p:anim calcmode="lin" valueType="num">
                                      <p:cBhvr>
                                        <p:cTn id="20" dur="1500" fill="hold"/>
                                        <p:tgtEl>
                                          <p:spTgt spid="4"/>
                                        </p:tgtEl>
                                        <p:attrNameLst>
                                          <p:attrName>ppt_h</p:attrName>
                                        </p:attrNameLst>
                                      </p:cBhvr>
                                      <p:tavLst>
                                        <p:tav tm="0">
                                          <p:val>
                                            <p:fltVal val="0"/>
                                          </p:val>
                                        </p:tav>
                                        <p:tav tm="100000">
                                          <p:val>
                                            <p:strVal val="#ppt_h"/>
                                          </p:val>
                                        </p:tav>
                                      </p:tavLst>
                                    </p:anim>
                                    <p:anim calcmode="lin" valueType="num">
                                      <p:cBhvr>
                                        <p:cTn id="21" dur="1500" fill="hold"/>
                                        <p:tgtEl>
                                          <p:spTgt spid="4"/>
                                        </p:tgtEl>
                                        <p:attrNameLst>
                                          <p:attrName>style.rotation</p:attrName>
                                        </p:attrNameLst>
                                      </p:cBhvr>
                                      <p:tavLst>
                                        <p:tav tm="0">
                                          <p:val>
                                            <p:fltVal val="360"/>
                                          </p:val>
                                        </p:tav>
                                        <p:tav tm="100000">
                                          <p:val>
                                            <p:fltVal val="0"/>
                                          </p:val>
                                        </p:tav>
                                      </p:tavLst>
                                    </p:anim>
                                    <p:animEffect transition="in" filter="fade">
                                      <p:cBhvr>
                                        <p:cTn id="22" dur="1500"/>
                                        <p:tgtEl>
                                          <p:spTgt spid="4"/>
                                        </p:tgtEl>
                                      </p:cBhvr>
                                    </p:animEffect>
                                  </p:childTnLst>
                                </p:cTn>
                              </p:par>
                            </p:childTnLst>
                          </p:cTn>
                        </p:par>
                        <p:par>
                          <p:cTn id="23" fill="hold">
                            <p:stCondLst>
                              <p:cond delay="1000"/>
                            </p:stCondLst>
                            <p:childTnLst>
                              <p:par>
                                <p:cTn id="24" presetID="2" presetClass="entr" presetSubtype="1" fill="hold" grpId="0" nodeType="afterEffect">
                                  <p:stCondLst>
                                    <p:cond delay="0"/>
                                  </p:stCondLst>
                                  <p:iterate type="lt">
                                    <p:tmPct val="10000"/>
                                  </p:iterate>
                                  <p:childTnLst>
                                    <p:set>
                                      <p:cBhvr>
                                        <p:cTn id="25" dur="1" fill="hold">
                                          <p:stCondLst>
                                            <p:cond delay="0"/>
                                          </p:stCondLst>
                                        </p:cTn>
                                        <p:tgtEl>
                                          <p:spTgt spid="9"/>
                                        </p:tgtEl>
                                        <p:attrNameLst>
                                          <p:attrName>style.visibility</p:attrName>
                                        </p:attrNameLst>
                                      </p:cBhvr>
                                      <p:to>
                                        <p:strVal val="visible"/>
                                      </p:to>
                                    </p:set>
                                    <p:anim calcmode="lin" valueType="num">
                                      <p:cBhvr additive="base">
                                        <p:cTn id="26" dur="500" fill="hold"/>
                                        <p:tgtEl>
                                          <p:spTgt spid="9"/>
                                        </p:tgtEl>
                                        <p:attrNameLst>
                                          <p:attrName>ppt_x</p:attrName>
                                        </p:attrNameLst>
                                      </p:cBhvr>
                                      <p:tavLst>
                                        <p:tav tm="0">
                                          <p:val>
                                            <p:strVal val="#ppt_x"/>
                                          </p:val>
                                        </p:tav>
                                        <p:tav tm="100000">
                                          <p:val>
                                            <p:strVal val="#ppt_x"/>
                                          </p:val>
                                        </p:tav>
                                      </p:tavLst>
                                    </p:anim>
                                    <p:anim calcmode="lin" valueType="num">
                                      <p:cBhvr additive="base">
                                        <p:cTn id="27" dur="500" fill="hold"/>
                                        <p:tgtEl>
                                          <p:spTgt spid="9"/>
                                        </p:tgtEl>
                                        <p:attrNameLst>
                                          <p:attrName>ppt_y</p:attrName>
                                        </p:attrNameLst>
                                      </p:cBhvr>
                                      <p:tavLst>
                                        <p:tav tm="0">
                                          <p:val>
                                            <p:strVal val="0-#ppt_h/2"/>
                                          </p:val>
                                        </p:tav>
                                        <p:tav tm="100000">
                                          <p:val>
                                            <p:strVal val="#ppt_y"/>
                                          </p:val>
                                        </p:tav>
                                      </p:tavLst>
                                    </p:anim>
                                  </p:childTnLst>
                                </p:cTn>
                              </p:par>
                              <p:par>
                                <p:cTn id="28" presetID="26" presetClass="emph" presetSubtype="0" fill="hold" grpId="1" nodeType="withEffect">
                                  <p:stCondLst>
                                    <p:cond delay="1000"/>
                                  </p:stCondLst>
                                  <p:iterate type="lt">
                                    <p:tmPct val="10000"/>
                                  </p:iterate>
                                  <p:childTnLst>
                                    <p:animEffect transition="out" filter="fade">
                                      <p:cBhvr>
                                        <p:cTn id="29" dur="500" tmFilter="0, 0; .2, .5; .8, .5; 1, 0"/>
                                        <p:tgtEl>
                                          <p:spTgt spid="9"/>
                                        </p:tgtEl>
                                      </p:cBhvr>
                                    </p:animEffect>
                                    <p:animScale>
                                      <p:cBhvr>
                                        <p:cTn id="30" dur="250" autoRev="1" fill="hold"/>
                                        <p:tgtEl>
                                          <p:spTgt spid="9"/>
                                        </p:tgtEl>
                                      </p:cBhvr>
                                      <p:by x="105000" y="105000"/>
                                    </p:animScale>
                                  </p:childTnLst>
                                </p:cTn>
                              </p:par>
                            </p:childTnLst>
                          </p:cTn>
                        </p:par>
                        <p:par>
                          <p:cTn id="31" fill="hold">
                            <p:stCondLst>
                              <p:cond delay="1850"/>
                            </p:stCondLst>
                            <p:childTnLst>
                              <p:par>
                                <p:cTn id="32" presetID="2" presetClass="entr" presetSubtype="9" decel="100000" fill="hold" nodeType="afterEffect">
                                  <p:stCondLst>
                                    <p:cond delay="0"/>
                                  </p:stCondLst>
                                  <p:childTnLst>
                                    <p:set>
                                      <p:cBhvr>
                                        <p:cTn id="33" dur="1" fill="hold">
                                          <p:stCondLst>
                                            <p:cond delay="0"/>
                                          </p:stCondLst>
                                        </p:cTn>
                                        <p:tgtEl>
                                          <p:spTgt spid="59"/>
                                        </p:tgtEl>
                                        <p:attrNameLst>
                                          <p:attrName>style.visibility</p:attrName>
                                        </p:attrNameLst>
                                      </p:cBhvr>
                                      <p:to>
                                        <p:strVal val="visible"/>
                                      </p:to>
                                    </p:set>
                                    <p:anim calcmode="lin" valueType="num">
                                      <p:cBhvr additive="base">
                                        <p:cTn id="34" dur="1000" fill="hold"/>
                                        <p:tgtEl>
                                          <p:spTgt spid="59"/>
                                        </p:tgtEl>
                                        <p:attrNameLst>
                                          <p:attrName>ppt_x</p:attrName>
                                        </p:attrNameLst>
                                      </p:cBhvr>
                                      <p:tavLst>
                                        <p:tav tm="0">
                                          <p:val>
                                            <p:strVal val="0-#ppt_w/2"/>
                                          </p:val>
                                        </p:tav>
                                        <p:tav tm="100000">
                                          <p:val>
                                            <p:strVal val="#ppt_x"/>
                                          </p:val>
                                        </p:tav>
                                      </p:tavLst>
                                    </p:anim>
                                    <p:anim calcmode="lin" valueType="num">
                                      <p:cBhvr additive="base">
                                        <p:cTn id="35" dur="1000" fill="hold"/>
                                        <p:tgtEl>
                                          <p:spTgt spid="59"/>
                                        </p:tgtEl>
                                        <p:attrNameLst>
                                          <p:attrName>ppt_y</p:attrName>
                                        </p:attrNameLst>
                                      </p:cBhvr>
                                      <p:tavLst>
                                        <p:tav tm="0">
                                          <p:val>
                                            <p:strVal val="0-#ppt_h/2"/>
                                          </p:val>
                                        </p:tav>
                                        <p:tav tm="100000">
                                          <p:val>
                                            <p:strVal val="#ppt_y"/>
                                          </p:val>
                                        </p:tav>
                                      </p:tavLst>
                                    </p:anim>
                                  </p:childTnLst>
                                </p:cTn>
                              </p:par>
                              <p:par>
                                <p:cTn id="36" presetID="2" presetClass="entr" presetSubtype="1" decel="100000" fill="hold" nodeType="withEffect">
                                  <p:stCondLst>
                                    <p:cond delay="200"/>
                                  </p:stCondLst>
                                  <p:childTnLst>
                                    <p:set>
                                      <p:cBhvr>
                                        <p:cTn id="37" dur="1" fill="hold">
                                          <p:stCondLst>
                                            <p:cond delay="0"/>
                                          </p:stCondLst>
                                        </p:cTn>
                                        <p:tgtEl>
                                          <p:spTgt spid="60"/>
                                        </p:tgtEl>
                                        <p:attrNameLst>
                                          <p:attrName>style.visibility</p:attrName>
                                        </p:attrNameLst>
                                      </p:cBhvr>
                                      <p:to>
                                        <p:strVal val="visible"/>
                                      </p:to>
                                    </p:set>
                                    <p:anim calcmode="lin" valueType="num">
                                      <p:cBhvr additive="base">
                                        <p:cTn id="38" dur="1000" fill="hold"/>
                                        <p:tgtEl>
                                          <p:spTgt spid="60"/>
                                        </p:tgtEl>
                                        <p:attrNameLst>
                                          <p:attrName>ppt_x</p:attrName>
                                        </p:attrNameLst>
                                      </p:cBhvr>
                                      <p:tavLst>
                                        <p:tav tm="0">
                                          <p:val>
                                            <p:strVal val="#ppt_x"/>
                                          </p:val>
                                        </p:tav>
                                        <p:tav tm="100000">
                                          <p:val>
                                            <p:strVal val="#ppt_x"/>
                                          </p:val>
                                        </p:tav>
                                      </p:tavLst>
                                    </p:anim>
                                    <p:anim calcmode="lin" valueType="num">
                                      <p:cBhvr additive="base">
                                        <p:cTn id="39" dur="1000" fill="hold"/>
                                        <p:tgtEl>
                                          <p:spTgt spid="60"/>
                                        </p:tgtEl>
                                        <p:attrNameLst>
                                          <p:attrName>ppt_y</p:attrName>
                                        </p:attrNameLst>
                                      </p:cBhvr>
                                      <p:tavLst>
                                        <p:tav tm="0">
                                          <p:val>
                                            <p:strVal val="0-#ppt_h/2"/>
                                          </p:val>
                                        </p:tav>
                                        <p:tav tm="100000">
                                          <p:val>
                                            <p:strVal val="#ppt_y"/>
                                          </p:val>
                                        </p:tav>
                                      </p:tavLst>
                                    </p:anim>
                                  </p:childTnLst>
                                </p:cTn>
                              </p:par>
                              <p:par>
                                <p:cTn id="40" presetID="2" presetClass="entr" presetSubtype="1" decel="100000" fill="hold" nodeType="withEffect">
                                  <p:stCondLst>
                                    <p:cond delay="100"/>
                                  </p:stCondLst>
                                  <p:childTnLst>
                                    <p:set>
                                      <p:cBhvr>
                                        <p:cTn id="41" dur="1" fill="hold">
                                          <p:stCondLst>
                                            <p:cond delay="0"/>
                                          </p:stCondLst>
                                        </p:cTn>
                                        <p:tgtEl>
                                          <p:spTgt spid="61"/>
                                        </p:tgtEl>
                                        <p:attrNameLst>
                                          <p:attrName>style.visibility</p:attrName>
                                        </p:attrNameLst>
                                      </p:cBhvr>
                                      <p:to>
                                        <p:strVal val="visible"/>
                                      </p:to>
                                    </p:set>
                                    <p:anim calcmode="lin" valueType="num">
                                      <p:cBhvr additive="base">
                                        <p:cTn id="42" dur="1000" fill="hold"/>
                                        <p:tgtEl>
                                          <p:spTgt spid="61"/>
                                        </p:tgtEl>
                                        <p:attrNameLst>
                                          <p:attrName>ppt_x</p:attrName>
                                        </p:attrNameLst>
                                      </p:cBhvr>
                                      <p:tavLst>
                                        <p:tav tm="0">
                                          <p:val>
                                            <p:strVal val="#ppt_x"/>
                                          </p:val>
                                        </p:tav>
                                        <p:tav tm="100000">
                                          <p:val>
                                            <p:strVal val="#ppt_x"/>
                                          </p:val>
                                        </p:tav>
                                      </p:tavLst>
                                    </p:anim>
                                    <p:anim calcmode="lin" valueType="num">
                                      <p:cBhvr additive="base">
                                        <p:cTn id="43" dur="1000" fill="hold"/>
                                        <p:tgtEl>
                                          <p:spTgt spid="61"/>
                                        </p:tgtEl>
                                        <p:attrNameLst>
                                          <p:attrName>ppt_y</p:attrName>
                                        </p:attrNameLst>
                                      </p:cBhvr>
                                      <p:tavLst>
                                        <p:tav tm="0">
                                          <p:val>
                                            <p:strVal val="0-#ppt_h/2"/>
                                          </p:val>
                                        </p:tav>
                                        <p:tav tm="100000">
                                          <p:val>
                                            <p:strVal val="#ppt_y"/>
                                          </p:val>
                                        </p:tav>
                                      </p:tavLst>
                                    </p:anim>
                                  </p:childTnLst>
                                </p:cTn>
                              </p:par>
                              <p:par>
                                <p:cTn id="44" presetID="2" presetClass="entr" presetSubtype="3" decel="100000" fill="hold" nodeType="withEffect">
                                  <p:stCondLst>
                                    <p:cond delay="200"/>
                                  </p:stCondLst>
                                  <p:childTnLst>
                                    <p:set>
                                      <p:cBhvr>
                                        <p:cTn id="45" dur="1" fill="hold">
                                          <p:stCondLst>
                                            <p:cond delay="0"/>
                                          </p:stCondLst>
                                        </p:cTn>
                                        <p:tgtEl>
                                          <p:spTgt spid="62"/>
                                        </p:tgtEl>
                                        <p:attrNameLst>
                                          <p:attrName>style.visibility</p:attrName>
                                        </p:attrNameLst>
                                      </p:cBhvr>
                                      <p:to>
                                        <p:strVal val="visible"/>
                                      </p:to>
                                    </p:set>
                                    <p:anim calcmode="lin" valueType="num">
                                      <p:cBhvr additive="base">
                                        <p:cTn id="46" dur="1000" fill="hold"/>
                                        <p:tgtEl>
                                          <p:spTgt spid="62"/>
                                        </p:tgtEl>
                                        <p:attrNameLst>
                                          <p:attrName>ppt_x</p:attrName>
                                        </p:attrNameLst>
                                      </p:cBhvr>
                                      <p:tavLst>
                                        <p:tav tm="0">
                                          <p:val>
                                            <p:strVal val="1+#ppt_w/2"/>
                                          </p:val>
                                        </p:tav>
                                        <p:tav tm="100000">
                                          <p:val>
                                            <p:strVal val="#ppt_x"/>
                                          </p:val>
                                        </p:tav>
                                      </p:tavLst>
                                    </p:anim>
                                    <p:anim calcmode="lin" valueType="num">
                                      <p:cBhvr additive="base">
                                        <p:cTn id="47" dur="1000" fill="hold"/>
                                        <p:tgtEl>
                                          <p:spTgt spid="62"/>
                                        </p:tgtEl>
                                        <p:attrNameLst>
                                          <p:attrName>ppt_y</p:attrName>
                                        </p:attrNameLst>
                                      </p:cBhvr>
                                      <p:tavLst>
                                        <p:tav tm="0">
                                          <p:val>
                                            <p:strVal val="0-#ppt_h/2"/>
                                          </p:val>
                                        </p:tav>
                                        <p:tav tm="100000">
                                          <p:val>
                                            <p:strVal val="#ppt_y"/>
                                          </p:val>
                                        </p:tav>
                                      </p:tavLst>
                                    </p:anim>
                                  </p:childTnLst>
                                </p:cTn>
                              </p:par>
                            </p:childTnLst>
                          </p:cTn>
                        </p:par>
                        <p:par>
                          <p:cTn id="48" fill="hold">
                            <p:stCondLst>
                              <p:cond delay="2850"/>
                            </p:stCondLst>
                            <p:childTnLst>
                              <p:par>
                                <p:cTn id="49" presetID="17" presetClass="entr" presetSubtype="10" fill="hold" grpId="0" nodeType="afterEffect">
                                  <p:stCondLst>
                                    <p:cond delay="0"/>
                                  </p:stCondLst>
                                  <p:iterate type="lt">
                                    <p:tmPct val="10000"/>
                                  </p:iterate>
                                  <p:childTnLst>
                                    <p:set>
                                      <p:cBhvr>
                                        <p:cTn id="50" dur="1" fill="hold">
                                          <p:stCondLst>
                                            <p:cond delay="0"/>
                                          </p:stCondLst>
                                        </p:cTn>
                                        <p:tgtEl>
                                          <p:spTgt spid="79"/>
                                        </p:tgtEl>
                                        <p:attrNameLst>
                                          <p:attrName>style.visibility</p:attrName>
                                        </p:attrNameLst>
                                      </p:cBhvr>
                                      <p:to>
                                        <p:strVal val="visible"/>
                                      </p:to>
                                    </p:set>
                                    <p:anim calcmode="lin" valueType="num">
                                      <p:cBhvr>
                                        <p:cTn id="51" dur="500" fill="hold"/>
                                        <p:tgtEl>
                                          <p:spTgt spid="79"/>
                                        </p:tgtEl>
                                        <p:attrNameLst>
                                          <p:attrName>ppt_w</p:attrName>
                                        </p:attrNameLst>
                                      </p:cBhvr>
                                      <p:tavLst>
                                        <p:tav tm="0">
                                          <p:val>
                                            <p:fltVal val="0"/>
                                          </p:val>
                                        </p:tav>
                                        <p:tav tm="100000">
                                          <p:val>
                                            <p:strVal val="#ppt_w"/>
                                          </p:val>
                                        </p:tav>
                                      </p:tavLst>
                                    </p:anim>
                                    <p:anim calcmode="lin" valueType="num">
                                      <p:cBhvr>
                                        <p:cTn id="52" dur="500" fill="hold"/>
                                        <p:tgtEl>
                                          <p:spTgt spid="79"/>
                                        </p:tgtEl>
                                        <p:attrNameLst>
                                          <p:attrName>ppt_h</p:attrName>
                                        </p:attrNameLst>
                                      </p:cBhvr>
                                      <p:tavLst>
                                        <p:tav tm="0">
                                          <p:val>
                                            <p:strVal val="#ppt_h"/>
                                          </p:val>
                                        </p:tav>
                                        <p:tav tm="100000">
                                          <p:val>
                                            <p:strVal val="#ppt_h"/>
                                          </p:val>
                                        </p:tav>
                                      </p:tavLst>
                                    </p:anim>
                                  </p:childTnLst>
                                </p:cTn>
                              </p:par>
                            </p:childTnLst>
                          </p:cTn>
                        </p:par>
                        <p:par>
                          <p:cTn id="53" fill="hold">
                            <p:stCondLst>
                              <p:cond delay="3700"/>
                            </p:stCondLst>
                            <p:childTnLst>
                              <p:par>
                                <p:cTn id="54" presetID="17" presetClass="entr" presetSubtype="10" fill="hold" grpId="0" nodeType="afterEffect">
                                  <p:stCondLst>
                                    <p:cond delay="0"/>
                                  </p:stCondLst>
                                  <p:iterate type="lt">
                                    <p:tmPct val="10000"/>
                                  </p:iterate>
                                  <p:childTnLst>
                                    <p:set>
                                      <p:cBhvr>
                                        <p:cTn id="55" dur="1" fill="hold">
                                          <p:stCondLst>
                                            <p:cond delay="0"/>
                                          </p:stCondLst>
                                        </p:cTn>
                                        <p:tgtEl>
                                          <p:spTgt spid="80"/>
                                        </p:tgtEl>
                                        <p:attrNameLst>
                                          <p:attrName>style.visibility</p:attrName>
                                        </p:attrNameLst>
                                      </p:cBhvr>
                                      <p:to>
                                        <p:strVal val="visible"/>
                                      </p:to>
                                    </p:set>
                                    <p:anim calcmode="lin" valueType="num">
                                      <p:cBhvr>
                                        <p:cTn id="56" dur="500" fill="hold"/>
                                        <p:tgtEl>
                                          <p:spTgt spid="80"/>
                                        </p:tgtEl>
                                        <p:attrNameLst>
                                          <p:attrName>ppt_w</p:attrName>
                                        </p:attrNameLst>
                                      </p:cBhvr>
                                      <p:tavLst>
                                        <p:tav tm="0">
                                          <p:val>
                                            <p:fltVal val="0"/>
                                          </p:val>
                                        </p:tav>
                                        <p:tav tm="100000">
                                          <p:val>
                                            <p:strVal val="#ppt_w"/>
                                          </p:val>
                                        </p:tav>
                                      </p:tavLst>
                                    </p:anim>
                                    <p:anim calcmode="lin" valueType="num">
                                      <p:cBhvr>
                                        <p:cTn id="57" dur="500" fill="hold"/>
                                        <p:tgtEl>
                                          <p:spTgt spid="80"/>
                                        </p:tgtEl>
                                        <p:attrNameLst>
                                          <p:attrName>ppt_h</p:attrName>
                                        </p:attrNameLst>
                                      </p:cBhvr>
                                      <p:tavLst>
                                        <p:tav tm="0">
                                          <p:val>
                                            <p:strVal val="#ppt_h"/>
                                          </p:val>
                                        </p:tav>
                                        <p:tav tm="100000">
                                          <p:val>
                                            <p:strVal val="#ppt_h"/>
                                          </p:val>
                                        </p:tav>
                                      </p:tavLst>
                                    </p:anim>
                                  </p:childTnLst>
                                </p:cTn>
                              </p:par>
                            </p:childTnLst>
                          </p:cTn>
                        </p:par>
                        <p:par>
                          <p:cTn id="58" fill="hold">
                            <p:stCondLst>
                              <p:cond delay="4349"/>
                            </p:stCondLst>
                            <p:childTnLst>
                              <p:par>
                                <p:cTn id="59" presetID="17" presetClass="entr" presetSubtype="10" fill="hold" grpId="0" nodeType="afterEffect">
                                  <p:stCondLst>
                                    <p:cond delay="0"/>
                                  </p:stCondLst>
                                  <p:iterate type="lt">
                                    <p:tmPct val="10000"/>
                                  </p:iterate>
                                  <p:childTnLst>
                                    <p:set>
                                      <p:cBhvr>
                                        <p:cTn id="60" dur="1" fill="hold">
                                          <p:stCondLst>
                                            <p:cond delay="0"/>
                                          </p:stCondLst>
                                        </p:cTn>
                                        <p:tgtEl>
                                          <p:spTgt spid="81"/>
                                        </p:tgtEl>
                                        <p:attrNameLst>
                                          <p:attrName>style.visibility</p:attrName>
                                        </p:attrNameLst>
                                      </p:cBhvr>
                                      <p:to>
                                        <p:strVal val="visible"/>
                                      </p:to>
                                    </p:set>
                                    <p:anim calcmode="lin" valueType="num">
                                      <p:cBhvr>
                                        <p:cTn id="61" dur="500" fill="hold"/>
                                        <p:tgtEl>
                                          <p:spTgt spid="81"/>
                                        </p:tgtEl>
                                        <p:attrNameLst>
                                          <p:attrName>ppt_w</p:attrName>
                                        </p:attrNameLst>
                                      </p:cBhvr>
                                      <p:tavLst>
                                        <p:tav tm="0">
                                          <p:val>
                                            <p:fltVal val="0"/>
                                          </p:val>
                                        </p:tav>
                                        <p:tav tm="100000">
                                          <p:val>
                                            <p:strVal val="#ppt_w"/>
                                          </p:val>
                                        </p:tav>
                                      </p:tavLst>
                                    </p:anim>
                                    <p:anim calcmode="lin" valueType="num">
                                      <p:cBhvr>
                                        <p:cTn id="62" dur="500" fill="hold"/>
                                        <p:tgtEl>
                                          <p:spTgt spid="81"/>
                                        </p:tgtEl>
                                        <p:attrNameLst>
                                          <p:attrName>ppt_h</p:attrName>
                                        </p:attrNameLst>
                                      </p:cBhvr>
                                      <p:tavLst>
                                        <p:tav tm="0">
                                          <p:val>
                                            <p:strVal val="#ppt_h"/>
                                          </p:val>
                                        </p:tav>
                                        <p:tav tm="100000">
                                          <p:val>
                                            <p:strVal val="#ppt_h"/>
                                          </p:val>
                                        </p:tav>
                                      </p:tavLst>
                                    </p:anim>
                                  </p:childTnLst>
                                </p:cTn>
                              </p:par>
                            </p:childTnLst>
                          </p:cTn>
                        </p:par>
                        <p:par>
                          <p:cTn id="63" fill="hold">
                            <p:stCondLst>
                              <p:cond delay="5000"/>
                            </p:stCondLst>
                            <p:childTnLst>
                              <p:par>
                                <p:cTn id="64" presetID="17" presetClass="entr" presetSubtype="10" fill="hold" grpId="0" nodeType="afterEffect">
                                  <p:stCondLst>
                                    <p:cond delay="0"/>
                                  </p:stCondLst>
                                  <p:iterate type="lt">
                                    <p:tmPct val="10000"/>
                                  </p:iterate>
                                  <p:childTnLst>
                                    <p:set>
                                      <p:cBhvr>
                                        <p:cTn id="65" dur="1" fill="hold">
                                          <p:stCondLst>
                                            <p:cond delay="0"/>
                                          </p:stCondLst>
                                        </p:cTn>
                                        <p:tgtEl>
                                          <p:spTgt spid="82"/>
                                        </p:tgtEl>
                                        <p:attrNameLst>
                                          <p:attrName>style.visibility</p:attrName>
                                        </p:attrNameLst>
                                      </p:cBhvr>
                                      <p:to>
                                        <p:strVal val="visible"/>
                                      </p:to>
                                    </p:set>
                                    <p:anim calcmode="lin" valueType="num">
                                      <p:cBhvr>
                                        <p:cTn id="66" dur="500" fill="hold"/>
                                        <p:tgtEl>
                                          <p:spTgt spid="82"/>
                                        </p:tgtEl>
                                        <p:attrNameLst>
                                          <p:attrName>ppt_w</p:attrName>
                                        </p:attrNameLst>
                                      </p:cBhvr>
                                      <p:tavLst>
                                        <p:tav tm="0">
                                          <p:val>
                                            <p:fltVal val="0"/>
                                          </p:val>
                                        </p:tav>
                                        <p:tav tm="100000">
                                          <p:val>
                                            <p:strVal val="#ppt_w"/>
                                          </p:val>
                                        </p:tav>
                                      </p:tavLst>
                                    </p:anim>
                                    <p:anim calcmode="lin" valueType="num">
                                      <p:cBhvr>
                                        <p:cTn id="67" dur="500" fill="hold"/>
                                        <p:tgtEl>
                                          <p:spTgt spid="8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9" grpId="0"/>
      <p:bldP spid="9" grpId="1"/>
      <p:bldP spid="79" grpId="0"/>
      <p:bldP spid="80" grpId="0"/>
      <p:bldP spid="81" grpId="0"/>
      <p:bldP spid="82"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市场前景</a:t>
            </a:r>
          </a:p>
        </p:txBody>
      </p:sp>
      <p:pic>
        <p:nvPicPr>
          <p:cNvPr id="6" name="3"/>
          <p:cNvPicPr>
            <a:picLocks noChangeAspect="1"/>
          </p:cNvPicPr>
          <p:nvPr/>
        </p:nvPicPr>
        <p:blipFill rotWithShape="1">
          <a:blip r:embed="rId2" cstate="screen"/>
          <a:srcRect/>
          <a:stretch>
            <a:fillRect/>
          </a:stretch>
        </p:blipFill>
        <p:spPr>
          <a:xfrm>
            <a:off x="158312" y="64984"/>
            <a:ext cx="877549" cy="1499409"/>
          </a:xfrm>
          <a:prstGeom prst="rect">
            <a:avLst/>
          </a:prstGeom>
        </p:spPr>
      </p:pic>
      <p:pic>
        <p:nvPicPr>
          <p:cNvPr id="149" name="图片 148"/>
          <p:cNvPicPr>
            <a:picLocks noChangeAspect="1"/>
          </p:cNvPicPr>
          <p:nvPr/>
        </p:nvPicPr>
        <p:blipFill rotWithShape="1">
          <a:blip r:embed="rId3" cstate="screen"/>
          <a:srcRect/>
          <a:stretch>
            <a:fillRect/>
          </a:stretch>
        </p:blipFill>
        <p:spPr>
          <a:xfrm>
            <a:off x="8543806" y="1000935"/>
            <a:ext cx="3302753" cy="3780264"/>
          </a:xfrm>
          <a:prstGeom prst="rect">
            <a:avLst/>
          </a:prstGeom>
        </p:spPr>
      </p:pic>
      <p:cxnSp>
        <p:nvCxnSpPr>
          <p:cNvPr id="150" name="直接连接符 149"/>
          <p:cNvCxnSpPr/>
          <p:nvPr/>
        </p:nvCxnSpPr>
        <p:spPr>
          <a:xfrm>
            <a:off x="3932669" y="1927476"/>
            <a:ext cx="0" cy="1927182"/>
          </a:xfrm>
          <a:prstGeom prst="line">
            <a:avLst/>
          </a:prstGeom>
          <a:ln>
            <a:solidFill>
              <a:srgbClr val="84FFFF"/>
            </a:solidFill>
            <a:prstDash val="dashDot"/>
          </a:ln>
        </p:spPr>
        <p:style>
          <a:lnRef idx="1">
            <a:schemeClr val="accent1"/>
          </a:lnRef>
          <a:fillRef idx="0">
            <a:schemeClr val="accent1"/>
          </a:fillRef>
          <a:effectRef idx="0">
            <a:schemeClr val="accent1"/>
          </a:effectRef>
          <a:fontRef idx="minor">
            <a:schemeClr val="tx1"/>
          </a:fontRef>
        </p:style>
      </p:cxnSp>
      <p:cxnSp>
        <p:nvCxnSpPr>
          <p:cNvPr id="151" name="直接连接符 150"/>
          <p:cNvCxnSpPr/>
          <p:nvPr/>
        </p:nvCxnSpPr>
        <p:spPr>
          <a:xfrm>
            <a:off x="8259581" y="1927476"/>
            <a:ext cx="0" cy="1927182"/>
          </a:xfrm>
          <a:prstGeom prst="line">
            <a:avLst/>
          </a:prstGeom>
          <a:ln>
            <a:solidFill>
              <a:srgbClr val="84FFFF"/>
            </a:solidFill>
            <a:prstDash val="dashDot"/>
          </a:ln>
        </p:spPr>
        <p:style>
          <a:lnRef idx="1">
            <a:schemeClr val="accent1"/>
          </a:lnRef>
          <a:fillRef idx="0">
            <a:schemeClr val="accent1"/>
          </a:fillRef>
          <a:effectRef idx="0">
            <a:schemeClr val="accent1"/>
          </a:effectRef>
          <a:fontRef idx="minor">
            <a:schemeClr val="tx1"/>
          </a:fontRef>
        </p:style>
      </p:cxnSp>
      <p:pic>
        <p:nvPicPr>
          <p:cNvPr id="152" name="图片 151"/>
          <p:cNvPicPr>
            <a:picLocks noChangeAspect="1"/>
          </p:cNvPicPr>
          <p:nvPr/>
        </p:nvPicPr>
        <p:blipFill rotWithShape="1">
          <a:blip r:embed="rId4" cstate="screen"/>
          <a:srcRect/>
          <a:stretch>
            <a:fillRect/>
          </a:stretch>
        </p:blipFill>
        <p:spPr>
          <a:xfrm>
            <a:off x="631243" y="1314015"/>
            <a:ext cx="2698582" cy="3136741"/>
          </a:xfrm>
          <a:prstGeom prst="rect">
            <a:avLst/>
          </a:prstGeom>
        </p:spPr>
      </p:pic>
      <p:pic>
        <p:nvPicPr>
          <p:cNvPr id="153" name="图片 152"/>
          <p:cNvPicPr>
            <a:picLocks noChangeAspect="1"/>
          </p:cNvPicPr>
          <p:nvPr/>
        </p:nvPicPr>
        <p:blipFill rotWithShape="1">
          <a:blip r:embed="rId5" cstate="screen"/>
          <a:srcRect/>
          <a:stretch>
            <a:fillRect/>
          </a:stretch>
        </p:blipFill>
        <p:spPr>
          <a:xfrm>
            <a:off x="4808729" y="1164743"/>
            <a:ext cx="2488557" cy="3452648"/>
          </a:xfrm>
          <a:prstGeom prst="rect">
            <a:avLst/>
          </a:prstGeom>
        </p:spPr>
      </p:pic>
      <p:sp>
        <p:nvSpPr>
          <p:cNvPr id="154" name="Shape 643"/>
          <p:cNvSpPr txBox="1"/>
          <p:nvPr/>
        </p:nvSpPr>
        <p:spPr>
          <a:xfrm>
            <a:off x="762980" y="5160668"/>
            <a:ext cx="2398050" cy="969450"/>
          </a:xfrm>
          <a:prstGeom prst="rect">
            <a:avLst/>
          </a:prstGeom>
          <a:noFill/>
          <a:ln>
            <a:noFill/>
          </a:ln>
        </p:spPr>
        <p:txBody>
          <a:bodyPr lIns="45713" tIns="22850" rIns="45713" bIns="22850" anchor="t" anchorCtr="0">
            <a:noAutofit/>
          </a:bodyPr>
          <a:lstStyle/>
          <a:p>
            <a:pPr algn="ctr">
              <a:lnSpc>
                <a:spcPct val="150000"/>
              </a:lnSpc>
              <a:buSzPct val="25000"/>
            </a:pPr>
            <a:r>
              <a:rPr lang="zh-CN" altLang="en-US" sz="1200" kern="0" dirty="0">
                <a:solidFill>
                  <a:schemeClr val="bg1"/>
                </a:solidFill>
                <a:cs typeface="+mn-ea"/>
                <a:sym typeface="+mn-lt"/>
              </a:rPr>
              <a:t>点击添加文字说明详情介绍点击添加文字说明详情介绍点击添加文字说明详情介绍点击添加文字说明详情介绍点击添加文字说明</a:t>
            </a:r>
          </a:p>
        </p:txBody>
      </p:sp>
      <p:sp>
        <p:nvSpPr>
          <p:cNvPr id="155" name="Shape 644"/>
          <p:cNvSpPr txBox="1"/>
          <p:nvPr/>
        </p:nvSpPr>
        <p:spPr>
          <a:xfrm>
            <a:off x="699480" y="4794539"/>
            <a:ext cx="2500050" cy="292350"/>
          </a:xfrm>
          <a:prstGeom prst="rect">
            <a:avLst/>
          </a:prstGeom>
          <a:noFill/>
          <a:ln>
            <a:noFill/>
          </a:ln>
        </p:spPr>
        <p:txBody>
          <a:bodyPr lIns="45713" tIns="22850" rIns="45713" bIns="22850" anchor="t" anchorCtr="0">
            <a:noAutofit/>
          </a:bodyPr>
          <a:lstStyle/>
          <a:p>
            <a:pPr algn="ctr">
              <a:buSzPct val="25000"/>
            </a:pPr>
            <a:r>
              <a:rPr lang="zh-CN" altLang="en-US" sz="1600" b="1" kern="0" dirty="0">
                <a:solidFill>
                  <a:srgbClr val="84FFFF"/>
                </a:solidFill>
                <a:cs typeface="+mn-ea"/>
                <a:sym typeface="+mn-lt"/>
              </a:rPr>
              <a:t>填写段落标题</a:t>
            </a:r>
          </a:p>
        </p:txBody>
      </p:sp>
      <p:sp>
        <p:nvSpPr>
          <p:cNvPr id="156" name="Shape 643"/>
          <p:cNvSpPr txBox="1"/>
          <p:nvPr/>
        </p:nvSpPr>
        <p:spPr>
          <a:xfrm>
            <a:off x="4977803" y="5160668"/>
            <a:ext cx="2398050" cy="969450"/>
          </a:xfrm>
          <a:prstGeom prst="rect">
            <a:avLst/>
          </a:prstGeom>
          <a:noFill/>
          <a:ln>
            <a:noFill/>
          </a:ln>
        </p:spPr>
        <p:txBody>
          <a:bodyPr lIns="45713" tIns="22850" rIns="45713" bIns="22850" anchor="t" anchorCtr="0">
            <a:noAutofit/>
          </a:bodyPr>
          <a:lstStyle/>
          <a:p>
            <a:pPr algn="ctr">
              <a:lnSpc>
                <a:spcPct val="150000"/>
              </a:lnSpc>
              <a:buSzPct val="25000"/>
            </a:pPr>
            <a:r>
              <a:rPr lang="zh-CN" altLang="en-US" sz="1200" kern="0" dirty="0">
                <a:solidFill>
                  <a:schemeClr val="bg1"/>
                </a:solidFill>
                <a:cs typeface="+mn-ea"/>
                <a:sym typeface="+mn-lt"/>
              </a:rPr>
              <a:t>点击添加文字说明详情介绍点击添加文字说明详情介绍点击添加文字说明详情介绍点击添加文字说明详情介绍点击添加文字说明</a:t>
            </a:r>
          </a:p>
        </p:txBody>
      </p:sp>
      <p:sp>
        <p:nvSpPr>
          <p:cNvPr id="157" name="Shape 644"/>
          <p:cNvSpPr txBox="1"/>
          <p:nvPr/>
        </p:nvSpPr>
        <p:spPr>
          <a:xfrm>
            <a:off x="4914303" y="4794539"/>
            <a:ext cx="2500050" cy="292350"/>
          </a:xfrm>
          <a:prstGeom prst="rect">
            <a:avLst/>
          </a:prstGeom>
          <a:noFill/>
          <a:ln>
            <a:noFill/>
          </a:ln>
        </p:spPr>
        <p:txBody>
          <a:bodyPr lIns="45713" tIns="22850" rIns="45713" bIns="22850" anchor="t" anchorCtr="0">
            <a:noAutofit/>
          </a:bodyPr>
          <a:lstStyle/>
          <a:p>
            <a:pPr algn="ctr">
              <a:buSzPct val="25000"/>
            </a:pPr>
            <a:r>
              <a:rPr lang="zh-CN" altLang="en-US" sz="1600" b="1" kern="0" dirty="0">
                <a:solidFill>
                  <a:srgbClr val="84FFFF"/>
                </a:solidFill>
                <a:cs typeface="+mn-ea"/>
                <a:sym typeface="+mn-lt"/>
              </a:rPr>
              <a:t>填写段落标题</a:t>
            </a:r>
          </a:p>
        </p:txBody>
      </p:sp>
      <p:sp>
        <p:nvSpPr>
          <p:cNvPr id="158" name="Shape 643"/>
          <p:cNvSpPr txBox="1"/>
          <p:nvPr/>
        </p:nvSpPr>
        <p:spPr>
          <a:xfrm>
            <a:off x="9192625" y="5160668"/>
            <a:ext cx="2398050" cy="969450"/>
          </a:xfrm>
          <a:prstGeom prst="rect">
            <a:avLst/>
          </a:prstGeom>
          <a:noFill/>
          <a:ln>
            <a:noFill/>
          </a:ln>
        </p:spPr>
        <p:txBody>
          <a:bodyPr lIns="45713" tIns="22850" rIns="45713" bIns="22850" anchor="t" anchorCtr="0">
            <a:noAutofit/>
          </a:bodyPr>
          <a:lstStyle/>
          <a:p>
            <a:pPr algn="ctr">
              <a:lnSpc>
                <a:spcPct val="150000"/>
              </a:lnSpc>
              <a:buSzPct val="25000"/>
            </a:pPr>
            <a:r>
              <a:rPr lang="zh-CN" altLang="en-US" sz="1200" kern="0" dirty="0">
                <a:solidFill>
                  <a:schemeClr val="bg1"/>
                </a:solidFill>
                <a:cs typeface="+mn-ea"/>
                <a:sym typeface="+mn-lt"/>
              </a:rPr>
              <a:t>点击添加文字说明详情介绍点击添加文字说明详情介绍点击添加文字说明详情介绍点击添加文字说明详情介绍点击添加文字说明</a:t>
            </a:r>
          </a:p>
        </p:txBody>
      </p:sp>
      <p:sp>
        <p:nvSpPr>
          <p:cNvPr id="159" name="Shape 644"/>
          <p:cNvSpPr txBox="1"/>
          <p:nvPr/>
        </p:nvSpPr>
        <p:spPr>
          <a:xfrm>
            <a:off x="9129125" y="4794539"/>
            <a:ext cx="2500050" cy="292350"/>
          </a:xfrm>
          <a:prstGeom prst="rect">
            <a:avLst/>
          </a:prstGeom>
          <a:noFill/>
          <a:ln>
            <a:noFill/>
          </a:ln>
        </p:spPr>
        <p:txBody>
          <a:bodyPr lIns="45713" tIns="22850" rIns="45713" bIns="22850" anchor="t" anchorCtr="0">
            <a:noAutofit/>
          </a:bodyPr>
          <a:lstStyle/>
          <a:p>
            <a:pPr algn="ctr">
              <a:buSzPct val="25000"/>
            </a:pPr>
            <a:r>
              <a:rPr lang="zh-CN" altLang="en-US" sz="1600" b="1" kern="0" dirty="0">
                <a:solidFill>
                  <a:srgbClr val="84FFFF"/>
                </a:solidFill>
                <a:cs typeface="+mn-ea"/>
                <a:sym typeface="+mn-lt"/>
              </a:rPr>
              <a:t>填写段落标题</a:t>
            </a:r>
          </a:p>
        </p:txBody>
      </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500" fill="hold"/>
                                        <p:tgtEl>
                                          <p:spTgt spid="6"/>
                                        </p:tgtEl>
                                        <p:attrNameLst>
                                          <p:attrName>ppt_x</p:attrName>
                                        </p:attrNameLst>
                                      </p:cBhvr>
                                      <p:tavLst>
                                        <p:tav tm="0">
                                          <p:val>
                                            <p:strVal val="#ppt_x"/>
                                          </p:val>
                                        </p:tav>
                                        <p:tav tm="100000">
                                          <p:val>
                                            <p:strVal val="#ppt_x"/>
                                          </p:val>
                                        </p:tav>
                                      </p:tavLst>
                                    </p:anim>
                                    <p:anim calcmode="lin" valueType="num">
                                      <p:cBhvr additive="base">
                                        <p:cTn id="8" dur="1500" fill="hold"/>
                                        <p:tgtEl>
                                          <p:spTgt spid="6"/>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4" decel="100000" fill="hold" nodeType="withEffect">
                                  <p:stCondLst>
                                    <p:cond delay="1000"/>
                                  </p:stCondLst>
                                  <p:childTnLst>
                                    <p:set>
                                      <p:cBhvr>
                                        <p:cTn id="17" dur="1" fill="hold">
                                          <p:stCondLst>
                                            <p:cond delay="0"/>
                                          </p:stCondLst>
                                        </p:cTn>
                                        <p:tgtEl>
                                          <p:spTgt spid="152"/>
                                        </p:tgtEl>
                                        <p:attrNameLst>
                                          <p:attrName>style.visibility</p:attrName>
                                        </p:attrNameLst>
                                      </p:cBhvr>
                                      <p:to>
                                        <p:strVal val="visible"/>
                                      </p:to>
                                    </p:set>
                                    <p:anim calcmode="lin" valueType="num">
                                      <p:cBhvr additive="base">
                                        <p:cTn id="18" dur="1500" fill="hold"/>
                                        <p:tgtEl>
                                          <p:spTgt spid="152"/>
                                        </p:tgtEl>
                                        <p:attrNameLst>
                                          <p:attrName>ppt_x</p:attrName>
                                        </p:attrNameLst>
                                      </p:cBhvr>
                                      <p:tavLst>
                                        <p:tav tm="0">
                                          <p:val>
                                            <p:strVal val="#ppt_x"/>
                                          </p:val>
                                        </p:tav>
                                        <p:tav tm="100000">
                                          <p:val>
                                            <p:strVal val="#ppt_x"/>
                                          </p:val>
                                        </p:tav>
                                      </p:tavLst>
                                    </p:anim>
                                    <p:anim calcmode="lin" valueType="num">
                                      <p:cBhvr additive="base">
                                        <p:cTn id="19" dur="1500" fill="hold"/>
                                        <p:tgtEl>
                                          <p:spTgt spid="152"/>
                                        </p:tgtEl>
                                        <p:attrNameLst>
                                          <p:attrName>ppt_y</p:attrName>
                                        </p:attrNameLst>
                                      </p:cBhvr>
                                      <p:tavLst>
                                        <p:tav tm="0">
                                          <p:val>
                                            <p:strVal val="1+#ppt_h/2"/>
                                          </p:val>
                                        </p:tav>
                                        <p:tav tm="100000">
                                          <p:val>
                                            <p:strVal val="#ppt_y"/>
                                          </p:val>
                                        </p:tav>
                                      </p:tavLst>
                                    </p:anim>
                                  </p:childTnLst>
                                </p:cTn>
                              </p:par>
                              <p:par>
                                <p:cTn id="20" presetID="2" presetClass="entr" presetSubtype="4" decel="100000" fill="hold" nodeType="withEffect">
                                  <p:stCondLst>
                                    <p:cond delay="1500"/>
                                  </p:stCondLst>
                                  <p:childTnLst>
                                    <p:set>
                                      <p:cBhvr>
                                        <p:cTn id="21" dur="1" fill="hold">
                                          <p:stCondLst>
                                            <p:cond delay="0"/>
                                          </p:stCondLst>
                                        </p:cTn>
                                        <p:tgtEl>
                                          <p:spTgt spid="153"/>
                                        </p:tgtEl>
                                        <p:attrNameLst>
                                          <p:attrName>style.visibility</p:attrName>
                                        </p:attrNameLst>
                                      </p:cBhvr>
                                      <p:to>
                                        <p:strVal val="visible"/>
                                      </p:to>
                                    </p:set>
                                    <p:anim calcmode="lin" valueType="num">
                                      <p:cBhvr additive="base">
                                        <p:cTn id="22" dur="1500" fill="hold"/>
                                        <p:tgtEl>
                                          <p:spTgt spid="153"/>
                                        </p:tgtEl>
                                        <p:attrNameLst>
                                          <p:attrName>ppt_x</p:attrName>
                                        </p:attrNameLst>
                                      </p:cBhvr>
                                      <p:tavLst>
                                        <p:tav tm="0">
                                          <p:val>
                                            <p:strVal val="#ppt_x"/>
                                          </p:val>
                                        </p:tav>
                                        <p:tav tm="100000">
                                          <p:val>
                                            <p:strVal val="#ppt_x"/>
                                          </p:val>
                                        </p:tav>
                                      </p:tavLst>
                                    </p:anim>
                                    <p:anim calcmode="lin" valueType="num">
                                      <p:cBhvr additive="base">
                                        <p:cTn id="23" dur="1500" fill="hold"/>
                                        <p:tgtEl>
                                          <p:spTgt spid="153"/>
                                        </p:tgtEl>
                                        <p:attrNameLst>
                                          <p:attrName>ppt_y</p:attrName>
                                        </p:attrNameLst>
                                      </p:cBhvr>
                                      <p:tavLst>
                                        <p:tav tm="0">
                                          <p:val>
                                            <p:strVal val="1+#ppt_h/2"/>
                                          </p:val>
                                        </p:tav>
                                        <p:tav tm="100000">
                                          <p:val>
                                            <p:strVal val="#ppt_y"/>
                                          </p:val>
                                        </p:tav>
                                      </p:tavLst>
                                    </p:anim>
                                  </p:childTnLst>
                                </p:cTn>
                              </p:par>
                              <p:par>
                                <p:cTn id="24" presetID="2" presetClass="entr" presetSubtype="4" decel="100000" fill="hold" nodeType="withEffect">
                                  <p:stCondLst>
                                    <p:cond delay="2000"/>
                                  </p:stCondLst>
                                  <p:childTnLst>
                                    <p:set>
                                      <p:cBhvr>
                                        <p:cTn id="25" dur="1" fill="hold">
                                          <p:stCondLst>
                                            <p:cond delay="0"/>
                                          </p:stCondLst>
                                        </p:cTn>
                                        <p:tgtEl>
                                          <p:spTgt spid="149"/>
                                        </p:tgtEl>
                                        <p:attrNameLst>
                                          <p:attrName>style.visibility</p:attrName>
                                        </p:attrNameLst>
                                      </p:cBhvr>
                                      <p:to>
                                        <p:strVal val="visible"/>
                                      </p:to>
                                    </p:set>
                                    <p:anim calcmode="lin" valueType="num">
                                      <p:cBhvr additive="base">
                                        <p:cTn id="26" dur="1500" fill="hold"/>
                                        <p:tgtEl>
                                          <p:spTgt spid="149"/>
                                        </p:tgtEl>
                                        <p:attrNameLst>
                                          <p:attrName>ppt_x</p:attrName>
                                        </p:attrNameLst>
                                      </p:cBhvr>
                                      <p:tavLst>
                                        <p:tav tm="0">
                                          <p:val>
                                            <p:strVal val="#ppt_x"/>
                                          </p:val>
                                        </p:tav>
                                        <p:tav tm="100000">
                                          <p:val>
                                            <p:strVal val="#ppt_x"/>
                                          </p:val>
                                        </p:tav>
                                      </p:tavLst>
                                    </p:anim>
                                    <p:anim calcmode="lin" valueType="num">
                                      <p:cBhvr additive="base">
                                        <p:cTn id="27" dur="1500" fill="hold"/>
                                        <p:tgtEl>
                                          <p:spTgt spid="149"/>
                                        </p:tgtEl>
                                        <p:attrNameLst>
                                          <p:attrName>ppt_y</p:attrName>
                                        </p:attrNameLst>
                                      </p:cBhvr>
                                      <p:tavLst>
                                        <p:tav tm="0">
                                          <p:val>
                                            <p:strVal val="1+#ppt_h/2"/>
                                          </p:val>
                                        </p:tav>
                                        <p:tav tm="100000">
                                          <p:val>
                                            <p:strVal val="#ppt_y"/>
                                          </p:val>
                                        </p:tav>
                                      </p:tavLst>
                                    </p:anim>
                                  </p:childTnLst>
                                </p:cTn>
                              </p:par>
                            </p:childTnLst>
                          </p:cTn>
                        </p:par>
                        <p:par>
                          <p:cTn id="28" fill="hold">
                            <p:stCondLst>
                              <p:cond delay="0"/>
                            </p:stCondLst>
                            <p:childTnLst>
                              <p:par>
                                <p:cTn id="29" presetID="22" presetClass="entr" presetSubtype="4" fill="hold" nodeType="afterEffect">
                                  <p:stCondLst>
                                    <p:cond delay="0"/>
                                  </p:stCondLst>
                                  <p:childTnLst>
                                    <p:set>
                                      <p:cBhvr>
                                        <p:cTn id="30" dur="1" fill="hold">
                                          <p:stCondLst>
                                            <p:cond delay="0"/>
                                          </p:stCondLst>
                                        </p:cTn>
                                        <p:tgtEl>
                                          <p:spTgt spid="150"/>
                                        </p:tgtEl>
                                        <p:attrNameLst>
                                          <p:attrName>style.visibility</p:attrName>
                                        </p:attrNameLst>
                                      </p:cBhvr>
                                      <p:to>
                                        <p:strVal val="visible"/>
                                      </p:to>
                                    </p:set>
                                    <p:animEffect transition="in" filter="wipe(down)">
                                      <p:cBhvr>
                                        <p:cTn id="31" dur="500"/>
                                        <p:tgtEl>
                                          <p:spTgt spid="150"/>
                                        </p:tgtEl>
                                      </p:cBhvr>
                                    </p:animEffect>
                                  </p:childTnLst>
                                </p:cTn>
                              </p:par>
                              <p:par>
                                <p:cTn id="32" presetID="22" presetClass="entr" presetSubtype="4" fill="hold" nodeType="withEffect">
                                  <p:stCondLst>
                                    <p:cond delay="200"/>
                                  </p:stCondLst>
                                  <p:childTnLst>
                                    <p:set>
                                      <p:cBhvr>
                                        <p:cTn id="33" dur="1" fill="hold">
                                          <p:stCondLst>
                                            <p:cond delay="0"/>
                                          </p:stCondLst>
                                        </p:cTn>
                                        <p:tgtEl>
                                          <p:spTgt spid="151"/>
                                        </p:tgtEl>
                                        <p:attrNameLst>
                                          <p:attrName>style.visibility</p:attrName>
                                        </p:attrNameLst>
                                      </p:cBhvr>
                                      <p:to>
                                        <p:strVal val="visible"/>
                                      </p:to>
                                    </p:set>
                                    <p:animEffect transition="in" filter="wipe(down)">
                                      <p:cBhvr>
                                        <p:cTn id="34" dur="500"/>
                                        <p:tgtEl>
                                          <p:spTgt spid="151"/>
                                        </p:tgtEl>
                                      </p:cBhvr>
                                    </p:animEffect>
                                  </p:childTnLst>
                                </p:cTn>
                              </p:par>
                            </p:childTnLst>
                          </p:cTn>
                        </p:par>
                        <p:par>
                          <p:cTn id="35" fill="hold">
                            <p:stCondLst>
                              <p:cond delay="500"/>
                            </p:stCondLst>
                            <p:childTnLst>
                              <p:par>
                                <p:cTn id="36" presetID="17" presetClass="entr" presetSubtype="10" fill="hold" grpId="0" nodeType="afterEffect">
                                  <p:stCondLst>
                                    <p:cond delay="0"/>
                                  </p:stCondLst>
                                  <p:iterate type="lt">
                                    <p:tmPct val="10000"/>
                                  </p:iterate>
                                  <p:childTnLst>
                                    <p:set>
                                      <p:cBhvr>
                                        <p:cTn id="37" dur="1" fill="hold">
                                          <p:stCondLst>
                                            <p:cond delay="0"/>
                                          </p:stCondLst>
                                        </p:cTn>
                                        <p:tgtEl>
                                          <p:spTgt spid="155"/>
                                        </p:tgtEl>
                                        <p:attrNameLst>
                                          <p:attrName>style.visibility</p:attrName>
                                        </p:attrNameLst>
                                      </p:cBhvr>
                                      <p:to>
                                        <p:strVal val="visible"/>
                                      </p:to>
                                    </p:set>
                                    <p:anim calcmode="lin" valueType="num">
                                      <p:cBhvr>
                                        <p:cTn id="38" dur="500" fill="hold"/>
                                        <p:tgtEl>
                                          <p:spTgt spid="155"/>
                                        </p:tgtEl>
                                        <p:attrNameLst>
                                          <p:attrName>ppt_w</p:attrName>
                                        </p:attrNameLst>
                                      </p:cBhvr>
                                      <p:tavLst>
                                        <p:tav tm="0">
                                          <p:val>
                                            <p:fltVal val="0"/>
                                          </p:val>
                                        </p:tav>
                                        <p:tav tm="100000">
                                          <p:val>
                                            <p:strVal val="#ppt_w"/>
                                          </p:val>
                                        </p:tav>
                                      </p:tavLst>
                                    </p:anim>
                                    <p:anim calcmode="lin" valueType="num">
                                      <p:cBhvr>
                                        <p:cTn id="39" dur="500" fill="hold"/>
                                        <p:tgtEl>
                                          <p:spTgt spid="155"/>
                                        </p:tgtEl>
                                        <p:attrNameLst>
                                          <p:attrName>ppt_h</p:attrName>
                                        </p:attrNameLst>
                                      </p:cBhvr>
                                      <p:tavLst>
                                        <p:tav tm="0">
                                          <p:val>
                                            <p:strVal val="#ppt_h"/>
                                          </p:val>
                                        </p:tav>
                                        <p:tav tm="100000">
                                          <p:val>
                                            <p:strVal val="#ppt_h"/>
                                          </p:val>
                                        </p:tav>
                                      </p:tavLst>
                                    </p:anim>
                                  </p:childTnLst>
                                </p:cTn>
                              </p:par>
                              <p:par>
                                <p:cTn id="40" presetID="2" presetClass="entr" presetSubtype="4" fill="hold" grpId="0" nodeType="withEffect">
                                  <p:stCondLst>
                                    <p:cond delay="0"/>
                                  </p:stCondLst>
                                  <p:childTnLst>
                                    <p:set>
                                      <p:cBhvr>
                                        <p:cTn id="41" dur="1" fill="hold">
                                          <p:stCondLst>
                                            <p:cond delay="0"/>
                                          </p:stCondLst>
                                        </p:cTn>
                                        <p:tgtEl>
                                          <p:spTgt spid="154"/>
                                        </p:tgtEl>
                                        <p:attrNameLst>
                                          <p:attrName>style.visibility</p:attrName>
                                        </p:attrNameLst>
                                      </p:cBhvr>
                                      <p:to>
                                        <p:strVal val="visible"/>
                                      </p:to>
                                    </p:set>
                                    <p:anim calcmode="lin" valueType="num">
                                      <p:cBhvr additive="base">
                                        <p:cTn id="42" dur="500" fill="hold"/>
                                        <p:tgtEl>
                                          <p:spTgt spid="154"/>
                                        </p:tgtEl>
                                        <p:attrNameLst>
                                          <p:attrName>ppt_x</p:attrName>
                                        </p:attrNameLst>
                                      </p:cBhvr>
                                      <p:tavLst>
                                        <p:tav tm="0">
                                          <p:val>
                                            <p:strVal val="#ppt_x"/>
                                          </p:val>
                                        </p:tav>
                                        <p:tav tm="100000">
                                          <p:val>
                                            <p:strVal val="#ppt_x"/>
                                          </p:val>
                                        </p:tav>
                                      </p:tavLst>
                                    </p:anim>
                                    <p:anim calcmode="lin" valueType="num">
                                      <p:cBhvr additive="base">
                                        <p:cTn id="43" dur="500" fill="hold"/>
                                        <p:tgtEl>
                                          <p:spTgt spid="154"/>
                                        </p:tgtEl>
                                        <p:attrNameLst>
                                          <p:attrName>ppt_y</p:attrName>
                                        </p:attrNameLst>
                                      </p:cBhvr>
                                      <p:tavLst>
                                        <p:tav tm="0">
                                          <p:val>
                                            <p:strVal val="1+#ppt_h/2"/>
                                          </p:val>
                                        </p:tav>
                                        <p:tav tm="100000">
                                          <p:val>
                                            <p:strVal val="#ppt_y"/>
                                          </p:val>
                                        </p:tav>
                                      </p:tavLst>
                                    </p:anim>
                                  </p:childTnLst>
                                </p:cTn>
                              </p:par>
                            </p:childTnLst>
                          </p:cTn>
                        </p:par>
                        <p:par>
                          <p:cTn id="44" fill="hold">
                            <p:stCondLst>
                              <p:cond delay="1450"/>
                            </p:stCondLst>
                            <p:childTnLst>
                              <p:par>
                                <p:cTn id="45" presetID="17" presetClass="entr" presetSubtype="10" fill="hold" grpId="0" nodeType="afterEffect">
                                  <p:stCondLst>
                                    <p:cond delay="0"/>
                                  </p:stCondLst>
                                  <p:iterate type="lt">
                                    <p:tmPct val="10000"/>
                                  </p:iterate>
                                  <p:childTnLst>
                                    <p:set>
                                      <p:cBhvr>
                                        <p:cTn id="46" dur="1" fill="hold">
                                          <p:stCondLst>
                                            <p:cond delay="0"/>
                                          </p:stCondLst>
                                        </p:cTn>
                                        <p:tgtEl>
                                          <p:spTgt spid="157"/>
                                        </p:tgtEl>
                                        <p:attrNameLst>
                                          <p:attrName>style.visibility</p:attrName>
                                        </p:attrNameLst>
                                      </p:cBhvr>
                                      <p:to>
                                        <p:strVal val="visible"/>
                                      </p:to>
                                    </p:set>
                                    <p:anim calcmode="lin" valueType="num">
                                      <p:cBhvr>
                                        <p:cTn id="47" dur="500" fill="hold"/>
                                        <p:tgtEl>
                                          <p:spTgt spid="157"/>
                                        </p:tgtEl>
                                        <p:attrNameLst>
                                          <p:attrName>ppt_w</p:attrName>
                                        </p:attrNameLst>
                                      </p:cBhvr>
                                      <p:tavLst>
                                        <p:tav tm="0">
                                          <p:val>
                                            <p:fltVal val="0"/>
                                          </p:val>
                                        </p:tav>
                                        <p:tav tm="100000">
                                          <p:val>
                                            <p:strVal val="#ppt_w"/>
                                          </p:val>
                                        </p:tav>
                                      </p:tavLst>
                                    </p:anim>
                                    <p:anim calcmode="lin" valueType="num">
                                      <p:cBhvr>
                                        <p:cTn id="48" dur="500" fill="hold"/>
                                        <p:tgtEl>
                                          <p:spTgt spid="157"/>
                                        </p:tgtEl>
                                        <p:attrNameLst>
                                          <p:attrName>ppt_h</p:attrName>
                                        </p:attrNameLst>
                                      </p:cBhvr>
                                      <p:tavLst>
                                        <p:tav tm="0">
                                          <p:val>
                                            <p:strVal val="#ppt_h"/>
                                          </p:val>
                                        </p:tav>
                                        <p:tav tm="100000">
                                          <p:val>
                                            <p:strVal val="#ppt_h"/>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56"/>
                                        </p:tgtEl>
                                        <p:attrNameLst>
                                          <p:attrName>style.visibility</p:attrName>
                                        </p:attrNameLst>
                                      </p:cBhvr>
                                      <p:to>
                                        <p:strVal val="visible"/>
                                      </p:to>
                                    </p:set>
                                    <p:anim calcmode="lin" valueType="num">
                                      <p:cBhvr additive="base">
                                        <p:cTn id="51" dur="500" fill="hold"/>
                                        <p:tgtEl>
                                          <p:spTgt spid="156"/>
                                        </p:tgtEl>
                                        <p:attrNameLst>
                                          <p:attrName>ppt_x</p:attrName>
                                        </p:attrNameLst>
                                      </p:cBhvr>
                                      <p:tavLst>
                                        <p:tav tm="0">
                                          <p:val>
                                            <p:strVal val="#ppt_x"/>
                                          </p:val>
                                        </p:tav>
                                        <p:tav tm="100000">
                                          <p:val>
                                            <p:strVal val="#ppt_x"/>
                                          </p:val>
                                        </p:tav>
                                      </p:tavLst>
                                    </p:anim>
                                    <p:anim calcmode="lin" valueType="num">
                                      <p:cBhvr additive="base">
                                        <p:cTn id="52" dur="500" fill="hold"/>
                                        <p:tgtEl>
                                          <p:spTgt spid="156"/>
                                        </p:tgtEl>
                                        <p:attrNameLst>
                                          <p:attrName>ppt_y</p:attrName>
                                        </p:attrNameLst>
                                      </p:cBhvr>
                                      <p:tavLst>
                                        <p:tav tm="0">
                                          <p:val>
                                            <p:strVal val="1+#ppt_h/2"/>
                                          </p:val>
                                        </p:tav>
                                        <p:tav tm="100000">
                                          <p:val>
                                            <p:strVal val="#ppt_y"/>
                                          </p:val>
                                        </p:tav>
                                      </p:tavLst>
                                    </p:anim>
                                  </p:childTnLst>
                                </p:cTn>
                              </p:par>
                            </p:childTnLst>
                          </p:cTn>
                        </p:par>
                        <p:par>
                          <p:cTn id="53" fill="hold">
                            <p:stCondLst>
                              <p:cond delay="2200"/>
                            </p:stCondLst>
                            <p:childTnLst>
                              <p:par>
                                <p:cTn id="54" presetID="17" presetClass="entr" presetSubtype="10" fill="hold" grpId="0" nodeType="afterEffect">
                                  <p:stCondLst>
                                    <p:cond delay="0"/>
                                  </p:stCondLst>
                                  <p:iterate type="lt">
                                    <p:tmPct val="10000"/>
                                  </p:iterate>
                                  <p:childTnLst>
                                    <p:set>
                                      <p:cBhvr>
                                        <p:cTn id="55" dur="1" fill="hold">
                                          <p:stCondLst>
                                            <p:cond delay="0"/>
                                          </p:stCondLst>
                                        </p:cTn>
                                        <p:tgtEl>
                                          <p:spTgt spid="159"/>
                                        </p:tgtEl>
                                        <p:attrNameLst>
                                          <p:attrName>style.visibility</p:attrName>
                                        </p:attrNameLst>
                                      </p:cBhvr>
                                      <p:to>
                                        <p:strVal val="visible"/>
                                      </p:to>
                                    </p:set>
                                    <p:anim calcmode="lin" valueType="num">
                                      <p:cBhvr>
                                        <p:cTn id="56" dur="500" fill="hold"/>
                                        <p:tgtEl>
                                          <p:spTgt spid="159"/>
                                        </p:tgtEl>
                                        <p:attrNameLst>
                                          <p:attrName>ppt_w</p:attrName>
                                        </p:attrNameLst>
                                      </p:cBhvr>
                                      <p:tavLst>
                                        <p:tav tm="0">
                                          <p:val>
                                            <p:fltVal val="0"/>
                                          </p:val>
                                        </p:tav>
                                        <p:tav tm="100000">
                                          <p:val>
                                            <p:strVal val="#ppt_w"/>
                                          </p:val>
                                        </p:tav>
                                      </p:tavLst>
                                    </p:anim>
                                    <p:anim calcmode="lin" valueType="num">
                                      <p:cBhvr>
                                        <p:cTn id="57" dur="500" fill="hold"/>
                                        <p:tgtEl>
                                          <p:spTgt spid="159"/>
                                        </p:tgtEl>
                                        <p:attrNameLst>
                                          <p:attrName>ppt_h</p:attrName>
                                        </p:attrNameLst>
                                      </p:cBhvr>
                                      <p:tavLst>
                                        <p:tav tm="0">
                                          <p:val>
                                            <p:strVal val="#ppt_h"/>
                                          </p:val>
                                        </p:tav>
                                        <p:tav tm="100000">
                                          <p:val>
                                            <p:strVal val="#ppt_h"/>
                                          </p:val>
                                        </p:tav>
                                      </p:tavLst>
                                    </p:anim>
                                  </p:childTnLst>
                                </p:cTn>
                              </p:par>
                              <p:par>
                                <p:cTn id="58" presetID="2" presetClass="entr" presetSubtype="4" fill="hold" grpId="0" nodeType="withEffect">
                                  <p:stCondLst>
                                    <p:cond delay="0"/>
                                  </p:stCondLst>
                                  <p:childTnLst>
                                    <p:set>
                                      <p:cBhvr>
                                        <p:cTn id="59" dur="1" fill="hold">
                                          <p:stCondLst>
                                            <p:cond delay="0"/>
                                          </p:stCondLst>
                                        </p:cTn>
                                        <p:tgtEl>
                                          <p:spTgt spid="158"/>
                                        </p:tgtEl>
                                        <p:attrNameLst>
                                          <p:attrName>style.visibility</p:attrName>
                                        </p:attrNameLst>
                                      </p:cBhvr>
                                      <p:to>
                                        <p:strVal val="visible"/>
                                      </p:to>
                                    </p:set>
                                    <p:anim calcmode="lin" valueType="num">
                                      <p:cBhvr additive="base">
                                        <p:cTn id="60" dur="500" fill="hold"/>
                                        <p:tgtEl>
                                          <p:spTgt spid="158"/>
                                        </p:tgtEl>
                                        <p:attrNameLst>
                                          <p:attrName>ppt_x</p:attrName>
                                        </p:attrNameLst>
                                      </p:cBhvr>
                                      <p:tavLst>
                                        <p:tav tm="0">
                                          <p:val>
                                            <p:strVal val="#ppt_x"/>
                                          </p:val>
                                        </p:tav>
                                        <p:tav tm="100000">
                                          <p:val>
                                            <p:strVal val="#ppt_x"/>
                                          </p:val>
                                        </p:tav>
                                      </p:tavLst>
                                    </p:anim>
                                    <p:anim calcmode="lin" valueType="num">
                                      <p:cBhvr additive="base">
                                        <p:cTn id="61" dur="500" fill="hold"/>
                                        <p:tgtEl>
                                          <p:spTgt spid="15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54" grpId="0"/>
      <p:bldP spid="155" grpId="0"/>
      <p:bldP spid="156" grpId="0"/>
      <p:bldP spid="157" grpId="0"/>
      <p:bldP spid="158" grpId="0"/>
      <p:bldP spid="159"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2" cstate="screen"/>
          <a:srcRect/>
          <a:stretch>
            <a:fillRect/>
          </a:stretch>
        </p:blipFill>
        <p:spPr>
          <a:xfrm>
            <a:off x="323850" y="147319"/>
            <a:ext cx="946150" cy="1417236"/>
          </a:xfrm>
          <a:prstGeom prst="rect">
            <a:avLst/>
          </a:prstGeom>
        </p:spPr>
      </p:pic>
      <p:pic>
        <p:nvPicPr>
          <p:cNvPr id="9" name="图片 8"/>
          <p:cNvPicPr>
            <a:picLocks noChangeAspect="1"/>
          </p:cNvPicPr>
          <p:nvPr/>
        </p:nvPicPr>
        <p:blipFill rotWithShape="1">
          <a:blip r:embed="rId3" cstate="screen"/>
          <a:srcRect/>
          <a:stretch>
            <a:fillRect/>
          </a:stretch>
        </p:blipFill>
        <p:spPr>
          <a:xfrm>
            <a:off x="10598150" y="372783"/>
            <a:ext cx="1193800" cy="655917"/>
          </a:xfrm>
          <a:prstGeom prst="rect">
            <a:avLst/>
          </a:prstGeom>
        </p:spPr>
      </p:pic>
      <p:sp>
        <p:nvSpPr>
          <p:cNvPr id="10" name="矩形 9"/>
          <p:cNvSpPr/>
          <p:nvPr/>
        </p:nvSpPr>
        <p:spPr>
          <a:xfrm>
            <a:off x="4497286" y="2387118"/>
            <a:ext cx="3314302" cy="769441"/>
          </a:xfrm>
          <a:prstGeom prst="rect">
            <a:avLst/>
          </a:prstGeom>
        </p:spPr>
        <p:txBody>
          <a:bodyPr wrap="square" anchor="ctr">
            <a:spAutoFit/>
          </a:bodyPr>
          <a:lstStyle/>
          <a:p>
            <a:pPr lvl="0" algn="ctr">
              <a:defRPr/>
            </a:pPr>
            <a:r>
              <a:rPr lang="zh-CN" altLang="en-US" sz="44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未来发展</a:t>
            </a:r>
          </a:p>
        </p:txBody>
      </p:sp>
      <p:sp>
        <p:nvSpPr>
          <p:cNvPr id="12" name="矩形 11"/>
          <p:cNvSpPr/>
          <p:nvPr/>
        </p:nvSpPr>
        <p:spPr>
          <a:xfrm>
            <a:off x="3809603" y="6006066"/>
            <a:ext cx="4572794" cy="507839"/>
          </a:xfrm>
          <a:prstGeom prst="rect">
            <a:avLst/>
          </a:prstGeom>
        </p:spPr>
        <p:txBody>
          <a:bodyPr lIns="91448" tIns="45724" rIns="91448" bIns="45724">
            <a:spAutoFit/>
          </a:bodyPr>
          <a:lstStyle/>
          <a:p>
            <a:pPr algn="ctr"/>
            <a:r>
              <a:rPr lang="en-US" altLang="zh-CN" sz="900" dirty="0">
                <a:solidFill>
                  <a:schemeClr val="bg1">
                    <a:lumMod val="75000"/>
                  </a:schemeClr>
                </a:solidFill>
                <a:cs typeface="+mn-ea"/>
                <a:sym typeface="+mn-lt"/>
              </a:rPr>
              <a:t>Chinese  companies  will no longer remain in the hard stage and they are also promoting a culture Chinese  companies  will no longer remain </a:t>
            </a:r>
          </a:p>
          <a:p>
            <a:pPr algn="ctr"/>
            <a:r>
              <a:rPr lang="en-US" altLang="zh-CN" sz="900" dirty="0">
                <a:solidFill>
                  <a:schemeClr val="bg1">
                    <a:lumMod val="75000"/>
                  </a:schemeClr>
                </a:solidFill>
                <a:cs typeface="+mn-ea"/>
                <a:sym typeface="+mn-lt"/>
              </a:rPr>
              <a:t>in the hard stage and they are also wang ling </a:t>
            </a:r>
            <a:r>
              <a:rPr lang="en-US" altLang="zh-CN" sz="900" dirty="0" err="1">
                <a:solidFill>
                  <a:schemeClr val="bg1">
                    <a:lumMod val="75000"/>
                  </a:schemeClr>
                </a:solidFill>
                <a:cs typeface="+mn-ea"/>
                <a:sym typeface="+mn-lt"/>
              </a:rPr>
              <a:t>yan</a:t>
            </a:r>
            <a:r>
              <a:rPr lang="en-US" altLang="zh-CN" sz="900" dirty="0">
                <a:solidFill>
                  <a:schemeClr val="bg1">
                    <a:lumMod val="75000"/>
                  </a:schemeClr>
                </a:solidFill>
                <a:cs typeface="+mn-ea"/>
                <a:sym typeface="+mn-lt"/>
              </a:rPr>
              <a:t> a culture</a:t>
            </a:r>
          </a:p>
        </p:txBody>
      </p:sp>
      <p:pic>
        <p:nvPicPr>
          <p:cNvPr id="11" name="4"/>
          <p:cNvPicPr>
            <a:picLocks noChangeAspect="1"/>
          </p:cNvPicPr>
          <p:nvPr/>
        </p:nvPicPr>
        <p:blipFill rotWithShape="1">
          <a:blip r:embed="rId4" cstate="screen"/>
          <a:srcRect/>
          <a:stretch>
            <a:fillRect/>
          </a:stretch>
        </p:blipFill>
        <p:spPr>
          <a:xfrm>
            <a:off x="5421544" y="1028333"/>
            <a:ext cx="1585161" cy="2128226"/>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Tm="0">
        <p14:flash/>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ppt_x"/>
                                          </p:val>
                                        </p:tav>
                                        <p:tav tm="100000">
                                          <p:val>
                                            <p:strVal val="#ppt_x"/>
                                          </p:val>
                                        </p:tav>
                                      </p:tavLst>
                                    </p:anim>
                                    <p:anim calcmode="lin" valueType="num">
                                      <p:cBhvr additive="base">
                                        <p:cTn id="8" dur="1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3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500" fill="hold"/>
                                        <p:tgtEl>
                                          <p:spTgt spid="9"/>
                                        </p:tgtEl>
                                        <p:attrNameLst>
                                          <p:attrName>ppt_x</p:attrName>
                                        </p:attrNameLst>
                                      </p:cBhvr>
                                      <p:tavLst>
                                        <p:tav tm="0">
                                          <p:val>
                                            <p:strVal val="#ppt_x"/>
                                          </p:val>
                                        </p:tav>
                                        <p:tav tm="100000">
                                          <p:val>
                                            <p:strVal val="#ppt_x"/>
                                          </p:val>
                                        </p:tav>
                                      </p:tavLst>
                                    </p:anim>
                                    <p:anim calcmode="lin" valueType="num">
                                      <p:cBhvr additive="base">
                                        <p:cTn id="12" dur="1500" fill="hold"/>
                                        <p:tgtEl>
                                          <p:spTgt spid="9"/>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 presetClass="entr" presetSubtype="1" decel="100000"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 calcmode="lin" valueType="num">
                                      <p:cBhvr additive="base">
                                        <p:cTn id="16" dur="1500" fill="hold"/>
                                        <p:tgtEl>
                                          <p:spTgt spid="11"/>
                                        </p:tgtEl>
                                        <p:attrNameLst>
                                          <p:attrName>ppt_x</p:attrName>
                                        </p:attrNameLst>
                                      </p:cBhvr>
                                      <p:tavLst>
                                        <p:tav tm="0">
                                          <p:val>
                                            <p:strVal val="#ppt_x"/>
                                          </p:val>
                                        </p:tav>
                                        <p:tav tm="100000">
                                          <p:val>
                                            <p:strVal val="#ppt_x"/>
                                          </p:val>
                                        </p:tav>
                                      </p:tavLst>
                                    </p:anim>
                                    <p:anim calcmode="lin" valueType="num">
                                      <p:cBhvr additive="base">
                                        <p:cTn id="17" dur="1500" fill="hold"/>
                                        <p:tgtEl>
                                          <p:spTgt spid="11"/>
                                        </p:tgtEl>
                                        <p:attrNameLst>
                                          <p:attrName>ppt_y</p:attrName>
                                        </p:attrNameLst>
                                      </p:cBhvr>
                                      <p:tavLst>
                                        <p:tav tm="0">
                                          <p:val>
                                            <p:strVal val="0-#ppt_h/2"/>
                                          </p:val>
                                        </p:tav>
                                        <p:tav tm="100000">
                                          <p:val>
                                            <p:strVal val="#ppt_y"/>
                                          </p:val>
                                        </p:tav>
                                      </p:tavLst>
                                    </p:anim>
                                  </p:childTnLst>
                                </p:cTn>
                              </p:par>
                            </p:childTnLst>
                          </p:cTn>
                        </p:par>
                        <p:par>
                          <p:cTn id="18" fill="hold">
                            <p:stCondLst>
                              <p:cond delay="3000"/>
                            </p:stCondLst>
                            <p:childTnLst>
                              <p:par>
                                <p:cTn id="19" presetID="2" presetClass="entr" presetSubtype="4" fill="hold" grpId="0" nodeType="afterEffect">
                                  <p:stCondLst>
                                    <p:cond delay="0"/>
                                  </p:stCondLst>
                                  <p:iterate type="lt">
                                    <p:tmPct val="10000"/>
                                  </p:iterate>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ppt_x"/>
                                          </p:val>
                                        </p:tav>
                                        <p:tav tm="100000">
                                          <p:val>
                                            <p:strVal val="#ppt_x"/>
                                          </p:val>
                                        </p:tav>
                                      </p:tavLst>
                                    </p:anim>
                                    <p:anim calcmode="lin" valueType="num">
                                      <p:cBhvr additive="base">
                                        <p:cTn id="22" dur="500" fill="hold"/>
                                        <p:tgtEl>
                                          <p:spTgt spid="10"/>
                                        </p:tgtEl>
                                        <p:attrNameLst>
                                          <p:attrName>ppt_y</p:attrName>
                                        </p:attrNameLst>
                                      </p:cBhvr>
                                      <p:tavLst>
                                        <p:tav tm="0">
                                          <p:val>
                                            <p:strVal val="1+#ppt_h/2"/>
                                          </p:val>
                                        </p:tav>
                                        <p:tav tm="100000">
                                          <p:val>
                                            <p:strVal val="#ppt_y"/>
                                          </p:val>
                                        </p:tav>
                                      </p:tavLst>
                                    </p:anim>
                                  </p:childTnLst>
                                </p:cTn>
                              </p:par>
                              <p:par>
                                <p:cTn id="23" presetID="26" presetClass="emph" presetSubtype="0" fill="hold" grpId="1" nodeType="withEffect">
                                  <p:stCondLst>
                                    <p:cond delay="1000"/>
                                  </p:stCondLst>
                                  <p:iterate type="lt">
                                    <p:tmPct val="10000"/>
                                  </p:iterate>
                                  <p:childTnLst>
                                    <p:animEffect transition="out" filter="fade">
                                      <p:cBhvr>
                                        <p:cTn id="24" dur="500" tmFilter="0, 0; .2, .5; .8, .5; 1, 0"/>
                                        <p:tgtEl>
                                          <p:spTgt spid="10"/>
                                        </p:tgtEl>
                                      </p:cBhvr>
                                    </p:animEffect>
                                    <p:animScale>
                                      <p:cBhvr>
                                        <p:cTn id="25" dur="250" autoRev="1" fill="hold"/>
                                        <p:tgtEl>
                                          <p:spTgt spid="10"/>
                                        </p:tgtEl>
                                      </p:cBhvr>
                                      <p:by x="105000" y="105000"/>
                                    </p:animScale>
                                  </p:childTnLst>
                                </p:cTn>
                              </p:par>
                              <p:par>
                                <p:cTn id="26" presetID="14" presetClass="entr" presetSubtype="10" fill="hold" grpId="0" nodeType="withEffect">
                                  <p:stCondLst>
                                    <p:cond delay="1500"/>
                                  </p:stCondLst>
                                  <p:childTnLst>
                                    <p:set>
                                      <p:cBhvr>
                                        <p:cTn id="27" dur="1" fill="hold">
                                          <p:stCondLst>
                                            <p:cond delay="0"/>
                                          </p:stCondLst>
                                        </p:cTn>
                                        <p:tgtEl>
                                          <p:spTgt spid="12"/>
                                        </p:tgtEl>
                                        <p:attrNameLst>
                                          <p:attrName>style.visibility</p:attrName>
                                        </p:attrNameLst>
                                      </p:cBhvr>
                                      <p:to>
                                        <p:strVal val="visible"/>
                                      </p:to>
                                    </p:set>
                                    <p:animEffect transition="in" filter="randombar(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未来发展</a:t>
            </a:r>
          </a:p>
        </p:txBody>
      </p:sp>
      <p:pic>
        <p:nvPicPr>
          <p:cNvPr id="5" name="4"/>
          <p:cNvPicPr>
            <a:picLocks noChangeAspect="1"/>
          </p:cNvPicPr>
          <p:nvPr/>
        </p:nvPicPr>
        <p:blipFill rotWithShape="1">
          <a:blip r:embed="rId2" cstate="screen"/>
          <a:srcRect/>
          <a:stretch>
            <a:fillRect/>
          </a:stretch>
        </p:blipFill>
        <p:spPr>
          <a:xfrm>
            <a:off x="110632" y="95800"/>
            <a:ext cx="1108567" cy="1488355"/>
          </a:xfrm>
          <a:prstGeom prst="rect">
            <a:avLst/>
          </a:prstGeom>
        </p:spPr>
      </p:pic>
      <p:sp>
        <p:nvSpPr>
          <p:cNvPr id="7" name="文本框 6"/>
          <p:cNvSpPr txBox="1"/>
          <p:nvPr/>
        </p:nvSpPr>
        <p:spPr>
          <a:xfrm>
            <a:off x="1308567" y="5388343"/>
            <a:ext cx="3126654" cy="1052596"/>
          </a:xfrm>
          <a:prstGeom prst="rect">
            <a:avLst/>
          </a:prstGeom>
          <a:noFill/>
        </p:spPr>
        <p:txBody>
          <a:bodyPr wrap="square" rtlCol="0">
            <a:spAutoFit/>
          </a:bodyPr>
          <a:lstStyle/>
          <a:p>
            <a:pPr algn="ctr">
              <a:lnSpc>
                <a:spcPct val="130000"/>
              </a:lnSpc>
            </a:pPr>
            <a:r>
              <a:rPr lang="zh-CN" altLang="en-US" sz="1200" dirty="0">
                <a:solidFill>
                  <a:schemeClr val="bg1">
                    <a:lumMod val="85000"/>
                  </a:schemeClr>
                </a:solidFill>
                <a:cs typeface="+mn-ea"/>
                <a:sym typeface="+mn-lt"/>
              </a:rPr>
              <a:t>请替换文字内容，修改文字内容，也可以直接复制你的内容到此。请替换文字内容，修改文字内容，也可以直接复制你的内容到此请替换文字内容</a:t>
            </a:r>
          </a:p>
        </p:txBody>
      </p:sp>
      <p:sp>
        <p:nvSpPr>
          <p:cNvPr id="8" name="椭圆 7"/>
          <p:cNvSpPr/>
          <p:nvPr/>
        </p:nvSpPr>
        <p:spPr>
          <a:xfrm>
            <a:off x="1674196" y="-132211"/>
            <a:ext cx="2404213" cy="6340406"/>
          </a:xfrm>
          <a:prstGeom prst="ellipse">
            <a:avLst/>
          </a:prstGeom>
          <a:noFill/>
          <a:ln>
            <a:gradFill>
              <a:gsLst>
                <a:gs pos="0">
                  <a:srgbClr val="84FFFF">
                    <a:alpha val="0"/>
                  </a:srgbClr>
                </a:gs>
                <a:gs pos="49000">
                  <a:srgbClr val="84FFFF"/>
                </a:gs>
                <a:gs pos="100000">
                  <a:srgbClr val="72F5EA">
                    <a:alpha val="0"/>
                  </a:srgbClr>
                </a:gs>
              </a:gsLst>
              <a:lin ang="5400000" scaled="1"/>
            </a:gradFill>
          </a:ln>
          <a:effectLst>
            <a:glow rad="114300">
              <a:srgbClr val="84FFFF">
                <a:alpha val="2000"/>
              </a:srgbClr>
            </a:glow>
          </a:effectLst>
        </p:spPr>
        <p:txBody>
          <a:bodyPr wrap="square" rtlCol="0" anchor="ctr">
            <a:spAutoFit/>
          </a:bodyPr>
          <a:lstStyle/>
          <a:p>
            <a:pPr algn="ctr"/>
            <a:endParaRPr kumimoji="1"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9" name="椭圆 8"/>
          <p:cNvSpPr/>
          <p:nvPr/>
        </p:nvSpPr>
        <p:spPr>
          <a:xfrm>
            <a:off x="1336475" y="-132211"/>
            <a:ext cx="3079656" cy="6340406"/>
          </a:xfrm>
          <a:prstGeom prst="ellipse">
            <a:avLst/>
          </a:prstGeom>
          <a:noFill/>
          <a:ln>
            <a:gradFill>
              <a:gsLst>
                <a:gs pos="0">
                  <a:srgbClr val="84FFFF">
                    <a:alpha val="0"/>
                  </a:srgbClr>
                </a:gs>
                <a:gs pos="49000">
                  <a:srgbClr val="84FFFF"/>
                </a:gs>
                <a:gs pos="100000">
                  <a:srgbClr val="72F5EA">
                    <a:alpha val="0"/>
                  </a:srgbClr>
                </a:gs>
              </a:gsLst>
              <a:lin ang="5400000" scaled="1"/>
            </a:gradFill>
          </a:ln>
          <a:effectLst>
            <a:glow rad="114300">
              <a:srgbClr val="84FFFF">
                <a:alpha val="2000"/>
              </a:srgbClr>
            </a:glow>
          </a:effectLst>
        </p:spPr>
        <p:txBody>
          <a:bodyPr wrap="square" rtlCol="0" anchor="ctr">
            <a:spAutoFit/>
          </a:bodyPr>
          <a:lstStyle/>
          <a:p>
            <a:pPr algn="ctr"/>
            <a:endParaRPr kumimoji="1"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10" name="椭圆 9"/>
          <p:cNvSpPr/>
          <p:nvPr/>
        </p:nvSpPr>
        <p:spPr>
          <a:xfrm>
            <a:off x="2011101" y="-121397"/>
            <a:ext cx="1730405" cy="6340406"/>
          </a:xfrm>
          <a:prstGeom prst="ellipse">
            <a:avLst/>
          </a:prstGeom>
          <a:noFill/>
          <a:ln>
            <a:gradFill>
              <a:gsLst>
                <a:gs pos="0">
                  <a:srgbClr val="84FFFF">
                    <a:alpha val="0"/>
                  </a:srgbClr>
                </a:gs>
                <a:gs pos="49000">
                  <a:srgbClr val="84FFFF"/>
                </a:gs>
                <a:gs pos="100000">
                  <a:srgbClr val="72F5EA">
                    <a:alpha val="0"/>
                  </a:srgbClr>
                </a:gs>
              </a:gsLst>
              <a:lin ang="5400000" scaled="1"/>
            </a:gradFill>
          </a:ln>
          <a:effectLst>
            <a:glow rad="114300">
              <a:srgbClr val="84FFFF">
                <a:alpha val="2000"/>
              </a:srgbClr>
            </a:glow>
          </a:effectLst>
        </p:spPr>
        <p:txBody>
          <a:bodyPr wrap="square" rtlCol="0" anchor="ctr">
            <a:spAutoFit/>
          </a:bodyPr>
          <a:lstStyle/>
          <a:p>
            <a:pPr algn="ctr"/>
            <a:endParaRPr kumimoji="1"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grpSp>
        <p:nvGrpSpPr>
          <p:cNvPr id="11" name="组合 39"/>
          <p:cNvGrpSpPr/>
          <p:nvPr/>
        </p:nvGrpSpPr>
        <p:grpSpPr>
          <a:xfrm>
            <a:off x="2608484" y="2785740"/>
            <a:ext cx="535635" cy="472893"/>
            <a:chOff x="1000456" y="3959521"/>
            <a:chExt cx="745082" cy="657806"/>
          </a:xfrm>
          <a:solidFill>
            <a:schemeClr val="bg1"/>
          </a:solidFill>
        </p:grpSpPr>
        <p:sp>
          <p:nvSpPr>
            <p:cNvPr id="12" name="Oval 423"/>
            <p:cNvSpPr>
              <a:spLocks noChangeArrowheads="1"/>
            </p:cNvSpPr>
            <p:nvPr/>
          </p:nvSpPr>
          <p:spPr bwMode="auto">
            <a:xfrm>
              <a:off x="1559448" y="4046795"/>
              <a:ext cx="173829" cy="20123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3" name="Freeform 424"/>
            <p:cNvSpPr/>
            <p:nvPr/>
          </p:nvSpPr>
          <p:spPr bwMode="auto">
            <a:xfrm>
              <a:off x="1523384" y="4254524"/>
              <a:ext cx="222154" cy="298610"/>
            </a:xfrm>
            <a:custGeom>
              <a:avLst/>
              <a:gdLst>
                <a:gd name="T0" fmla="*/ 65 w 130"/>
                <a:gd name="T1" fmla="*/ 3 h 175"/>
                <a:gd name="T2" fmla="*/ 52 w 130"/>
                <a:gd name="T3" fmla="*/ 89 h 175"/>
                <a:gd name="T4" fmla="*/ 14 w 130"/>
                <a:gd name="T5" fmla="*/ 112 h 175"/>
                <a:gd name="T6" fmla="*/ 14 w 130"/>
                <a:gd name="T7" fmla="*/ 78 h 175"/>
                <a:gd name="T8" fmla="*/ 65 w 130"/>
                <a:gd name="T9" fmla="*/ 3 h 175"/>
                <a:gd name="T10" fmla="*/ 9 w 130"/>
                <a:gd name="T11" fmla="*/ 58 h 175"/>
                <a:gd name="T12" fmla="*/ 0 w 130"/>
                <a:gd name="T13" fmla="*/ 89 h 175"/>
                <a:gd name="T14" fmla="*/ 0 w 130"/>
                <a:gd name="T15" fmla="*/ 137 h 175"/>
                <a:gd name="T16" fmla="*/ 7 w 130"/>
                <a:gd name="T17" fmla="*/ 160 h 175"/>
                <a:gd name="T18" fmla="*/ 65 w 130"/>
                <a:gd name="T19" fmla="*/ 175 h 175"/>
                <a:gd name="T20" fmla="*/ 130 w 130"/>
                <a:gd name="T21" fmla="*/ 149 h 175"/>
                <a:gd name="T22" fmla="*/ 130 w 130"/>
                <a:gd name="T23" fmla="*/ 45 h 175"/>
                <a:gd name="T24" fmla="*/ 65 w 130"/>
                <a:gd name="T25"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75">
                  <a:moveTo>
                    <a:pt x="65" y="3"/>
                  </a:moveTo>
                  <a:cubicBezTo>
                    <a:pt x="52" y="89"/>
                    <a:pt x="52" y="89"/>
                    <a:pt x="52" y="89"/>
                  </a:cubicBezTo>
                  <a:cubicBezTo>
                    <a:pt x="14" y="112"/>
                    <a:pt x="14" y="112"/>
                    <a:pt x="14" y="112"/>
                  </a:cubicBezTo>
                  <a:cubicBezTo>
                    <a:pt x="14" y="78"/>
                    <a:pt x="14" y="78"/>
                    <a:pt x="14" y="78"/>
                  </a:cubicBezTo>
                  <a:cubicBezTo>
                    <a:pt x="65" y="3"/>
                    <a:pt x="65" y="3"/>
                    <a:pt x="65" y="3"/>
                  </a:cubicBezTo>
                  <a:cubicBezTo>
                    <a:pt x="35" y="3"/>
                    <a:pt x="18" y="33"/>
                    <a:pt x="9" y="58"/>
                  </a:cubicBezTo>
                  <a:cubicBezTo>
                    <a:pt x="3" y="75"/>
                    <a:pt x="0" y="89"/>
                    <a:pt x="0" y="89"/>
                  </a:cubicBezTo>
                  <a:cubicBezTo>
                    <a:pt x="0" y="89"/>
                    <a:pt x="0" y="116"/>
                    <a:pt x="0" y="137"/>
                  </a:cubicBezTo>
                  <a:cubicBezTo>
                    <a:pt x="0" y="146"/>
                    <a:pt x="2" y="153"/>
                    <a:pt x="7" y="160"/>
                  </a:cubicBezTo>
                  <a:cubicBezTo>
                    <a:pt x="14" y="169"/>
                    <a:pt x="31" y="175"/>
                    <a:pt x="65" y="175"/>
                  </a:cubicBezTo>
                  <a:cubicBezTo>
                    <a:pt x="122" y="175"/>
                    <a:pt x="130" y="149"/>
                    <a:pt x="130" y="149"/>
                  </a:cubicBezTo>
                  <a:cubicBezTo>
                    <a:pt x="130" y="149"/>
                    <a:pt x="130" y="89"/>
                    <a:pt x="130" y="45"/>
                  </a:cubicBezTo>
                  <a:cubicBezTo>
                    <a:pt x="130" y="0"/>
                    <a:pt x="65" y="3"/>
                    <a:pt x="6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4" name="Freeform 425"/>
            <p:cNvSpPr/>
            <p:nvPr/>
          </p:nvSpPr>
          <p:spPr bwMode="auto">
            <a:xfrm>
              <a:off x="1185825" y="4438450"/>
              <a:ext cx="362082" cy="178877"/>
            </a:xfrm>
            <a:custGeom>
              <a:avLst/>
              <a:gdLst>
                <a:gd name="T0" fmla="*/ 187 w 212"/>
                <a:gd name="T1" fmla="*/ 55 h 105"/>
                <a:gd name="T2" fmla="*/ 178 w 212"/>
                <a:gd name="T3" fmla="*/ 0 h 105"/>
                <a:gd name="T4" fmla="*/ 110 w 212"/>
                <a:gd name="T5" fmla="*/ 20 h 105"/>
                <a:gd name="T6" fmla="*/ 44 w 212"/>
                <a:gd name="T7" fmla="*/ 0 h 105"/>
                <a:gd name="T8" fmla="*/ 30 w 212"/>
                <a:gd name="T9" fmla="*/ 56 h 105"/>
                <a:gd name="T10" fmla="*/ 0 w 212"/>
                <a:gd name="T11" fmla="*/ 72 h 105"/>
                <a:gd name="T12" fmla="*/ 110 w 212"/>
                <a:gd name="T13" fmla="*/ 105 h 105"/>
                <a:gd name="T14" fmla="*/ 212 w 212"/>
                <a:gd name="T15" fmla="*/ 72 h 105"/>
                <a:gd name="T16" fmla="*/ 187 w 212"/>
                <a:gd name="T17" fmla="*/ 5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05">
                  <a:moveTo>
                    <a:pt x="187" y="55"/>
                  </a:moveTo>
                  <a:cubicBezTo>
                    <a:pt x="173" y="33"/>
                    <a:pt x="178" y="0"/>
                    <a:pt x="178" y="0"/>
                  </a:cubicBezTo>
                  <a:cubicBezTo>
                    <a:pt x="178" y="0"/>
                    <a:pt x="156" y="20"/>
                    <a:pt x="110" y="20"/>
                  </a:cubicBezTo>
                  <a:cubicBezTo>
                    <a:pt x="64" y="20"/>
                    <a:pt x="44" y="0"/>
                    <a:pt x="44" y="0"/>
                  </a:cubicBezTo>
                  <a:cubicBezTo>
                    <a:pt x="44" y="0"/>
                    <a:pt x="49" y="34"/>
                    <a:pt x="30" y="56"/>
                  </a:cubicBezTo>
                  <a:cubicBezTo>
                    <a:pt x="23" y="64"/>
                    <a:pt x="14" y="70"/>
                    <a:pt x="0" y="72"/>
                  </a:cubicBezTo>
                  <a:cubicBezTo>
                    <a:pt x="0" y="72"/>
                    <a:pt x="32" y="105"/>
                    <a:pt x="110" y="105"/>
                  </a:cubicBezTo>
                  <a:cubicBezTo>
                    <a:pt x="187" y="105"/>
                    <a:pt x="212" y="72"/>
                    <a:pt x="212" y="72"/>
                  </a:cubicBezTo>
                  <a:cubicBezTo>
                    <a:pt x="200" y="70"/>
                    <a:pt x="193" y="63"/>
                    <a:pt x="187"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5" name="Freeform 426"/>
            <p:cNvSpPr/>
            <p:nvPr/>
          </p:nvSpPr>
          <p:spPr bwMode="auto">
            <a:xfrm>
              <a:off x="1231987" y="4138398"/>
              <a:ext cx="283463" cy="256054"/>
            </a:xfrm>
            <a:custGeom>
              <a:avLst/>
              <a:gdLst>
                <a:gd name="T0" fmla="*/ 75 w 166"/>
                <a:gd name="T1" fmla="*/ 150 h 150"/>
                <a:gd name="T2" fmla="*/ 91 w 166"/>
                <a:gd name="T3" fmla="*/ 150 h 150"/>
                <a:gd name="T4" fmla="*/ 166 w 166"/>
                <a:gd name="T5" fmla="*/ 125 h 150"/>
                <a:gd name="T6" fmla="*/ 166 w 166"/>
                <a:gd name="T7" fmla="*/ 122 h 150"/>
                <a:gd name="T8" fmla="*/ 166 w 166"/>
                <a:gd name="T9" fmla="*/ 59 h 150"/>
                <a:gd name="T10" fmla="*/ 108 w 166"/>
                <a:gd name="T11" fmla="*/ 0 h 150"/>
                <a:gd name="T12" fmla="*/ 108 w 166"/>
                <a:gd name="T13" fmla="*/ 0 h 150"/>
                <a:gd name="T14" fmla="*/ 83 w 166"/>
                <a:gd name="T15" fmla="*/ 10 h 150"/>
                <a:gd name="T16" fmla="*/ 102 w 166"/>
                <a:gd name="T17" fmla="*/ 82 h 150"/>
                <a:gd name="T18" fmla="*/ 83 w 166"/>
                <a:gd name="T19" fmla="*/ 111 h 150"/>
                <a:gd name="T20" fmla="*/ 63 w 166"/>
                <a:gd name="T21" fmla="*/ 82 h 150"/>
                <a:gd name="T22" fmla="*/ 83 w 166"/>
                <a:gd name="T23" fmla="*/ 10 h 150"/>
                <a:gd name="T24" fmla="*/ 58 w 166"/>
                <a:gd name="T25" fmla="*/ 0 h 150"/>
                <a:gd name="T26" fmla="*/ 0 w 166"/>
                <a:gd name="T27" fmla="*/ 59 h 150"/>
                <a:gd name="T28" fmla="*/ 0 w 166"/>
                <a:gd name="T29" fmla="*/ 122 h 150"/>
                <a:gd name="T30" fmla="*/ 0 w 166"/>
                <a:gd name="T31" fmla="*/ 123 h 150"/>
                <a:gd name="T32" fmla="*/ 75 w 166"/>
                <a:gd name="T3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50">
                  <a:moveTo>
                    <a:pt x="75" y="150"/>
                  </a:moveTo>
                  <a:cubicBezTo>
                    <a:pt x="91" y="150"/>
                    <a:pt x="91" y="150"/>
                    <a:pt x="91" y="150"/>
                  </a:cubicBezTo>
                  <a:cubicBezTo>
                    <a:pt x="150" y="150"/>
                    <a:pt x="163" y="132"/>
                    <a:pt x="166" y="125"/>
                  </a:cubicBezTo>
                  <a:cubicBezTo>
                    <a:pt x="166" y="123"/>
                    <a:pt x="166" y="122"/>
                    <a:pt x="166" y="122"/>
                  </a:cubicBezTo>
                  <a:cubicBezTo>
                    <a:pt x="166" y="122"/>
                    <a:pt x="166" y="113"/>
                    <a:pt x="166" y="59"/>
                  </a:cubicBezTo>
                  <a:cubicBezTo>
                    <a:pt x="166" y="22"/>
                    <a:pt x="130" y="6"/>
                    <a:pt x="108" y="0"/>
                  </a:cubicBezTo>
                  <a:cubicBezTo>
                    <a:pt x="108" y="0"/>
                    <a:pt x="108" y="0"/>
                    <a:pt x="108" y="0"/>
                  </a:cubicBezTo>
                  <a:cubicBezTo>
                    <a:pt x="83" y="10"/>
                    <a:pt x="83" y="10"/>
                    <a:pt x="83" y="10"/>
                  </a:cubicBezTo>
                  <a:cubicBezTo>
                    <a:pt x="102" y="82"/>
                    <a:pt x="102" y="82"/>
                    <a:pt x="102" y="82"/>
                  </a:cubicBezTo>
                  <a:cubicBezTo>
                    <a:pt x="83" y="111"/>
                    <a:pt x="83" y="111"/>
                    <a:pt x="83" y="111"/>
                  </a:cubicBezTo>
                  <a:cubicBezTo>
                    <a:pt x="63" y="82"/>
                    <a:pt x="63" y="82"/>
                    <a:pt x="63" y="82"/>
                  </a:cubicBezTo>
                  <a:cubicBezTo>
                    <a:pt x="83" y="10"/>
                    <a:pt x="83" y="10"/>
                    <a:pt x="83" y="10"/>
                  </a:cubicBezTo>
                  <a:cubicBezTo>
                    <a:pt x="58" y="0"/>
                    <a:pt x="58" y="0"/>
                    <a:pt x="58" y="0"/>
                  </a:cubicBezTo>
                  <a:cubicBezTo>
                    <a:pt x="36" y="6"/>
                    <a:pt x="0" y="22"/>
                    <a:pt x="0" y="59"/>
                  </a:cubicBezTo>
                  <a:cubicBezTo>
                    <a:pt x="0" y="113"/>
                    <a:pt x="0" y="122"/>
                    <a:pt x="0" y="122"/>
                  </a:cubicBezTo>
                  <a:cubicBezTo>
                    <a:pt x="0" y="122"/>
                    <a:pt x="0" y="123"/>
                    <a:pt x="0" y="123"/>
                  </a:cubicBezTo>
                  <a:cubicBezTo>
                    <a:pt x="1" y="127"/>
                    <a:pt x="9" y="150"/>
                    <a:pt x="75" y="150"/>
                  </a:cubicBezTo>
                  <a:close/>
                </a:path>
              </a:pathLst>
            </a:custGeom>
            <a:solidFill>
              <a:srgbClr val="84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6" name="Oval 427"/>
            <p:cNvSpPr>
              <a:spLocks noChangeArrowheads="1"/>
            </p:cNvSpPr>
            <p:nvPr/>
          </p:nvSpPr>
          <p:spPr bwMode="auto">
            <a:xfrm>
              <a:off x="1301951" y="3959521"/>
              <a:ext cx="143535" cy="167337"/>
            </a:xfrm>
            <a:prstGeom prst="ellipse">
              <a:avLst/>
            </a:prstGeom>
            <a:solidFill>
              <a:srgbClr val="84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7" name="Freeform 428"/>
            <p:cNvSpPr/>
            <p:nvPr/>
          </p:nvSpPr>
          <p:spPr bwMode="auto">
            <a:xfrm>
              <a:off x="1000456" y="4253081"/>
              <a:ext cx="219990" cy="297889"/>
            </a:xfrm>
            <a:custGeom>
              <a:avLst/>
              <a:gdLst>
                <a:gd name="T0" fmla="*/ 129 w 129"/>
                <a:gd name="T1" fmla="*/ 138 h 175"/>
                <a:gd name="T2" fmla="*/ 129 w 129"/>
                <a:gd name="T3" fmla="*/ 89 h 175"/>
                <a:gd name="T4" fmla="*/ 121 w 129"/>
                <a:gd name="T5" fmla="*/ 58 h 175"/>
                <a:gd name="T6" fmla="*/ 65 w 129"/>
                <a:gd name="T7" fmla="*/ 3 h 175"/>
                <a:gd name="T8" fmla="*/ 116 w 129"/>
                <a:gd name="T9" fmla="*/ 78 h 175"/>
                <a:gd name="T10" fmla="*/ 116 w 129"/>
                <a:gd name="T11" fmla="*/ 113 h 175"/>
                <a:gd name="T12" fmla="*/ 78 w 129"/>
                <a:gd name="T13" fmla="*/ 89 h 175"/>
                <a:gd name="T14" fmla="*/ 65 w 129"/>
                <a:gd name="T15" fmla="*/ 3 h 175"/>
                <a:gd name="T16" fmla="*/ 0 w 129"/>
                <a:gd name="T17" fmla="*/ 45 h 175"/>
                <a:gd name="T18" fmla="*/ 0 w 129"/>
                <a:gd name="T19" fmla="*/ 149 h 175"/>
                <a:gd name="T20" fmla="*/ 65 w 129"/>
                <a:gd name="T21" fmla="*/ 175 h 175"/>
                <a:gd name="T22" fmla="*/ 122 w 129"/>
                <a:gd name="T23" fmla="*/ 161 h 175"/>
                <a:gd name="T24" fmla="*/ 129 w 129"/>
                <a:gd name="T25" fmla="*/ 13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75">
                  <a:moveTo>
                    <a:pt x="129" y="138"/>
                  </a:moveTo>
                  <a:cubicBezTo>
                    <a:pt x="129" y="117"/>
                    <a:pt x="129" y="89"/>
                    <a:pt x="129" y="89"/>
                  </a:cubicBezTo>
                  <a:cubicBezTo>
                    <a:pt x="129" y="89"/>
                    <a:pt x="127" y="75"/>
                    <a:pt x="121" y="58"/>
                  </a:cubicBezTo>
                  <a:cubicBezTo>
                    <a:pt x="112" y="33"/>
                    <a:pt x="95" y="3"/>
                    <a:pt x="65" y="3"/>
                  </a:cubicBezTo>
                  <a:cubicBezTo>
                    <a:pt x="116" y="78"/>
                    <a:pt x="116" y="78"/>
                    <a:pt x="116" y="78"/>
                  </a:cubicBezTo>
                  <a:cubicBezTo>
                    <a:pt x="116" y="113"/>
                    <a:pt x="116" y="113"/>
                    <a:pt x="116" y="113"/>
                  </a:cubicBezTo>
                  <a:cubicBezTo>
                    <a:pt x="78" y="89"/>
                    <a:pt x="78" y="89"/>
                    <a:pt x="78" y="89"/>
                  </a:cubicBezTo>
                  <a:cubicBezTo>
                    <a:pt x="65" y="3"/>
                    <a:pt x="65" y="3"/>
                    <a:pt x="65" y="3"/>
                  </a:cubicBezTo>
                  <a:cubicBezTo>
                    <a:pt x="65" y="3"/>
                    <a:pt x="0" y="0"/>
                    <a:pt x="0" y="45"/>
                  </a:cubicBezTo>
                  <a:cubicBezTo>
                    <a:pt x="0" y="90"/>
                    <a:pt x="0" y="149"/>
                    <a:pt x="0" y="149"/>
                  </a:cubicBezTo>
                  <a:cubicBezTo>
                    <a:pt x="0" y="149"/>
                    <a:pt x="8" y="175"/>
                    <a:pt x="65" y="175"/>
                  </a:cubicBezTo>
                  <a:cubicBezTo>
                    <a:pt x="97" y="175"/>
                    <a:pt x="114" y="170"/>
                    <a:pt x="122" y="161"/>
                  </a:cubicBezTo>
                  <a:cubicBezTo>
                    <a:pt x="128" y="155"/>
                    <a:pt x="129" y="147"/>
                    <a:pt x="129" y="1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8" name="Oval 429"/>
            <p:cNvSpPr>
              <a:spLocks noChangeArrowheads="1"/>
            </p:cNvSpPr>
            <p:nvPr/>
          </p:nvSpPr>
          <p:spPr bwMode="auto">
            <a:xfrm>
              <a:off x="1011996" y="4044631"/>
              <a:ext cx="173829" cy="2034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sp>
        <p:nvSpPr>
          <p:cNvPr id="19" name="椭圆 18"/>
          <p:cNvSpPr/>
          <p:nvPr/>
        </p:nvSpPr>
        <p:spPr>
          <a:xfrm>
            <a:off x="2277514" y="2423399"/>
            <a:ext cx="1197575" cy="1197575"/>
          </a:xfrm>
          <a:prstGeom prst="ellipse">
            <a:avLst/>
          </a:prstGeom>
          <a:noFill/>
          <a:ln w="6350">
            <a:gradFill>
              <a:gsLst>
                <a:gs pos="0">
                  <a:srgbClr val="05DAE3"/>
                </a:gs>
                <a:gs pos="58000">
                  <a:srgbClr val="22B9FE"/>
                </a:gs>
                <a:gs pos="83000">
                  <a:srgbClr val="05DAE3"/>
                </a:gs>
                <a:gs pos="100000">
                  <a:srgbClr val="22B9FE">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20" name="圆角矩形 26"/>
          <p:cNvSpPr/>
          <p:nvPr/>
        </p:nvSpPr>
        <p:spPr>
          <a:xfrm>
            <a:off x="2366149" y="4936782"/>
            <a:ext cx="967334" cy="280928"/>
          </a:xfrm>
          <a:prstGeom prst="roundRect">
            <a:avLst/>
          </a:prstGeom>
          <a:gradFill>
            <a:gsLst>
              <a:gs pos="14000">
                <a:srgbClr val="00B0F0"/>
              </a:gs>
              <a:gs pos="64000">
                <a:srgbClr val="0BB0AD"/>
              </a:gs>
              <a:gs pos="42000">
                <a:srgbClr val="13FFEC"/>
              </a:gs>
            </a:gsLst>
            <a:lin ang="5400000" scaled="0"/>
          </a:gradFill>
          <a:ln>
            <a:solidFill>
              <a:srgbClr val="84FFFF"/>
            </a:solidFill>
          </a:ln>
        </p:spPr>
        <p:txBody>
          <a:bodyPr wrap="square" rtlCol="0" anchor="ctr">
            <a:spAutoFit/>
          </a:bodyPr>
          <a:lstStyle/>
          <a:p>
            <a:pPr algn="ctr"/>
            <a:r>
              <a:rPr kumimoji="1" lang="zh-CN" altLang="en-US" sz="1050" b="1" dirty="0">
                <a:ln w="19050" cap="rnd" cmpd="thinThick">
                  <a:noFill/>
                  <a:prstDash val="solid"/>
                </a:ln>
                <a:cs typeface="+mn-ea"/>
                <a:sym typeface="+mn-lt"/>
              </a:rPr>
              <a:t>段落标题</a:t>
            </a:r>
          </a:p>
        </p:txBody>
      </p:sp>
      <p:pic>
        <p:nvPicPr>
          <p:cNvPr id="21" name="图片 20"/>
          <p:cNvPicPr>
            <a:picLocks noChangeAspect="1"/>
          </p:cNvPicPr>
          <p:nvPr/>
        </p:nvPicPr>
        <p:blipFill rotWithShape="1">
          <a:blip r:embed="rId3" cstate="screen">
            <a:extLst>
              <a:ext uri="{BEBA8EAE-BF5A-486C-A8C5-ECC9F3942E4B}">
                <a14:imgProps xmlns:a14="http://schemas.microsoft.com/office/drawing/2010/main">
                  <a14:imgLayer r:embed="rId4">
                    <a14:imgEffect>
                      <a14:saturation sat="66000"/>
                    </a14:imgEffect>
                  </a14:imgLayer>
                </a14:imgProps>
              </a:ext>
            </a:extLst>
          </a:blip>
          <a:srcRect/>
          <a:stretch>
            <a:fillRect/>
          </a:stretch>
        </p:blipFill>
        <p:spPr>
          <a:xfrm>
            <a:off x="6627825" y="1066801"/>
            <a:ext cx="5564175" cy="5453271"/>
          </a:xfrm>
          <a:prstGeom prst="rect">
            <a:avLst/>
          </a:prstGeom>
        </p:spPr>
      </p:pic>
      <p:grpSp>
        <p:nvGrpSpPr>
          <p:cNvPr id="22" name="Group 105"/>
          <p:cNvGrpSpPr/>
          <p:nvPr/>
        </p:nvGrpSpPr>
        <p:grpSpPr>
          <a:xfrm>
            <a:off x="5342410" y="4395618"/>
            <a:ext cx="2549058" cy="584775"/>
            <a:chOff x="4571999" y="3143254"/>
            <a:chExt cx="2878588" cy="724196"/>
          </a:xfrm>
        </p:grpSpPr>
        <p:sp>
          <p:nvSpPr>
            <p:cNvPr id="23" name="Rectangle 16"/>
            <p:cNvSpPr/>
            <p:nvPr/>
          </p:nvSpPr>
          <p:spPr>
            <a:xfrm>
              <a:off x="5807512" y="3210096"/>
              <a:ext cx="1643075" cy="571734"/>
            </a:xfrm>
            <a:prstGeom prst="rect">
              <a:avLst/>
            </a:prstGeom>
          </p:spPr>
          <p:txBody>
            <a:bodyPr wrap="square">
              <a:spAutoFit/>
            </a:bodyPr>
            <a:lstStyle/>
            <a:p>
              <a:r>
                <a:rPr lang="ms-MY" sz="800" dirty="0">
                  <a:solidFill>
                    <a:schemeClr val="bg1"/>
                  </a:solidFill>
                  <a:cs typeface="+mn-ea"/>
                  <a:sym typeface="+mn-lt"/>
                </a:rPr>
                <a:t>Praesent sodales odio sit amet odio tristi Praesent sodales odio sit amet</a:t>
              </a:r>
              <a:endParaRPr lang="en-US" sz="800" dirty="0">
                <a:solidFill>
                  <a:schemeClr val="bg1"/>
                </a:solidFill>
                <a:cs typeface="+mn-ea"/>
                <a:sym typeface="+mn-lt"/>
              </a:endParaRPr>
            </a:p>
          </p:txBody>
        </p:sp>
        <p:sp>
          <p:nvSpPr>
            <p:cNvPr id="24" name="Rectangle 92"/>
            <p:cNvSpPr/>
            <p:nvPr/>
          </p:nvSpPr>
          <p:spPr>
            <a:xfrm>
              <a:off x="4571999" y="3143254"/>
              <a:ext cx="1466672" cy="724196"/>
            </a:xfrm>
            <a:prstGeom prst="rect">
              <a:avLst/>
            </a:prstGeom>
          </p:spPr>
          <p:txBody>
            <a:bodyPr wrap="square">
              <a:spAutoFit/>
            </a:bodyPr>
            <a:lstStyle/>
            <a:p>
              <a:r>
                <a:rPr lang="en-US" sz="3200" b="1" dirty="0">
                  <a:solidFill>
                    <a:srgbClr val="84FFFF"/>
                  </a:solidFill>
                  <a:cs typeface="+mn-ea"/>
                  <a:sym typeface="+mn-lt"/>
                </a:rPr>
                <a:t>89%</a:t>
              </a:r>
            </a:p>
          </p:txBody>
        </p:sp>
      </p:grpSp>
      <p:grpSp>
        <p:nvGrpSpPr>
          <p:cNvPr id="25" name="Group 105"/>
          <p:cNvGrpSpPr/>
          <p:nvPr/>
        </p:nvGrpSpPr>
        <p:grpSpPr>
          <a:xfrm>
            <a:off x="5340056" y="5137210"/>
            <a:ext cx="2551640" cy="584775"/>
            <a:chOff x="4572000" y="3143254"/>
            <a:chExt cx="2881503" cy="724196"/>
          </a:xfrm>
        </p:grpSpPr>
        <p:sp>
          <p:nvSpPr>
            <p:cNvPr id="26" name="Rectangle 16"/>
            <p:cNvSpPr/>
            <p:nvPr/>
          </p:nvSpPr>
          <p:spPr>
            <a:xfrm>
              <a:off x="5810429" y="3219235"/>
              <a:ext cx="1643074" cy="571735"/>
            </a:xfrm>
            <a:prstGeom prst="rect">
              <a:avLst/>
            </a:prstGeom>
          </p:spPr>
          <p:txBody>
            <a:bodyPr wrap="square">
              <a:spAutoFit/>
            </a:bodyPr>
            <a:lstStyle/>
            <a:p>
              <a:r>
                <a:rPr lang="ms-MY" sz="800" dirty="0">
                  <a:solidFill>
                    <a:schemeClr val="bg1"/>
                  </a:solidFill>
                  <a:cs typeface="+mn-ea"/>
                  <a:sym typeface="+mn-lt"/>
                </a:rPr>
                <a:t>Praesent sodales odio sit amet odio tristi Praesent sodales odio sit amet</a:t>
              </a:r>
              <a:endParaRPr lang="en-US" sz="800" dirty="0">
                <a:solidFill>
                  <a:schemeClr val="bg1"/>
                </a:solidFill>
                <a:cs typeface="+mn-ea"/>
                <a:sym typeface="+mn-lt"/>
              </a:endParaRPr>
            </a:p>
          </p:txBody>
        </p:sp>
        <p:sp>
          <p:nvSpPr>
            <p:cNvPr id="27" name="Rectangle 92"/>
            <p:cNvSpPr/>
            <p:nvPr/>
          </p:nvSpPr>
          <p:spPr>
            <a:xfrm>
              <a:off x="4572000" y="3143254"/>
              <a:ext cx="1466672" cy="724196"/>
            </a:xfrm>
            <a:prstGeom prst="rect">
              <a:avLst/>
            </a:prstGeom>
          </p:spPr>
          <p:txBody>
            <a:bodyPr wrap="square">
              <a:spAutoFit/>
            </a:bodyPr>
            <a:lstStyle/>
            <a:p>
              <a:r>
                <a:rPr lang="en-US" altLang="zh-CN" sz="3200" b="1" dirty="0">
                  <a:solidFill>
                    <a:srgbClr val="84FFFF"/>
                  </a:solidFill>
                  <a:cs typeface="+mn-ea"/>
                  <a:sym typeface="+mn-lt"/>
                </a:rPr>
                <a:t>60</a:t>
              </a:r>
              <a:r>
                <a:rPr lang="en-US" sz="3200" b="1" dirty="0">
                  <a:solidFill>
                    <a:srgbClr val="84FFFF"/>
                  </a:solidFill>
                  <a:cs typeface="+mn-ea"/>
                  <a:sym typeface="+mn-lt"/>
                </a:rPr>
                <a:t>%</a:t>
              </a:r>
            </a:p>
          </p:txBody>
        </p:sp>
      </p:grpSp>
      <p:grpSp>
        <p:nvGrpSpPr>
          <p:cNvPr id="28" name="组合 27"/>
          <p:cNvGrpSpPr/>
          <p:nvPr/>
        </p:nvGrpSpPr>
        <p:grpSpPr>
          <a:xfrm>
            <a:off x="9994733" y="902355"/>
            <a:ext cx="1672590" cy="1311910"/>
            <a:chOff x="2947" y="3651"/>
            <a:chExt cx="2634" cy="2066"/>
          </a:xfrm>
        </p:grpSpPr>
        <p:sp>
          <p:nvSpPr>
            <p:cNvPr id="29" name="TextBox 13"/>
            <p:cNvSpPr txBox="1"/>
            <p:nvPr/>
          </p:nvSpPr>
          <p:spPr>
            <a:xfrm>
              <a:off x="3391" y="3651"/>
              <a:ext cx="1745" cy="388"/>
            </a:xfrm>
            <a:prstGeom prst="rect">
              <a:avLst/>
            </a:prstGeom>
            <a:noFill/>
          </p:spPr>
          <p:txBody>
            <a:bodyPr wrap="square" lIns="0" tIns="0" rIns="0" bIns="0">
              <a:spAutoFit/>
            </a:bodyPr>
            <a:lstStyle/>
            <a:p>
              <a:pPr algn="ctr" defTabSz="912495">
                <a:spcBef>
                  <a:spcPct val="20000"/>
                </a:spcBef>
                <a:defRPr/>
              </a:pPr>
              <a:r>
                <a:rPr lang="zh-CN" altLang="en-US" sz="1600" b="1" dirty="0">
                  <a:solidFill>
                    <a:srgbClr val="8AFEFE"/>
                  </a:solidFill>
                  <a:cs typeface="+mn-ea"/>
                  <a:sym typeface="+mn-lt"/>
                </a:rPr>
                <a:t>段落标题</a:t>
              </a:r>
            </a:p>
          </p:txBody>
        </p:sp>
        <p:sp>
          <p:nvSpPr>
            <p:cNvPr id="30" name="TextBox 13"/>
            <p:cNvSpPr txBox="1"/>
            <p:nvPr/>
          </p:nvSpPr>
          <p:spPr>
            <a:xfrm>
              <a:off x="2947" y="4142"/>
              <a:ext cx="2634" cy="1575"/>
            </a:xfrm>
            <a:prstGeom prst="rect">
              <a:avLst/>
            </a:prstGeom>
            <a:noFill/>
          </p:spPr>
          <p:txBody>
            <a:bodyPr wrap="square" lIns="0" tIns="0" rIns="0" bIns="0">
              <a:spAutoFit/>
            </a:bodyPr>
            <a:lstStyle/>
            <a:p>
              <a:pPr algn="ctr" defTabSz="912495" fontAlgn="auto">
                <a:lnSpc>
                  <a:spcPct val="130000"/>
                </a:lnSpc>
                <a:spcBef>
                  <a:spcPts val="0"/>
                </a:spcBef>
                <a:defRPr/>
              </a:pPr>
              <a:r>
                <a:rPr lang="zh-CN" altLang="en-US" sz="1000" dirty="0">
                  <a:solidFill>
                    <a:schemeClr val="bg1"/>
                  </a:solidFill>
                  <a:cs typeface="+mn-ea"/>
                  <a:sym typeface="+mn-lt"/>
                </a:rPr>
                <a:t>请替换文字内容，修改文字内容，也可以直接复制你的内容到此。请替换文字内容，修改文字内容，也可以直接复制你的内容到此请替换文字内容</a:t>
              </a:r>
            </a:p>
          </p:txBody>
        </p:sp>
      </p:grpSp>
    </p:spTree>
  </p:cSld>
  <p:clrMapOvr>
    <a:masterClrMapping/>
  </p:clrMapOvr>
  <mc:AlternateContent xmlns:mc="http://schemas.openxmlformats.org/markup-compatibility/2006" xmlns:p14="http://schemas.microsoft.com/office/powerpoint/2010/main">
    <mc:Choice Requires="p14">
      <p:transition spd="slow" advTm="0">
        <p14:flash/>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6" decel="100000" fill="hold" nodeType="withEffect">
                                  <p:stCondLst>
                                    <p:cond delay="1000"/>
                                  </p:stCondLst>
                                  <p:childTnLst>
                                    <p:set>
                                      <p:cBhvr>
                                        <p:cTn id="17" dur="1" fill="hold">
                                          <p:stCondLst>
                                            <p:cond delay="0"/>
                                          </p:stCondLst>
                                        </p:cTn>
                                        <p:tgtEl>
                                          <p:spTgt spid="21"/>
                                        </p:tgtEl>
                                        <p:attrNameLst>
                                          <p:attrName>style.visibility</p:attrName>
                                        </p:attrNameLst>
                                      </p:cBhvr>
                                      <p:to>
                                        <p:strVal val="visible"/>
                                      </p:to>
                                    </p:set>
                                    <p:anim calcmode="lin" valueType="num">
                                      <p:cBhvr additive="base">
                                        <p:cTn id="18" dur="1500" fill="hold"/>
                                        <p:tgtEl>
                                          <p:spTgt spid="21"/>
                                        </p:tgtEl>
                                        <p:attrNameLst>
                                          <p:attrName>ppt_x</p:attrName>
                                        </p:attrNameLst>
                                      </p:cBhvr>
                                      <p:tavLst>
                                        <p:tav tm="0">
                                          <p:val>
                                            <p:strVal val="1+#ppt_w/2"/>
                                          </p:val>
                                        </p:tav>
                                        <p:tav tm="100000">
                                          <p:val>
                                            <p:strVal val="#ppt_x"/>
                                          </p:val>
                                        </p:tav>
                                      </p:tavLst>
                                    </p:anim>
                                    <p:anim calcmode="lin" valueType="num">
                                      <p:cBhvr additive="base">
                                        <p:cTn id="19" dur="1500" fill="hold"/>
                                        <p:tgtEl>
                                          <p:spTgt spid="21"/>
                                        </p:tgtEl>
                                        <p:attrNameLst>
                                          <p:attrName>ppt_y</p:attrName>
                                        </p:attrNameLst>
                                      </p:cBhvr>
                                      <p:tavLst>
                                        <p:tav tm="0">
                                          <p:val>
                                            <p:strVal val="1+#ppt_h/2"/>
                                          </p:val>
                                        </p:tav>
                                        <p:tav tm="100000">
                                          <p:val>
                                            <p:strVal val="#ppt_y"/>
                                          </p:val>
                                        </p:tav>
                                      </p:tavLst>
                                    </p:anim>
                                  </p:childTnLst>
                                </p:cTn>
                              </p:par>
                            </p:childTnLst>
                          </p:cTn>
                        </p:par>
                        <p:par>
                          <p:cTn id="20" fill="hold">
                            <p:stCondLst>
                              <p:cond delay="0"/>
                            </p:stCondLst>
                            <p:childTnLst>
                              <p:par>
                                <p:cTn id="21" presetID="49" presetClass="entr" presetSubtype="0" decel="100000" fill="hold" nodeType="afterEffect">
                                  <p:stCondLst>
                                    <p:cond delay="0"/>
                                  </p:stCondLst>
                                  <p:childTnLst>
                                    <p:set>
                                      <p:cBhvr>
                                        <p:cTn id="22" dur="1" fill="hold">
                                          <p:stCondLst>
                                            <p:cond delay="0"/>
                                          </p:stCondLst>
                                        </p:cTn>
                                        <p:tgtEl>
                                          <p:spTgt spid="11"/>
                                        </p:tgtEl>
                                        <p:attrNameLst>
                                          <p:attrName>style.visibility</p:attrName>
                                        </p:attrNameLst>
                                      </p:cBhvr>
                                      <p:to>
                                        <p:strVal val="visible"/>
                                      </p:to>
                                    </p:set>
                                    <p:anim calcmode="lin" valueType="num">
                                      <p:cBhvr>
                                        <p:cTn id="23" dur="800" fill="hold"/>
                                        <p:tgtEl>
                                          <p:spTgt spid="11"/>
                                        </p:tgtEl>
                                        <p:attrNameLst>
                                          <p:attrName>ppt_w</p:attrName>
                                        </p:attrNameLst>
                                      </p:cBhvr>
                                      <p:tavLst>
                                        <p:tav tm="0">
                                          <p:val>
                                            <p:fltVal val="0"/>
                                          </p:val>
                                        </p:tav>
                                        <p:tav tm="100000">
                                          <p:val>
                                            <p:strVal val="#ppt_w"/>
                                          </p:val>
                                        </p:tav>
                                      </p:tavLst>
                                    </p:anim>
                                    <p:anim calcmode="lin" valueType="num">
                                      <p:cBhvr>
                                        <p:cTn id="24" dur="800" fill="hold"/>
                                        <p:tgtEl>
                                          <p:spTgt spid="11"/>
                                        </p:tgtEl>
                                        <p:attrNameLst>
                                          <p:attrName>ppt_h</p:attrName>
                                        </p:attrNameLst>
                                      </p:cBhvr>
                                      <p:tavLst>
                                        <p:tav tm="0">
                                          <p:val>
                                            <p:fltVal val="0"/>
                                          </p:val>
                                        </p:tav>
                                        <p:tav tm="100000">
                                          <p:val>
                                            <p:strVal val="#ppt_h"/>
                                          </p:val>
                                        </p:tav>
                                      </p:tavLst>
                                    </p:anim>
                                    <p:anim calcmode="lin" valueType="num">
                                      <p:cBhvr>
                                        <p:cTn id="25" dur="800" fill="hold"/>
                                        <p:tgtEl>
                                          <p:spTgt spid="11"/>
                                        </p:tgtEl>
                                        <p:attrNameLst>
                                          <p:attrName>style.rotation</p:attrName>
                                        </p:attrNameLst>
                                      </p:cBhvr>
                                      <p:tavLst>
                                        <p:tav tm="0">
                                          <p:val>
                                            <p:fltVal val="360"/>
                                          </p:val>
                                        </p:tav>
                                        <p:tav tm="100000">
                                          <p:val>
                                            <p:fltVal val="0"/>
                                          </p:val>
                                        </p:tav>
                                      </p:tavLst>
                                    </p:anim>
                                    <p:animEffect transition="in" filter="fade">
                                      <p:cBhvr>
                                        <p:cTn id="26" dur="800"/>
                                        <p:tgtEl>
                                          <p:spTgt spid="11"/>
                                        </p:tgtEl>
                                      </p:cBhvr>
                                    </p:animEffect>
                                  </p:childTnLst>
                                </p:cTn>
                              </p:par>
                              <p:par>
                                <p:cTn id="27" presetID="49" presetClass="entr" presetSubtype="0" decel="100000" fill="hold" grpId="0" nodeType="withEffect">
                                  <p:stCondLst>
                                    <p:cond delay="0"/>
                                  </p:stCondLst>
                                  <p:childTnLst>
                                    <p:set>
                                      <p:cBhvr>
                                        <p:cTn id="28" dur="1" fill="hold">
                                          <p:stCondLst>
                                            <p:cond delay="0"/>
                                          </p:stCondLst>
                                        </p:cTn>
                                        <p:tgtEl>
                                          <p:spTgt spid="19"/>
                                        </p:tgtEl>
                                        <p:attrNameLst>
                                          <p:attrName>style.visibility</p:attrName>
                                        </p:attrNameLst>
                                      </p:cBhvr>
                                      <p:to>
                                        <p:strVal val="visible"/>
                                      </p:to>
                                    </p:set>
                                    <p:anim calcmode="lin" valueType="num">
                                      <p:cBhvr>
                                        <p:cTn id="29" dur="1100" fill="hold"/>
                                        <p:tgtEl>
                                          <p:spTgt spid="19"/>
                                        </p:tgtEl>
                                        <p:attrNameLst>
                                          <p:attrName>ppt_w</p:attrName>
                                        </p:attrNameLst>
                                      </p:cBhvr>
                                      <p:tavLst>
                                        <p:tav tm="0">
                                          <p:val>
                                            <p:fltVal val="0"/>
                                          </p:val>
                                        </p:tav>
                                        <p:tav tm="100000">
                                          <p:val>
                                            <p:strVal val="#ppt_w"/>
                                          </p:val>
                                        </p:tav>
                                      </p:tavLst>
                                    </p:anim>
                                    <p:anim calcmode="lin" valueType="num">
                                      <p:cBhvr>
                                        <p:cTn id="30" dur="1100" fill="hold"/>
                                        <p:tgtEl>
                                          <p:spTgt spid="19"/>
                                        </p:tgtEl>
                                        <p:attrNameLst>
                                          <p:attrName>ppt_h</p:attrName>
                                        </p:attrNameLst>
                                      </p:cBhvr>
                                      <p:tavLst>
                                        <p:tav tm="0">
                                          <p:val>
                                            <p:fltVal val="0"/>
                                          </p:val>
                                        </p:tav>
                                        <p:tav tm="100000">
                                          <p:val>
                                            <p:strVal val="#ppt_h"/>
                                          </p:val>
                                        </p:tav>
                                      </p:tavLst>
                                    </p:anim>
                                    <p:anim calcmode="lin" valueType="num">
                                      <p:cBhvr>
                                        <p:cTn id="31" dur="1100" fill="hold"/>
                                        <p:tgtEl>
                                          <p:spTgt spid="19"/>
                                        </p:tgtEl>
                                        <p:attrNameLst>
                                          <p:attrName>style.rotation</p:attrName>
                                        </p:attrNameLst>
                                      </p:cBhvr>
                                      <p:tavLst>
                                        <p:tav tm="0">
                                          <p:val>
                                            <p:fltVal val="360"/>
                                          </p:val>
                                        </p:tav>
                                        <p:tav tm="100000">
                                          <p:val>
                                            <p:fltVal val="0"/>
                                          </p:val>
                                        </p:tav>
                                      </p:tavLst>
                                    </p:anim>
                                    <p:animEffect transition="in" filter="fade">
                                      <p:cBhvr>
                                        <p:cTn id="32" dur="1100"/>
                                        <p:tgtEl>
                                          <p:spTgt spid="19"/>
                                        </p:tgtEl>
                                      </p:cBhvr>
                                    </p:animEffect>
                                  </p:childTnLst>
                                </p:cTn>
                              </p:par>
                              <p:par>
                                <p:cTn id="33" presetID="21" presetClass="entr" presetSubtype="1"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wheel(1)">
                                      <p:cBhvr>
                                        <p:cTn id="35" dur="1500"/>
                                        <p:tgtEl>
                                          <p:spTgt spid="10"/>
                                        </p:tgtEl>
                                      </p:cBhvr>
                                    </p:animEffect>
                                  </p:childTnLst>
                                </p:cTn>
                              </p:par>
                              <p:par>
                                <p:cTn id="36" presetID="21" presetClass="entr" presetSubtype="1" fill="hold" grpId="0" nodeType="withEffect">
                                  <p:stCondLst>
                                    <p:cond delay="250"/>
                                  </p:stCondLst>
                                  <p:childTnLst>
                                    <p:set>
                                      <p:cBhvr>
                                        <p:cTn id="37" dur="1" fill="hold">
                                          <p:stCondLst>
                                            <p:cond delay="0"/>
                                          </p:stCondLst>
                                        </p:cTn>
                                        <p:tgtEl>
                                          <p:spTgt spid="8"/>
                                        </p:tgtEl>
                                        <p:attrNameLst>
                                          <p:attrName>style.visibility</p:attrName>
                                        </p:attrNameLst>
                                      </p:cBhvr>
                                      <p:to>
                                        <p:strVal val="visible"/>
                                      </p:to>
                                    </p:set>
                                    <p:animEffect transition="in" filter="wheel(1)">
                                      <p:cBhvr>
                                        <p:cTn id="38" dur="1500"/>
                                        <p:tgtEl>
                                          <p:spTgt spid="8"/>
                                        </p:tgtEl>
                                      </p:cBhvr>
                                    </p:animEffect>
                                  </p:childTnLst>
                                </p:cTn>
                              </p:par>
                              <p:par>
                                <p:cTn id="39" presetID="21" presetClass="entr" presetSubtype="1" fill="hold" grpId="0" nodeType="withEffect">
                                  <p:stCondLst>
                                    <p:cond delay="500"/>
                                  </p:stCondLst>
                                  <p:childTnLst>
                                    <p:set>
                                      <p:cBhvr>
                                        <p:cTn id="40" dur="1" fill="hold">
                                          <p:stCondLst>
                                            <p:cond delay="0"/>
                                          </p:stCondLst>
                                        </p:cTn>
                                        <p:tgtEl>
                                          <p:spTgt spid="9"/>
                                        </p:tgtEl>
                                        <p:attrNameLst>
                                          <p:attrName>style.visibility</p:attrName>
                                        </p:attrNameLst>
                                      </p:cBhvr>
                                      <p:to>
                                        <p:strVal val="visible"/>
                                      </p:to>
                                    </p:set>
                                    <p:animEffect transition="in" filter="wheel(1)">
                                      <p:cBhvr>
                                        <p:cTn id="41" dur="1500"/>
                                        <p:tgtEl>
                                          <p:spTgt spid="9"/>
                                        </p:tgtEl>
                                      </p:cBhvr>
                                    </p:animEffect>
                                  </p:childTnLst>
                                </p:cTn>
                              </p:par>
                            </p:childTnLst>
                          </p:cTn>
                        </p:par>
                        <p:par>
                          <p:cTn id="42" fill="hold">
                            <p:stCondLst>
                              <p:cond delay="1000"/>
                            </p:stCondLst>
                            <p:childTnLst>
                              <p:par>
                                <p:cTn id="43" presetID="18" presetClass="entr" presetSubtype="6" fill="hold" grpId="0" nodeType="afterEffect">
                                  <p:stCondLst>
                                    <p:cond delay="0"/>
                                  </p:stCondLst>
                                  <p:childTnLst>
                                    <p:set>
                                      <p:cBhvr>
                                        <p:cTn id="44" dur="1" fill="hold">
                                          <p:stCondLst>
                                            <p:cond delay="0"/>
                                          </p:stCondLst>
                                        </p:cTn>
                                        <p:tgtEl>
                                          <p:spTgt spid="20"/>
                                        </p:tgtEl>
                                        <p:attrNameLst>
                                          <p:attrName>style.visibility</p:attrName>
                                        </p:attrNameLst>
                                      </p:cBhvr>
                                      <p:to>
                                        <p:strVal val="visible"/>
                                      </p:to>
                                    </p:set>
                                    <p:animEffect transition="in" filter="strips(downRight)">
                                      <p:cBhvr>
                                        <p:cTn id="45" dur="1700"/>
                                        <p:tgtEl>
                                          <p:spTgt spid="20"/>
                                        </p:tgtEl>
                                      </p:cBhvr>
                                    </p:animEffect>
                                  </p:childTnLst>
                                </p:cTn>
                              </p:par>
                              <p:par>
                                <p:cTn id="46" presetID="49" presetClass="entr" presetSubtype="0" decel="100000" fill="hold" grpId="0" nodeType="withEffect">
                                  <p:stCondLst>
                                    <p:cond delay="0"/>
                                  </p:stCondLst>
                                  <p:iterate type="lt">
                                    <p:tmPct val="2000"/>
                                  </p:iterate>
                                  <p:childTnLst>
                                    <p:set>
                                      <p:cBhvr>
                                        <p:cTn id="47" dur="1" fill="hold">
                                          <p:stCondLst>
                                            <p:cond delay="0"/>
                                          </p:stCondLst>
                                        </p:cTn>
                                        <p:tgtEl>
                                          <p:spTgt spid="7"/>
                                        </p:tgtEl>
                                        <p:attrNameLst>
                                          <p:attrName>style.visibility</p:attrName>
                                        </p:attrNameLst>
                                      </p:cBhvr>
                                      <p:to>
                                        <p:strVal val="visible"/>
                                      </p:to>
                                    </p:set>
                                    <p:anim calcmode="lin" valueType="num">
                                      <p:cBhvr>
                                        <p:cTn id="48" dur="750" fill="hold"/>
                                        <p:tgtEl>
                                          <p:spTgt spid="7"/>
                                        </p:tgtEl>
                                        <p:attrNameLst>
                                          <p:attrName>ppt_w</p:attrName>
                                        </p:attrNameLst>
                                      </p:cBhvr>
                                      <p:tavLst>
                                        <p:tav tm="0">
                                          <p:val>
                                            <p:fltVal val="0"/>
                                          </p:val>
                                        </p:tav>
                                        <p:tav tm="100000">
                                          <p:val>
                                            <p:strVal val="#ppt_w"/>
                                          </p:val>
                                        </p:tav>
                                      </p:tavLst>
                                    </p:anim>
                                    <p:anim calcmode="lin" valueType="num">
                                      <p:cBhvr>
                                        <p:cTn id="49" dur="750" fill="hold"/>
                                        <p:tgtEl>
                                          <p:spTgt spid="7"/>
                                        </p:tgtEl>
                                        <p:attrNameLst>
                                          <p:attrName>ppt_h</p:attrName>
                                        </p:attrNameLst>
                                      </p:cBhvr>
                                      <p:tavLst>
                                        <p:tav tm="0">
                                          <p:val>
                                            <p:fltVal val="0"/>
                                          </p:val>
                                        </p:tav>
                                        <p:tav tm="100000">
                                          <p:val>
                                            <p:strVal val="#ppt_h"/>
                                          </p:val>
                                        </p:tav>
                                      </p:tavLst>
                                    </p:anim>
                                    <p:anim calcmode="lin" valueType="num">
                                      <p:cBhvr>
                                        <p:cTn id="50" dur="750" fill="hold"/>
                                        <p:tgtEl>
                                          <p:spTgt spid="7"/>
                                        </p:tgtEl>
                                        <p:attrNameLst>
                                          <p:attrName>style.rotation</p:attrName>
                                        </p:attrNameLst>
                                      </p:cBhvr>
                                      <p:tavLst>
                                        <p:tav tm="0">
                                          <p:val>
                                            <p:fltVal val="360"/>
                                          </p:val>
                                        </p:tav>
                                        <p:tav tm="100000">
                                          <p:val>
                                            <p:fltVal val="0"/>
                                          </p:val>
                                        </p:tav>
                                      </p:tavLst>
                                    </p:anim>
                                    <p:animEffect transition="in" filter="fade">
                                      <p:cBhvr>
                                        <p:cTn id="51" dur="750"/>
                                        <p:tgtEl>
                                          <p:spTgt spid="7"/>
                                        </p:tgtEl>
                                      </p:cBhvr>
                                    </p:animEffect>
                                  </p:childTnLst>
                                </p:cTn>
                              </p:par>
                            </p:childTnLst>
                          </p:cTn>
                        </p:par>
                        <p:par>
                          <p:cTn id="52" fill="hold">
                            <p:stCondLst>
                              <p:cond delay="3700"/>
                            </p:stCondLst>
                            <p:childTnLst>
                              <p:par>
                                <p:cTn id="53" presetID="42" presetClass="entr" presetSubtype="0" fill="hold" nodeType="after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1000"/>
                                        <p:tgtEl>
                                          <p:spTgt spid="22"/>
                                        </p:tgtEl>
                                      </p:cBhvr>
                                    </p:animEffect>
                                    <p:anim calcmode="lin" valueType="num">
                                      <p:cBhvr>
                                        <p:cTn id="56" dur="1000" fill="hold"/>
                                        <p:tgtEl>
                                          <p:spTgt spid="22"/>
                                        </p:tgtEl>
                                        <p:attrNameLst>
                                          <p:attrName>ppt_x</p:attrName>
                                        </p:attrNameLst>
                                      </p:cBhvr>
                                      <p:tavLst>
                                        <p:tav tm="0">
                                          <p:val>
                                            <p:strVal val="#ppt_x"/>
                                          </p:val>
                                        </p:tav>
                                        <p:tav tm="100000">
                                          <p:val>
                                            <p:strVal val="#ppt_x"/>
                                          </p:val>
                                        </p:tav>
                                      </p:tavLst>
                                    </p:anim>
                                    <p:anim calcmode="lin" valueType="num">
                                      <p:cBhvr>
                                        <p:cTn id="57" dur="1000" fill="hold"/>
                                        <p:tgtEl>
                                          <p:spTgt spid="22"/>
                                        </p:tgtEl>
                                        <p:attrNameLst>
                                          <p:attrName>ppt_y</p:attrName>
                                        </p:attrNameLst>
                                      </p:cBhvr>
                                      <p:tavLst>
                                        <p:tav tm="0">
                                          <p:val>
                                            <p:strVal val="#ppt_y+.1"/>
                                          </p:val>
                                        </p:tav>
                                        <p:tav tm="100000">
                                          <p:val>
                                            <p:strVal val="#ppt_y"/>
                                          </p:val>
                                        </p:tav>
                                      </p:tavLst>
                                    </p:anim>
                                  </p:childTnLst>
                                </p:cTn>
                              </p:par>
                            </p:childTnLst>
                          </p:cTn>
                        </p:par>
                        <p:par>
                          <p:cTn id="58" fill="hold">
                            <p:stCondLst>
                              <p:cond delay="4700"/>
                            </p:stCondLst>
                            <p:childTnLst>
                              <p:par>
                                <p:cTn id="59" presetID="42" presetClass="entr" presetSubtype="0" fill="hold" nodeType="afterEffect">
                                  <p:stCondLst>
                                    <p:cond delay="0"/>
                                  </p:stCondLst>
                                  <p:childTnLst>
                                    <p:set>
                                      <p:cBhvr>
                                        <p:cTn id="60" dur="1" fill="hold">
                                          <p:stCondLst>
                                            <p:cond delay="0"/>
                                          </p:stCondLst>
                                        </p:cTn>
                                        <p:tgtEl>
                                          <p:spTgt spid="25"/>
                                        </p:tgtEl>
                                        <p:attrNameLst>
                                          <p:attrName>style.visibility</p:attrName>
                                        </p:attrNameLst>
                                      </p:cBhvr>
                                      <p:to>
                                        <p:strVal val="visible"/>
                                      </p:to>
                                    </p:set>
                                    <p:animEffect transition="in" filter="fade">
                                      <p:cBhvr>
                                        <p:cTn id="61" dur="1000"/>
                                        <p:tgtEl>
                                          <p:spTgt spid="25"/>
                                        </p:tgtEl>
                                      </p:cBhvr>
                                    </p:animEffect>
                                    <p:anim calcmode="lin" valueType="num">
                                      <p:cBhvr>
                                        <p:cTn id="62" dur="1000" fill="hold"/>
                                        <p:tgtEl>
                                          <p:spTgt spid="25"/>
                                        </p:tgtEl>
                                        <p:attrNameLst>
                                          <p:attrName>ppt_x</p:attrName>
                                        </p:attrNameLst>
                                      </p:cBhvr>
                                      <p:tavLst>
                                        <p:tav tm="0">
                                          <p:val>
                                            <p:strVal val="#ppt_x"/>
                                          </p:val>
                                        </p:tav>
                                        <p:tav tm="100000">
                                          <p:val>
                                            <p:strVal val="#ppt_x"/>
                                          </p:val>
                                        </p:tav>
                                      </p:tavLst>
                                    </p:anim>
                                    <p:anim calcmode="lin" valueType="num">
                                      <p:cBhvr>
                                        <p:cTn id="63" dur="1000" fill="hold"/>
                                        <p:tgtEl>
                                          <p:spTgt spid="25"/>
                                        </p:tgtEl>
                                        <p:attrNameLst>
                                          <p:attrName>ppt_y</p:attrName>
                                        </p:attrNameLst>
                                      </p:cBhvr>
                                      <p:tavLst>
                                        <p:tav tm="0">
                                          <p:val>
                                            <p:strVal val="#ppt_y+.1"/>
                                          </p:val>
                                        </p:tav>
                                        <p:tav tm="100000">
                                          <p:val>
                                            <p:strVal val="#ppt_y"/>
                                          </p:val>
                                        </p:tav>
                                      </p:tavLst>
                                    </p:anim>
                                  </p:childTnLst>
                                </p:cTn>
                              </p:par>
                            </p:childTnLst>
                          </p:cTn>
                        </p:par>
                        <p:par>
                          <p:cTn id="64" fill="hold">
                            <p:stCondLst>
                              <p:cond delay="5700"/>
                            </p:stCondLst>
                            <p:childTnLst>
                              <p:par>
                                <p:cTn id="65" presetID="2" presetClass="entr" presetSubtype="2" decel="100000" fill="hold" nodeType="afterEffect">
                                  <p:stCondLst>
                                    <p:cond delay="0"/>
                                  </p:stCondLst>
                                  <p:childTnLst>
                                    <p:set>
                                      <p:cBhvr>
                                        <p:cTn id="66" dur="1" fill="hold">
                                          <p:stCondLst>
                                            <p:cond delay="0"/>
                                          </p:stCondLst>
                                        </p:cTn>
                                        <p:tgtEl>
                                          <p:spTgt spid="28"/>
                                        </p:tgtEl>
                                        <p:attrNameLst>
                                          <p:attrName>style.visibility</p:attrName>
                                        </p:attrNameLst>
                                      </p:cBhvr>
                                      <p:to>
                                        <p:strVal val="visible"/>
                                      </p:to>
                                    </p:set>
                                    <p:anim calcmode="lin" valueType="num">
                                      <p:cBhvr additive="base">
                                        <p:cTn id="67" dur="1500" fill="hold"/>
                                        <p:tgtEl>
                                          <p:spTgt spid="28"/>
                                        </p:tgtEl>
                                        <p:attrNameLst>
                                          <p:attrName>ppt_x</p:attrName>
                                        </p:attrNameLst>
                                      </p:cBhvr>
                                      <p:tavLst>
                                        <p:tav tm="0">
                                          <p:val>
                                            <p:strVal val="1+#ppt_w/2"/>
                                          </p:val>
                                        </p:tav>
                                        <p:tav tm="100000">
                                          <p:val>
                                            <p:strVal val="#ppt_x"/>
                                          </p:val>
                                        </p:tav>
                                      </p:tavLst>
                                    </p:anim>
                                    <p:anim calcmode="lin" valueType="num">
                                      <p:cBhvr additive="base">
                                        <p:cTn id="68" dur="1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7" grpId="0"/>
      <p:bldP spid="8" grpId="0" animBg="1"/>
      <p:bldP spid="9" grpId="0" animBg="1"/>
      <p:bldP spid="10" grpId="0" animBg="1"/>
      <p:bldP spid="19" grpId="0" animBg="1"/>
      <p:bldP spid="2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未来发展</a:t>
            </a:r>
          </a:p>
        </p:txBody>
      </p:sp>
      <p:pic>
        <p:nvPicPr>
          <p:cNvPr id="5" name="4"/>
          <p:cNvPicPr>
            <a:picLocks noChangeAspect="1"/>
          </p:cNvPicPr>
          <p:nvPr/>
        </p:nvPicPr>
        <p:blipFill rotWithShape="1">
          <a:blip r:embed="rId2" cstate="screen"/>
          <a:srcRect/>
          <a:stretch>
            <a:fillRect/>
          </a:stretch>
        </p:blipFill>
        <p:spPr>
          <a:xfrm>
            <a:off x="110632" y="95800"/>
            <a:ext cx="1108567" cy="1488355"/>
          </a:xfrm>
          <a:prstGeom prst="rect">
            <a:avLst/>
          </a:prstGeom>
        </p:spPr>
      </p:pic>
      <p:grpSp>
        <p:nvGrpSpPr>
          <p:cNvPr id="49" name="组 30"/>
          <p:cNvGrpSpPr/>
          <p:nvPr/>
        </p:nvGrpSpPr>
        <p:grpSpPr>
          <a:xfrm>
            <a:off x="9869702" y="-161900"/>
            <a:ext cx="387134" cy="6342063"/>
            <a:chOff x="2819839" y="-5415050"/>
            <a:chExt cx="776586" cy="12722100"/>
          </a:xfrm>
        </p:grpSpPr>
        <p:sp>
          <p:nvSpPr>
            <p:cNvPr id="50" name="椭圆 49"/>
            <p:cNvSpPr/>
            <p:nvPr/>
          </p:nvSpPr>
          <p:spPr>
            <a:xfrm>
              <a:off x="3138869" y="-5411726"/>
              <a:ext cx="138525" cy="12718776"/>
            </a:xfrm>
            <a:prstGeom prst="ellipse">
              <a:avLst/>
            </a:prstGeom>
            <a:solidFill>
              <a:srgbClr val="84FFFF"/>
            </a:solidFill>
            <a:ln>
              <a:noFill/>
            </a:ln>
            <a:effectLst>
              <a:glow rad="127000">
                <a:srgbClr val="84FFFF">
                  <a:alpha val="6000"/>
                </a:srgbClr>
              </a:glow>
            </a:effectLst>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51" name="椭圆 50"/>
            <p:cNvSpPr/>
            <p:nvPr/>
          </p:nvSpPr>
          <p:spPr>
            <a:xfrm>
              <a:off x="2819839" y="-5415050"/>
              <a:ext cx="776586" cy="12718776"/>
            </a:xfrm>
            <a:prstGeom prst="ellipse">
              <a:avLst/>
            </a:prstGeom>
            <a:noFill/>
            <a:ln>
              <a:solidFill>
                <a:srgbClr val="84FFFF"/>
              </a:solidFill>
            </a:ln>
            <a:effectLst>
              <a:glow rad="127000">
                <a:srgbClr val="84FFFF">
                  <a:alpha val="6000"/>
                </a:srgbClr>
              </a:glow>
            </a:effectLst>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grpSp>
      <p:grpSp>
        <p:nvGrpSpPr>
          <p:cNvPr id="52" name="组 31"/>
          <p:cNvGrpSpPr/>
          <p:nvPr/>
        </p:nvGrpSpPr>
        <p:grpSpPr>
          <a:xfrm>
            <a:off x="6423914" y="-1879626"/>
            <a:ext cx="741432" cy="6343582"/>
            <a:chOff x="2819839" y="-2376176"/>
            <a:chExt cx="776586" cy="6644355"/>
          </a:xfrm>
        </p:grpSpPr>
        <p:sp>
          <p:nvSpPr>
            <p:cNvPr id="53" name="椭圆 52"/>
            <p:cNvSpPr/>
            <p:nvPr/>
          </p:nvSpPr>
          <p:spPr>
            <a:xfrm>
              <a:off x="3138870" y="-2372849"/>
              <a:ext cx="138526" cy="6641028"/>
            </a:xfrm>
            <a:prstGeom prst="ellipse">
              <a:avLst/>
            </a:prstGeom>
            <a:solidFill>
              <a:srgbClr val="84FFFF"/>
            </a:solidFill>
            <a:ln>
              <a:noFill/>
            </a:ln>
            <a:effectLst>
              <a:glow rad="127000">
                <a:srgbClr val="84FFFF">
                  <a:alpha val="6000"/>
                </a:srgbClr>
              </a:glow>
            </a:effectLst>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54" name="椭圆 53"/>
            <p:cNvSpPr/>
            <p:nvPr/>
          </p:nvSpPr>
          <p:spPr>
            <a:xfrm>
              <a:off x="2819839" y="-2376176"/>
              <a:ext cx="776586" cy="6641028"/>
            </a:xfrm>
            <a:prstGeom prst="ellipse">
              <a:avLst/>
            </a:prstGeom>
            <a:noFill/>
            <a:ln>
              <a:solidFill>
                <a:srgbClr val="84FFFF"/>
              </a:solidFill>
            </a:ln>
            <a:effectLst>
              <a:glow rad="127000">
                <a:srgbClr val="84FFFF">
                  <a:alpha val="6000"/>
                </a:srgbClr>
              </a:glow>
            </a:effectLst>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grpSp>
      <p:grpSp>
        <p:nvGrpSpPr>
          <p:cNvPr id="55" name="组 34"/>
          <p:cNvGrpSpPr/>
          <p:nvPr/>
        </p:nvGrpSpPr>
        <p:grpSpPr>
          <a:xfrm>
            <a:off x="7351707" y="-157025"/>
            <a:ext cx="387134" cy="6342063"/>
            <a:chOff x="2819839" y="-5415050"/>
            <a:chExt cx="776586" cy="12722100"/>
          </a:xfrm>
        </p:grpSpPr>
        <p:sp>
          <p:nvSpPr>
            <p:cNvPr id="56" name="椭圆 55"/>
            <p:cNvSpPr/>
            <p:nvPr/>
          </p:nvSpPr>
          <p:spPr>
            <a:xfrm>
              <a:off x="3138869" y="-5411726"/>
              <a:ext cx="138525" cy="12718776"/>
            </a:xfrm>
            <a:prstGeom prst="ellipse">
              <a:avLst/>
            </a:prstGeom>
            <a:solidFill>
              <a:srgbClr val="84FFFF"/>
            </a:solidFill>
            <a:ln>
              <a:noFill/>
            </a:ln>
            <a:effectLst>
              <a:glow rad="127000">
                <a:srgbClr val="84FFFF">
                  <a:alpha val="6000"/>
                </a:srgbClr>
              </a:glow>
            </a:effectLst>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57" name="椭圆 56"/>
            <p:cNvSpPr/>
            <p:nvPr/>
          </p:nvSpPr>
          <p:spPr>
            <a:xfrm>
              <a:off x="2819839" y="-5415050"/>
              <a:ext cx="776586" cy="12718776"/>
            </a:xfrm>
            <a:prstGeom prst="ellipse">
              <a:avLst/>
            </a:prstGeom>
            <a:noFill/>
            <a:ln>
              <a:solidFill>
                <a:srgbClr val="84FFFF"/>
              </a:solidFill>
            </a:ln>
            <a:effectLst>
              <a:glow rad="127000">
                <a:srgbClr val="84FFFF">
                  <a:alpha val="6000"/>
                </a:srgbClr>
              </a:glow>
            </a:effectLst>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grpSp>
      <p:sp>
        <p:nvSpPr>
          <p:cNvPr id="58" name="圆角矩形 38"/>
          <p:cNvSpPr/>
          <p:nvPr/>
        </p:nvSpPr>
        <p:spPr>
          <a:xfrm>
            <a:off x="7112695" y="888224"/>
            <a:ext cx="1508407" cy="374571"/>
          </a:xfrm>
          <a:prstGeom prst="roundRect">
            <a:avLst/>
          </a:prstGeom>
          <a:noFill/>
          <a:ln>
            <a:noFill/>
          </a:ln>
        </p:spPr>
        <p:txBody>
          <a:bodyPr wrap="square" rtlCol="0" anchor="ctr">
            <a:spAutoFit/>
          </a:bodyPr>
          <a:lstStyle/>
          <a:p>
            <a:pPr algn="ctr"/>
            <a:r>
              <a:rPr kumimoji="1" lang="zh-CN" altLang="en-US" sz="1600" b="1" dirty="0">
                <a:ln w="19050" cap="rnd" cmpd="thinThick">
                  <a:noFill/>
                  <a:prstDash val="solid"/>
                </a:ln>
                <a:solidFill>
                  <a:srgbClr val="84FFFF"/>
                </a:solidFill>
                <a:cs typeface="+mn-ea"/>
                <a:sym typeface="+mn-lt"/>
              </a:rPr>
              <a:t>填写段落标题</a:t>
            </a:r>
          </a:p>
        </p:txBody>
      </p:sp>
      <p:sp>
        <p:nvSpPr>
          <p:cNvPr id="59" name="圆角矩形 39"/>
          <p:cNvSpPr/>
          <p:nvPr/>
        </p:nvSpPr>
        <p:spPr>
          <a:xfrm>
            <a:off x="7061607" y="3261120"/>
            <a:ext cx="967334" cy="289441"/>
          </a:xfrm>
          <a:prstGeom prst="roundRect">
            <a:avLst/>
          </a:prstGeom>
          <a:noFill/>
          <a:ln>
            <a:noFill/>
          </a:ln>
        </p:spPr>
        <p:txBody>
          <a:bodyPr wrap="square" rtlCol="0" anchor="ctr">
            <a:spAutoFit/>
          </a:bodyPr>
          <a:lstStyle/>
          <a:p>
            <a:pPr algn="ctr"/>
            <a:r>
              <a:rPr kumimoji="1" lang="zh-CN" altLang="en-US" sz="1050" b="1" dirty="0">
                <a:ln w="19050" cap="rnd" cmpd="thinThick">
                  <a:noFill/>
                  <a:prstDash val="solid"/>
                </a:ln>
                <a:solidFill>
                  <a:srgbClr val="84FFFF"/>
                </a:solidFill>
                <a:cs typeface="+mn-ea"/>
                <a:sym typeface="+mn-lt"/>
              </a:rPr>
              <a:t>段落标题</a:t>
            </a:r>
          </a:p>
        </p:txBody>
      </p:sp>
      <p:sp>
        <p:nvSpPr>
          <p:cNvPr id="60" name="圆角矩形 40"/>
          <p:cNvSpPr/>
          <p:nvPr/>
        </p:nvSpPr>
        <p:spPr>
          <a:xfrm>
            <a:off x="9579602" y="3217003"/>
            <a:ext cx="967334" cy="289441"/>
          </a:xfrm>
          <a:prstGeom prst="roundRect">
            <a:avLst/>
          </a:prstGeom>
          <a:noFill/>
          <a:ln>
            <a:noFill/>
          </a:ln>
        </p:spPr>
        <p:txBody>
          <a:bodyPr wrap="square" rtlCol="0" anchor="ctr">
            <a:spAutoFit/>
          </a:bodyPr>
          <a:lstStyle/>
          <a:p>
            <a:pPr algn="ctr"/>
            <a:r>
              <a:rPr kumimoji="1" lang="zh-CN" altLang="en-US" sz="1050" b="1" dirty="0">
                <a:ln w="19050" cap="rnd" cmpd="thinThick">
                  <a:noFill/>
                  <a:prstDash val="solid"/>
                </a:ln>
                <a:solidFill>
                  <a:srgbClr val="84FFFF"/>
                </a:solidFill>
                <a:cs typeface="+mn-ea"/>
                <a:sym typeface="+mn-lt"/>
              </a:rPr>
              <a:t>段落标题</a:t>
            </a:r>
          </a:p>
        </p:txBody>
      </p:sp>
      <p:grpSp>
        <p:nvGrpSpPr>
          <p:cNvPr id="61" name="组 52"/>
          <p:cNvGrpSpPr/>
          <p:nvPr/>
        </p:nvGrpSpPr>
        <p:grpSpPr>
          <a:xfrm>
            <a:off x="4751164" y="2308031"/>
            <a:ext cx="387134" cy="6342063"/>
            <a:chOff x="2819839" y="-5415050"/>
            <a:chExt cx="776586" cy="12722100"/>
          </a:xfrm>
        </p:grpSpPr>
        <p:sp>
          <p:nvSpPr>
            <p:cNvPr id="62" name="椭圆 61"/>
            <p:cNvSpPr/>
            <p:nvPr/>
          </p:nvSpPr>
          <p:spPr>
            <a:xfrm>
              <a:off x="3138869" y="-5411726"/>
              <a:ext cx="138525" cy="12718776"/>
            </a:xfrm>
            <a:prstGeom prst="ellipse">
              <a:avLst/>
            </a:prstGeom>
            <a:solidFill>
              <a:srgbClr val="84FFFF"/>
            </a:solidFill>
            <a:ln>
              <a:noFill/>
            </a:ln>
            <a:effectLst>
              <a:glow rad="127000">
                <a:srgbClr val="84FFFF">
                  <a:alpha val="6000"/>
                </a:srgbClr>
              </a:glow>
            </a:effectLst>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sp>
          <p:nvSpPr>
            <p:cNvPr id="63" name="椭圆 62"/>
            <p:cNvSpPr/>
            <p:nvPr/>
          </p:nvSpPr>
          <p:spPr>
            <a:xfrm>
              <a:off x="2819839" y="-5415050"/>
              <a:ext cx="776586" cy="12718776"/>
            </a:xfrm>
            <a:prstGeom prst="ellipse">
              <a:avLst/>
            </a:prstGeom>
            <a:noFill/>
            <a:ln>
              <a:solidFill>
                <a:srgbClr val="84FFFF"/>
              </a:solidFill>
            </a:ln>
            <a:effectLst>
              <a:glow rad="127000">
                <a:srgbClr val="84FFFF">
                  <a:alpha val="6000"/>
                </a:srgbClr>
              </a:glow>
            </a:effectLst>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grpSp>
      <p:sp>
        <p:nvSpPr>
          <p:cNvPr id="64" name="圆角矩形 55"/>
          <p:cNvSpPr/>
          <p:nvPr/>
        </p:nvSpPr>
        <p:spPr>
          <a:xfrm>
            <a:off x="4461064" y="5686934"/>
            <a:ext cx="967334" cy="289441"/>
          </a:xfrm>
          <a:prstGeom prst="roundRect">
            <a:avLst/>
          </a:prstGeom>
          <a:noFill/>
          <a:ln>
            <a:noFill/>
          </a:ln>
        </p:spPr>
        <p:txBody>
          <a:bodyPr wrap="square" rtlCol="0" anchor="ctr">
            <a:spAutoFit/>
          </a:bodyPr>
          <a:lstStyle/>
          <a:p>
            <a:pPr algn="ctr"/>
            <a:r>
              <a:rPr kumimoji="1" lang="zh-CN" altLang="en-US" sz="1050" b="1" dirty="0">
                <a:ln w="19050" cap="rnd" cmpd="thinThick">
                  <a:noFill/>
                  <a:prstDash val="solid"/>
                </a:ln>
                <a:solidFill>
                  <a:srgbClr val="84FFFF"/>
                </a:solidFill>
                <a:cs typeface="+mn-ea"/>
                <a:sym typeface="+mn-lt"/>
              </a:rPr>
              <a:t>段落标题</a:t>
            </a:r>
          </a:p>
        </p:txBody>
      </p:sp>
      <p:sp>
        <p:nvSpPr>
          <p:cNvPr id="65" name="任意形状 56"/>
          <p:cNvSpPr/>
          <p:nvPr/>
        </p:nvSpPr>
        <p:spPr>
          <a:xfrm>
            <a:off x="4939643" y="1272757"/>
            <a:ext cx="5118538" cy="4193628"/>
          </a:xfrm>
          <a:custGeom>
            <a:avLst/>
            <a:gdLst>
              <a:gd name="connsiteX0" fmla="*/ 0 w 5118538"/>
              <a:gd name="connsiteY0" fmla="*/ 4193628 h 4193628"/>
              <a:gd name="connsiteX1" fmla="*/ 1849821 w 5118538"/>
              <a:gd name="connsiteY1" fmla="*/ 0 h 4193628"/>
              <a:gd name="connsiteX2" fmla="*/ 2596055 w 5118538"/>
              <a:gd name="connsiteY2" fmla="*/ 1755228 h 4193628"/>
              <a:gd name="connsiteX3" fmla="*/ 5118538 w 5118538"/>
              <a:gd name="connsiteY3" fmla="*/ 1744717 h 4193628"/>
            </a:gdLst>
            <a:ahLst/>
            <a:cxnLst>
              <a:cxn ang="0">
                <a:pos x="connsiteX0" y="connsiteY0"/>
              </a:cxn>
              <a:cxn ang="0">
                <a:pos x="connsiteX1" y="connsiteY1"/>
              </a:cxn>
              <a:cxn ang="0">
                <a:pos x="connsiteX2" y="connsiteY2"/>
              </a:cxn>
              <a:cxn ang="0">
                <a:pos x="connsiteX3" y="connsiteY3"/>
              </a:cxn>
            </a:cxnLst>
            <a:rect l="l" t="t" r="r" b="b"/>
            <a:pathLst>
              <a:path w="5118538" h="4193628">
                <a:moveTo>
                  <a:pt x="0" y="4193628"/>
                </a:moveTo>
                <a:lnTo>
                  <a:pt x="1849821" y="0"/>
                </a:lnTo>
                <a:lnTo>
                  <a:pt x="2596055" y="1755228"/>
                </a:lnTo>
                <a:lnTo>
                  <a:pt x="5118538" y="1744717"/>
                </a:lnTo>
              </a:path>
            </a:pathLst>
          </a:custGeom>
          <a:noFill/>
          <a:ln>
            <a:solidFill>
              <a:srgbClr val="84FFFF"/>
            </a:solidFill>
            <a:prstDash val="dash"/>
          </a:ln>
        </p:spPr>
        <p:txBody>
          <a:bodyPr rtlCol="0" anchor="ctr"/>
          <a:lstStyle/>
          <a:p>
            <a:pPr algn="ctr"/>
            <a:endParaRPr kumimoji="1" lang="zh-CN" altLang="en-US">
              <a:cs typeface="+mn-ea"/>
              <a:sym typeface="+mn-lt"/>
            </a:endParaRPr>
          </a:p>
        </p:txBody>
      </p:sp>
      <p:sp>
        <p:nvSpPr>
          <p:cNvPr id="66" name="文本框 65"/>
          <p:cNvSpPr txBox="1"/>
          <p:nvPr/>
        </p:nvSpPr>
        <p:spPr>
          <a:xfrm>
            <a:off x="7176036" y="1187217"/>
            <a:ext cx="2647240" cy="548548"/>
          </a:xfrm>
          <a:prstGeom prst="rect">
            <a:avLst/>
          </a:prstGeom>
          <a:noFill/>
        </p:spPr>
        <p:txBody>
          <a:bodyPr wrap="square" rtlCol="0">
            <a:spAutoFit/>
          </a:bodyPr>
          <a:lstStyle/>
          <a:p>
            <a:pPr lvl="0">
              <a:lnSpc>
                <a:spcPct val="150000"/>
              </a:lnSpc>
              <a:defRPr/>
            </a:pPr>
            <a:r>
              <a:rPr lang="zh-CN" altLang="en-US" sz="1050" kern="0" dirty="0">
                <a:solidFill>
                  <a:schemeClr val="bg1">
                    <a:lumMod val="85000"/>
                  </a:schemeClr>
                </a:solidFill>
                <a:cs typeface="+mn-ea"/>
                <a:sym typeface="+mn-lt"/>
              </a:rPr>
              <a:t>请替换文字内容，修改文字内容，也可以直接复制你的内容到此。</a:t>
            </a:r>
            <a:endParaRPr kumimoji="0" lang="zh-CN" altLang="en-US" sz="1050" b="0" i="0" u="none" strike="noStrike" kern="0" cap="none" spc="0" normalizeH="0" baseline="0" noProof="0" dirty="0">
              <a:ln>
                <a:noFill/>
              </a:ln>
              <a:solidFill>
                <a:schemeClr val="bg1">
                  <a:lumMod val="85000"/>
                </a:schemeClr>
              </a:solidFill>
              <a:effectLst/>
              <a:uLnTx/>
              <a:uFillTx/>
              <a:cs typeface="+mn-ea"/>
              <a:sym typeface="+mn-lt"/>
            </a:endParaRPr>
          </a:p>
        </p:txBody>
      </p:sp>
      <p:sp>
        <p:nvSpPr>
          <p:cNvPr id="67" name="文本框 66"/>
          <p:cNvSpPr txBox="1"/>
          <p:nvPr/>
        </p:nvSpPr>
        <p:spPr>
          <a:xfrm>
            <a:off x="7165346" y="3477496"/>
            <a:ext cx="1771452" cy="819455"/>
          </a:xfrm>
          <a:prstGeom prst="rect">
            <a:avLst/>
          </a:prstGeom>
          <a:noFill/>
        </p:spPr>
        <p:txBody>
          <a:bodyPr wrap="square" rtlCol="0">
            <a:spAutoFit/>
          </a:bodyPr>
          <a:lstStyle/>
          <a:p>
            <a:pPr lvl="0">
              <a:lnSpc>
                <a:spcPct val="150000"/>
              </a:lnSpc>
              <a:defRPr/>
            </a:pPr>
            <a:r>
              <a:rPr lang="zh-CN" altLang="en-US" sz="1050" kern="0" dirty="0">
                <a:solidFill>
                  <a:schemeClr val="bg1">
                    <a:lumMod val="85000"/>
                  </a:schemeClr>
                </a:solidFill>
                <a:cs typeface="+mn-ea"/>
                <a:sym typeface="+mn-lt"/>
              </a:rPr>
              <a:t>请替换文字内容，修改文字内容，也可以直接复制你的内容到此。</a:t>
            </a:r>
            <a:endParaRPr kumimoji="0" lang="zh-CN" altLang="en-US" sz="1050" b="0" i="0" u="none" strike="noStrike" kern="0" cap="none" spc="0" normalizeH="0" baseline="0" noProof="0" dirty="0">
              <a:ln>
                <a:noFill/>
              </a:ln>
              <a:solidFill>
                <a:schemeClr val="bg1">
                  <a:lumMod val="85000"/>
                </a:schemeClr>
              </a:solidFill>
              <a:effectLst/>
              <a:uLnTx/>
              <a:uFillTx/>
              <a:cs typeface="+mn-ea"/>
              <a:sym typeface="+mn-lt"/>
            </a:endParaRPr>
          </a:p>
        </p:txBody>
      </p:sp>
      <p:sp>
        <p:nvSpPr>
          <p:cNvPr id="68" name="文本框 67"/>
          <p:cNvSpPr txBox="1"/>
          <p:nvPr/>
        </p:nvSpPr>
        <p:spPr>
          <a:xfrm>
            <a:off x="9663887" y="3437691"/>
            <a:ext cx="1652663" cy="819455"/>
          </a:xfrm>
          <a:prstGeom prst="rect">
            <a:avLst/>
          </a:prstGeom>
          <a:noFill/>
        </p:spPr>
        <p:txBody>
          <a:bodyPr wrap="square" rtlCol="0">
            <a:spAutoFit/>
          </a:bodyPr>
          <a:lstStyle/>
          <a:p>
            <a:pPr lvl="0">
              <a:lnSpc>
                <a:spcPct val="150000"/>
              </a:lnSpc>
              <a:defRPr/>
            </a:pPr>
            <a:r>
              <a:rPr lang="zh-CN" altLang="en-US" sz="1050" kern="0" dirty="0">
                <a:solidFill>
                  <a:schemeClr val="bg1">
                    <a:lumMod val="85000"/>
                  </a:schemeClr>
                </a:solidFill>
                <a:cs typeface="+mn-ea"/>
                <a:sym typeface="+mn-lt"/>
              </a:rPr>
              <a:t>请替换文字内容，修改文字内容，也可以直接复制你的内容到此。</a:t>
            </a:r>
            <a:endParaRPr kumimoji="0" lang="zh-CN" altLang="en-US" sz="1050" b="0" i="0" u="none" strike="noStrike" kern="0" cap="none" spc="0" normalizeH="0" baseline="0" noProof="0" dirty="0">
              <a:ln>
                <a:noFill/>
              </a:ln>
              <a:solidFill>
                <a:schemeClr val="bg1">
                  <a:lumMod val="85000"/>
                </a:schemeClr>
              </a:solidFill>
              <a:effectLst/>
              <a:uLnTx/>
              <a:uFillTx/>
              <a:cs typeface="+mn-ea"/>
              <a:sym typeface="+mn-lt"/>
            </a:endParaRPr>
          </a:p>
        </p:txBody>
      </p:sp>
      <p:sp>
        <p:nvSpPr>
          <p:cNvPr id="69" name="文本框 68"/>
          <p:cNvSpPr txBox="1"/>
          <p:nvPr/>
        </p:nvSpPr>
        <p:spPr>
          <a:xfrm>
            <a:off x="4531949" y="5925369"/>
            <a:ext cx="2328810" cy="548548"/>
          </a:xfrm>
          <a:prstGeom prst="rect">
            <a:avLst/>
          </a:prstGeom>
          <a:noFill/>
        </p:spPr>
        <p:txBody>
          <a:bodyPr wrap="square" rtlCol="0">
            <a:spAutoFit/>
          </a:bodyPr>
          <a:lstStyle/>
          <a:p>
            <a:pPr lvl="0">
              <a:lnSpc>
                <a:spcPct val="150000"/>
              </a:lnSpc>
              <a:defRPr/>
            </a:pPr>
            <a:r>
              <a:rPr lang="zh-CN" altLang="en-US" sz="1050" kern="0" dirty="0">
                <a:solidFill>
                  <a:schemeClr val="bg1">
                    <a:lumMod val="85000"/>
                  </a:schemeClr>
                </a:solidFill>
                <a:cs typeface="+mn-ea"/>
                <a:sym typeface="+mn-lt"/>
              </a:rPr>
              <a:t>请替换文字内容，修改文字内容，也可以直接复制你的内容到此。</a:t>
            </a:r>
            <a:endParaRPr kumimoji="0" lang="zh-CN" altLang="en-US" sz="1050" b="0" i="0" u="none" strike="noStrike" kern="0" cap="none" spc="0" normalizeH="0" baseline="0" noProof="0" dirty="0">
              <a:ln>
                <a:noFill/>
              </a:ln>
              <a:solidFill>
                <a:schemeClr val="bg1">
                  <a:lumMod val="85000"/>
                </a:schemeClr>
              </a:solidFill>
              <a:effectLst/>
              <a:uLnTx/>
              <a:uFillTx/>
              <a:cs typeface="+mn-ea"/>
              <a:sym typeface="+mn-lt"/>
            </a:endParaRPr>
          </a:p>
        </p:txBody>
      </p:sp>
      <p:sp>
        <p:nvSpPr>
          <p:cNvPr id="70" name="Freeform 35"/>
          <p:cNvSpPr>
            <a:spLocks noEditPoints="1"/>
          </p:cNvSpPr>
          <p:nvPr/>
        </p:nvSpPr>
        <p:spPr bwMode="auto">
          <a:xfrm>
            <a:off x="9658105" y="5192880"/>
            <a:ext cx="386965" cy="815630"/>
          </a:xfrm>
          <a:custGeom>
            <a:avLst/>
            <a:gdLst>
              <a:gd name="T0" fmla="*/ 76 w 153"/>
              <a:gd name="T1" fmla="*/ 60 h 322"/>
              <a:gd name="T2" fmla="*/ 106 w 153"/>
              <a:gd name="T3" fmla="*/ 30 h 322"/>
              <a:gd name="T4" fmla="*/ 76 w 153"/>
              <a:gd name="T5" fmla="*/ 0 h 322"/>
              <a:gd name="T6" fmla="*/ 46 w 153"/>
              <a:gd name="T7" fmla="*/ 30 h 322"/>
              <a:gd name="T8" fmla="*/ 76 w 153"/>
              <a:gd name="T9" fmla="*/ 60 h 322"/>
              <a:gd name="T10" fmla="*/ 151 w 153"/>
              <a:gd name="T11" fmla="*/ 161 h 322"/>
              <a:gd name="T12" fmla="*/ 151 w 153"/>
              <a:gd name="T13" fmla="*/ 161 h 322"/>
              <a:gd name="T14" fmla="*/ 127 w 153"/>
              <a:gd name="T15" fmla="*/ 91 h 322"/>
              <a:gd name="T16" fmla="*/ 97 w 153"/>
              <a:gd name="T17" fmla="*/ 67 h 322"/>
              <a:gd name="T18" fmla="*/ 56 w 153"/>
              <a:gd name="T19" fmla="*/ 67 h 322"/>
              <a:gd name="T20" fmla="*/ 27 w 153"/>
              <a:gd name="T21" fmla="*/ 85 h 322"/>
              <a:gd name="T22" fmla="*/ 27 w 153"/>
              <a:gd name="T23" fmla="*/ 85 h 322"/>
              <a:gd name="T24" fmla="*/ 26 w 153"/>
              <a:gd name="T25" fmla="*/ 91 h 322"/>
              <a:gd name="T26" fmla="*/ 2 w 153"/>
              <a:gd name="T27" fmla="*/ 161 h 322"/>
              <a:gd name="T28" fmla="*/ 9 w 153"/>
              <a:gd name="T29" fmla="*/ 176 h 322"/>
              <a:gd name="T30" fmla="*/ 23 w 153"/>
              <a:gd name="T31" fmla="*/ 169 h 322"/>
              <a:gd name="T32" fmla="*/ 45 w 153"/>
              <a:gd name="T33" fmla="*/ 104 h 322"/>
              <a:gd name="T34" fmla="*/ 49 w 153"/>
              <a:gd name="T35" fmla="*/ 104 h 322"/>
              <a:gd name="T36" fmla="*/ 12 w 153"/>
              <a:gd name="T37" fmla="*/ 214 h 322"/>
              <a:gd name="T38" fmla="*/ 46 w 153"/>
              <a:gd name="T39" fmla="*/ 214 h 322"/>
              <a:gd name="T40" fmla="*/ 46 w 153"/>
              <a:gd name="T41" fmla="*/ 308 h 322"/>
              <a:gd name="T42" fmla="*/ 60 w 153"/>
              <a:gd name="T43" fmla="*/ 322 h 322"/>
              <a:gd name="T44" fmla="*/ 75 w 153"/>
              <a:gd name="T45" fmla="*/ 308 h 322"/>
              <a:gd name="T46" fmla="*/ 75 w 153"/>
              <a:gd name="T47" fmla="*/ 214 h 322"/>
              <a:gd name="T48" fmla="*/ 78 w 153"/>
              <a:gd name="T49" fmla="*/ 214 h 322"/>
              <a:gd name="T50" fmla="*/ 78 w 153"/>
              <a:gd name="T51" fmla="*/ 308 h 322"/>
              <a:gd name="T52" fmla="*/ 92 w 153"/>
              <a:gd name="T53" fmla="*/ 322 h 322"/>
              <a:gd name="T54" fmla="*/ 106 w 153"/>
              <a:gd name="T55" fmla="*/ 308 h 322"/>
              <a:gd name="T56" fmla="*/ 106 w 153"/>
              <a:gd name="T57" fmla="*/ 214 h 322"/>
              <a:gd name="T58" fmla="*/ 141 w 153"/>
              <a:gd name="T59" fmla="*/ 214 h 322"/>
              <a:gd name="T60" fmla="*/ 104 w 153"/>
              <a:gd name="T61" fmla="*/ 104 h 322"/>
              <a:gd name="T62" fmla="*/ 107 w 153"/>
              <a:gd name="T63" fmla="*/ 104 h 322"/>
              <a:gd name="T64" fmla="*/ 129 w 153"/>
              <a:gd name="T65" fmla="*/ 169 h 322"/>
              <a:gd name="T66" fmla="*/ 144 w 153"/>
              <a:gd name="T67" fmla="*/ 176 h 322"/>
              <a:gd name="T68" fmla="*/ 151 w 153"/>
              <a:gd name="T69" fmla="*/ 161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3" h="322">
                <a:moveTo>
                  <a:pt x="76" y="60"/>
                </a:moveTo>
                <a:cubicBezTo>
                  <a:pt x="92" y="60"/>
                  <a:pt x="106" y="46"/>
                  <a:pt x="106" y="30"/>
                </a:cubicBezTo>
                <a:cubicBezTo>
                  <a:pt x="106" y="14"/>
                  <a:pt x="92" y="0"/>
                  <a:pt x="76" y="0"/>
                </a:cubicBezTo>
                <a:cubicBezTo>
                  <a:pt x="60" y="0"/>
                  <a:pt x="46" y="14"/>
                  <a:pt x="46" y="30"/>
                </a:cubicBezTo>
                <a:cubicBezTo>
                  <a:pt x="46" y="46"/>
                  <a:pt x="60" y="60"/>
                  <a:pt x="76" y="60"/>
                </a:cubicBezTo>
                <a:close/>
                <a:moveTo>
                  <a:pt x="151" y="161"/>
                </a:moveTo>
                <a:cubicBezTo>
                  <a:pt x="151" y="161"/>
                  <a:pt x="151" y="161"/>
                  <a:pt x="151" y="161"/>
                </a:cubicBezTo>
                <a:cubicBezTo>
                  <a:pt x="127" y="91"/>
                  <a:pt x="127" y="91"/>
                  <a:pt x="127" y="91"/>
                </a:cubicBezTo>
                <a:cubicBezTo>
                  <a:pt x="124" y="77"/>
                  <a:pt x="112" y="67"/>
                  <a:pt x="97" y="67"/>
                </a:cubicBezTo>
                <a:cubicBezTo>
                  <a:pt x="56" y="67"/>
                  <a:pt x="56" y="67"/>
                  <a:pt x="56" y="67"/>
                </a:cubicBezTo>
                <a:cubicBezTo>
                  <a:pt x="43" y="67"/>
                  <a:pt x="32" y="74"/>
                  <a:pt x="27" y="85"/>
                </a:cubicBezTo>
                <a:cubicBezTo>
                  <a:pt x="27" y="85"/>
                  <a:pt x="27" y="85"/>
                  <a:pt x="27" y="85"/>
                </a:cubicBezTo>
                <a:cubicBezTo>
                  <a:pt x="27" y="87"/>
                  <a:pt x="26" y="89"/>
                  <a:pt x="26" y="91"/>
                </a:cubicBezTo>
                <a:cubicBezTo>
                  <a:pt x="2" y="161"/>
                  <a:pt x="2" y="161"/>
                  <a:pt x="2" y="161"/>
                </a:cubicBezTo>
                <a:cubicBezTo>
                  <a:pt x="0" y="167"/>
                  <a:pt x="3" y="174"/>
                  <a:pt x="9" y="176"/>
                </a:cubicBezTo>
                <a:cubicBezTo>
                  <a:pt x="15" y="178"/>
                  <a:pt x="21" y="175"/>
                  <a:pt x="23" y="169"/>
                </a:cubicBezTo>
                <a:cubicBezTo>
                  <a:pt x="45" y="104"/>
                  <a:pt x="45" y="104"/>
                  <a:pt x="45" y="104"/>
                </a:cubicBezTo>
                <a:cubicBezTo>
                  <a:pt x="49" y="104"/>
                  <a:pt x="49" y="104"/>
                  <a:pt x="49" y="104"/>
                </a:cubicBezTo>
                <a:cubicBezTo>
                  <a:pt x="12" y="214"/>
                  <a:pt x="12" y="214"/>
                  <a:pt x="12" y="214"/>
                </a:cubicBezTo>
                <a:cubicBezTo>
                  <a:pt x="46" y="214"/>
                  <a:pt x="46" y="214"/>
                  <a:pt x="46" y="214"/>
                </a:cubicBezTo>
                <a:cubicBezTo>
                  <a:pt x="46" y="308"/>
                  <a:pt x="46" y="308"/>
                  <a:pt x="46" y="308"/>
                </a:cubicBezTo>
                <a:cubicBezTo>
                  <a:pt x="46" y="316"/>
                  <a:pt x="53" y="322"/>
                  <a:pt x="60" y="322"/>
                </a:cubicBezTo>
                <a:cubicBezTo>
                  <a:pt x="68" y="322"/>
                  <a:pt x="75" y="316"/>
                  <a:pt x="75" y="308"/>
                </a:cubicBezTo>
                <a:cubicBezTo>
                  <a:pt x="75" y="214"/>
                  <a:pt x="75" y="214"/>
                  <a:pt x="75" y="214"/>
                </a:cubicBezTo>
                <a:cubicBezTo>
                  <a:pt x="78" y="214"/>
                  <a:pt x="78" y="214"/>
                  <a:pt x="78" y="214"/>
                </a:cubicBezTo>
                <a:cubicBezTo>
                  <a:pt x="78" y="308"/>
                  <a:pt x="78" y="308"/>
                  <a:pt x="78" y="308"/>
                </a:cubicBezTo>
                <a:cubicBezTo>
                  <a:pt x="78" y="316"/>
                  <a:pt x="85" y="322"/>
                  <a:pt x="92" y="322"/>
                </a:cubicBezTo>
                <a:cubicBezTo>
                  <a:pt x="100" y="322"/>
                  <a:pt x="106" y="316"/>
                  <a:pt x="106" y="308"/>
                </a:cubicBezTo>
                <a:cubicBezTo>
                  <a:pt x="106" y="214"/>
                  <a:pt x="106" y="214"/>
                  <a:pt x="106" y="214"/>
                </a:cubicBezTo>
                <a:cubicBezTo>
                  <a:pt x="141" y="214"/>
                  <a:pt x="141" y="214"/>
                  <a:pt x="141" y="214"/>
                </a:cubicBezTo>
                <a:cubicBezTo>
                  <a:pt x="104" y="104"/>
                  <a:pt x="104" y="104"/>
                  <a:pt x="104" y="104"/>
                </a:cubicBezTo>
                <a:cubicBezTo>
                  <a:pt x="107" y="104"/>
                  <a:pt x="107" y="104"/>
                  <a:pt x="107" y="104"/>
                </a:cubicBezTo>
                <a:cubicBezTo>
                  <a:pt x="129" y="169"/>
                  <a:pt x="129" y="169"/>
                  <a:pt x="129" y="169"/>
                </a:cubicBezTo>
                <a:cubicBezTo>
                  <a:pt x="131" y="175"/>
                  <a:pt x="138" y="178"/>
                  <a:pt x="144" y="176"/>
                </a:cubicBezTo>
                <a:cubicBezTo>
                  <a:pt x="150" y="174"/>
                  <a:pt x="153" y="167"/>
                  <a:pt x="151" y="161"/>
                </a:cubicBezTo>
                <a:close/>
              </a:path>
            </a:pathLst>
          </a:custGeom>
          <a:gradFill>
            <a:gsLst>
              <a:gs pos="14000">
                <a:srgbClr val="00B0F0"/>
              </a:gs>
              <a:gs pos="64000">
                <a:srgbClr val="0BB0AD"/>
              </a:gs>
              <a:gs pos="42000">
                <a:srgbClr val="13FFEC"/>
              </a:gs>
            </a:gsLst>
            <a:lin ang="5400000" scaled="0"/>
          </a:gra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solidFill>
              <a:cs typeface="+mn-ea"/>
              <a:sym typeface="+mn-lt"/>
            </a:endParaRPr>
          </a:p>
        </p:txBody>
      </p:sp>
      <p:sp>
        <p:nvSpPr>
          <p:cNvPr id="71" name="Freeform 36"/>
          <p:cNvSpPr>
            <a:spLocks noEditPoints="1"/>
          </p:cNvSpPr>
          <p:nvPr/>
        </p:nvSpPr>
        <p:spPr bwMode="auto">
          <a:xfrm>
            <a:off x="7349956" y="5215100"/>
            <a:ext cx="321579" cy="812414"/>
          </a:xfrm>
          <a:custGeom>
            <a:avLst/>
            <a:gdLst>
              <a:gd name="T0" fmla="*/ 64 w 127"/>
              <a:gd name="T1" fmla="*/ 58 h 321"/>
              <a:gd name="T2" fmla="*/ 93 w 127"/>
              <a:gd name="T3" fmla="*/ 29 h 321"/>
              <a:gd name="T4" fmla="*/ 64 w 127"/>
              <a:gd name="T5" fmla="*/ 0 h 321"/>
              <a:gd name="T6" fmla="*/ 34 w 127"/>
              <a:gd name="T7" fmla="*/ 29 h 321"/>
              <a:gd name="T8" fmla="*/ 64 w 127"/>
              <a:gd name="T9" fmla="*/ 58 h 321"/>
              <a:gd name="T10" fmla="*/ 127 w 127"/>
              <a:gd name="T11" fmla="*/ 85 h 321"/>
              <a:gd name="T12" fmla="*/ 127 w 127"/>
              <a:gd name="T13" fmla="*/ 85 h 321"/>
              <a:gd name="T14" fmla="*/ 102 w 127"/>
              <a:gd name="T15" fmla="*/ 63 h 321"/>
              <a:gd name="T16" fmla="*/ 25 w 127"/>
              <a:gd name="T17" fmla="*/ 63 h 321"/>
              <a:gd name="T18" fmla="*/ 1 w 127"/>
              <a:gd name="T19" fmla="*/ 85 h 321"/>
              <a:gd name="T20" fmla="*/ 0 w 127"/>
              <a:gd name="T21" fmla="*/ 85 h 321"/>
              <a:gd name="T22" fmla="*/ 0 w 127"/>
              <a:gd name="T23" fmla="*/ 169 h 321"/>
              <a:gd name="T24" fmla="*/ 13 w 127"/>
              <a:gd name="T25" fmla="*/ 181 h 321"/>
              <a:gd name="T26" fmla="*/ 26 w 127"/>
              <a:gd name="T27" fmla="*/ 169 h 321"/>
              <a:gd name="T28" fmla="*/ 26 w 127"/>
              <a:gd name="T29" fmla="*/ 107 h 321"/>
              <a:gd name="T30" fmla="*/ 29 w 127"/>
              <a:gd name="T31" fmla="*/ 107 h 321"/>
              <a:gd name="T32" fmla="*/ 31 w 127"/>
              <a:gd name="T33" fmla="*/ 107 h 321"/>
              <a:gd name="T34" fmla="*/ 30 w 127"/>
              <a:gd name="T35" fmla="*/ 110 h 321"/>
              <a:gd name="T36" fmla="*/ 30 w 127"/>
              <a:gd name="T37" fmla="*/ 306 h 321"/>
              <a:gd name="T38" fmla="*/ 46 w 127"/>
              <a:gd name="T39" fmla="*/ 321 h 321"/>
              <a:gd name="T40" fmla="*/ 62 w 127"/>
              <a:gd name="T41" fmla="*/ 306 h 321"/>
              <a:gd name="T42" fmla="*/ 62 w 127"/>
              <a:gd name="T43" fmla="*/ 216 h 321"/>
              <a:gd name="T44" fmla="*/ 66 w 127"/>
              <a:gd name="T45" fmla="*/ 216 h 321"/>
              <a:gd name="T46" fmla="*/ 66 w 127"/>
              <a:gd name="T47" fmla="*/ 306 h 321"/>
              <a:gd name="T48" fmla="*/ 81 w 127"/>
              <a:gd name="T49" fmla="*/ 321 h 321"/>
              <a:gd name="T50" fmla="*/ 97 w 127"/>
              <a:gd name="T51" fmla="*/ 306 h 321"/>
              <a:gd name="T52" fmla="*/ 97 w 127"/>
              <a:gd name="T53" fmla="*/ 110 h 321"/>
              <a:gd name="T54" fmla="*/ 97 w 127"/>
              <a:gd name="T55" fmla="*/ 107 h 321"/>
              <a:gd name="T56" fmla="*/ 101 w 127"/>
              <a:gd name="T57" fmla="*/ 107 h 321"/>
              <a:gd name="T58" fmla="*/ 101 w 127"/>
              <a:gd name="T59" fmla="*/ 168 h 321"/>
              <a:gd name="T60" fmla="*/ 114 w 127"/>
              <a:gd name="T61" fmla="*/ 181 h 321"/>
              <a:gd name="T62" fmla="*/ 127 w 127"/>
              <a:gd name="T63" fmla="*/ 168 h 321"/>
              <a:gd name="T64" fmla="*/ 127 w 127"/>
              <a:gd name="T65" fmla="*/ 85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7" h="321">
                <a:moveTo>
                  <a:pt x="64" y="58"/>
                </a:moveTo>
                <a:cubicBezTo>
                  <a:pt x="80" y="58"/>
                  <a:pt x="93" y="45"/>
                  <a:pt x="93" y="29"/>
                </a:cubicBezTo>
                <a:cubicBezTo>
                  <a:pt x="93" y="13"/>
                  <a:pt x="80" y="0"/>
                  <a:pt x="64" y="0"/>
                </a:cubicBezTo>
                <a:cubicBezTo>
                  <a:pt x="47" y="0"/>
                  <a:pt x="34" y="13"/>
                  <a:pt x="34" y="29"/>
                </a:cubicBezTo>
                <a:cubicBezTo>
                  <a:pt x="34" y="45"/>
                  <a:pt x="47" y="58"/>
                  <a:pt x="64" y="58"/>
                </a:cubicBezTo>
                <a:close/>
                <a:moveTo>
                  <a:pt x="127" y="85"/>
                </a:moveTo>
                <a:cubicBezTo>
                  <a:pt x="127" y="85"/>
                  <a:pt x="127" y="85"/>
                  <a:pt x="127" y="85"/>
                </a:cubicBezTo>
                <a:cubicBezTo>
                  <a:pt x="126" y="73"/>
                  <a:pt x="115" y="63"/>
                  <a:pt x="102" y="63"/>
                </a:cubicBezTo>
                <a:cubicBezTo>
                  <a:pt x="25" y="63"/>
                  <a:pt x="25" y="63"/>
                  <a:pt x="25" y="63"/>
                </a:cubicBezTo>
                <a:cubicBezTo>
                  <a:pt x="12" y="63"/>
                  <a:pt x="2" y="73"/>
                  <a:pt x="1" y="85"/>
                </a:cubicBezTo>
                <a:cubicBezTo>
                  <a:pt x="0" y="85"/>
                  <a:pt x="0" y="85"/>
                  <a:pt x="0" y="85"/>
                </a:cubicBezTo>
                <a:cubicBezTo>
                  <a:pt x="0" y="169"/>
                  <a:pt x="0" y="169"/>
                  <a:pt x="0" y="169"/>
                </a:cubicBezTo>
                <a:cubicBezTo>
                  <a:pt x="0" y="176"/>
                  <a:pt x="6" y="181"/>
                  <a:pt x="13" y="181"/>
                </a:cubicBezTo>
                <a:cubicBezTo>
                  <a:pt x="20" y="181"/>
                  <a:pt x="26" y="176"/>
                  <a:pt x="26" y="169"/>
                </a:cubicBezTo>
                <a:cubicBezTo>
                  <a:pt x="26" y="107"/>
                  <a:pt x="26" y="107"/>
                  <a:pt x="26" y="107"/>
                </a:cubicBezTo>
                <a:cubicBezTo>
                  <a:pt x="27" y="107"/>
                  <a:pt x="28" y="107"/>
                  <a:pt x="29" y="107"/>
                </a:cubicBezTo>
                <a:cubicBezTo>
                  <a:pt x="31" y="107"/>
                  <a:pt x="31" y="107"/>
                  <a:pt x="31" y="107"/>
                </a:cubicBezTo>
                <a:cubicBezTo>
                  <a:pt x="30" y="108"/>
                  <a:pt x="30" y="109"/>
                  <a:pt x="30" y="110"/>
                </a:cubicBezTo>
                <a:cubicBezTo>
                  <a:pt x="30" y="306"/>
                  <a:pt x="30" y="306"/>
                  <a:pt x="30" y="306"/>
                </a:cubicBezTo>
                <a:cubicBezTo>
                  <a:pt x="30" y="314"/>
                  <a:pt x="37" y="321"/>
                  <a:pt x="46" y="321"/>
                </a:cubicBezTo>
                <a:cubicBezTo>
                  <a:pt x="55" y="321"/>
                  <a:pt x="62" y="314"/>
                  <a:pt x="62" y="306"/>
                </a:cubicBezTo>
                <a:cubicBezTo>
                  <a:pt x="62" y="216"/>
                  <a:pt x="62" y="216"/>
                  <a:pt x="62" y="216"/>
                </a:cubicBezTo>
                <a:cubicBezTo>
                  <a:pt x="66" y="216"/>
                  <a:pt x="66" y="216"/>
                  <a:pt x="66" y="216"/>
                </a:cubicBezTo>
                <a:cubicBezTo>
                  <a:pt x="66" y="306"/>
                  <a:pt x="66" y="306"/>
                  <a:pt x="66" y="306"/>
                </a:cubicBezTo>
                <a:cubicBezTo>
                  <a:pt x="66" y="314"/>
                  <a:pt x="73" y="321"/>
                  <a:pt x="81" y="321"/>
                </a:cubicBezTo>
                <a:cubicBezTo>
                  <a:pt x="90" y="321"/>
                  <a:pt x="97" y="314"/>
                  <a:pt x="97" y="306"/>
                </a:cubicBezTo>
                <a:cubicBezTo>
                  <a:pt x="97" y="110"/>
                  <a:pt x="97" y="110"/>
                  <a:pt x="97" y="110"/>
                </a:cubicBezTo>
                <a:cubicBezTo>
                  <a:pt x="97" y="109"/>
                  <a:pt x="97" y="108"/>
                  <a:pt x="97" y="107"/>
                </a:cubicBezTo>
                <a:cubicBezTo>
                  <a:pt x="101" y="107"/>
                  <a:pt x="101" y="107"/>
                  <a:pt x="101" y="107"/>
                </a:cubicBezTo>
                <a:cubicBezTo>
                  <a:pt x="101" y="168"/>
                  <a:pt x="101" y="168"/>
                  <a:pt x="101" y="168"/>
                </a:cubicBezTo>
                <a:cubicBezTo>
                  <a:pt x="101" y="175"/>
                  <a:pt x="107" y="181"/>
                  <a:pt x="114" y="181"/>
                </a:cubicBezTo>
                <a:cubicBezTo>
                  <a:pt x="121" y="181"/>
                  <a:pt x="127" y="175"/>
                  <a:pt x="127" y="168"/>
                </a:cubicBezTo>
                <a:cubicBezTo>
                  <a:pt x="127" y="85"/>
                  <a:pt x="127" y="85"/>
                  <a:pt x="127" y="85"/>
                </a:cubicBezTo>
                <a:close/>
              </a:path>
            </a:pathLst>
          </a:custGeom>
          <a:gradFill>
            <a:gsLst>
              <a:gs pos="14000">
                <a:srgbClr val="00B0F0"/>
              </a:gs>
              <a:gs pos="64000">
                <a:srgbClr val="0BB0AD"/>
              </a:gs>
              <a:gs pos="42000">
                <a:srgbClr val="13FFEC"/>
              </a:gs>
            </a:gsLst>
            <a:lin ang="5400000" scaled="0"/>
          </a:gradFill>
          <a:ln w="1016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solidFill>
              <a:cs typeface="+mn-ea"/>
              <a:sym typeface="+mn-lt"/>
            </a:endParaRPr>
          </a:p>
        </p:txBody>
      </p:sp>
      <p:sp>
        <p:nvSpPr>
          <p:cNvPr id="72" name="文本框 71"/>
          <p:cNvSpPr txBox="1"/>
          <p:nvPr/>
        </p:nvSpPr>
        <p:spPr>
          <a:xfrm>
            <a:off x="7775362" y="5422797"/>
            <a:ext cx="1119217" cy="769441"/>
          </a:xfrm>
          <a:prstGeom prst="rect">
            <a:avLst/>
          </a:prstGeom>
          <a:noFill/>
        </p:spPr>
        <p:txBody>
          <a:bodyPr wrap="none" rtlCol="0">
            <a:spAutoFit/>
          </a:bodyPr>
          <a:lstStyle/>
          <a:p>
            <a:pPr lvl="0"/>
            <a:r>
              <a:rPr lang="en-US" altLang="zh-CN" sz="4400" dirty="0">
                <a:solidFill>
                  <a:srgbClr val="84FFFF"/>
                </a:solidFill>
                <a:cs typeface="+mn-ea"/>
                <a:sym typeface="+mn-lt"/>
              </a:rPr>
              <a:t>68</a:t>
            </a:r>
            <a:r>
              <a:rPr lang="en-US" altLang="zh-CN" sz="2400" dirty="0">
                <a:solidFill>
                  <a:srgbClr val="84FFFF"/>
                </a:solidFill>
                <a:cs typeface="+mn-ea"/>
                <a:sym typeface="+mn-lt"/>
              </a:rPr>
              <a:t>%</a:t>
            </a:r>
            <a:endParaRPr lang="zh-CN" altLang="en-US" sz="2400" dirty="0">
              <a:solidFill>
                <a:srgbClr val="84FFFF"/>
              </a:solidFill>
              <a:cs typeface="+mn-ea"/>
              <a:sym typeface="+mn-lt"/>
            </a:endParaRPr>
          </a:p>
        </p:txBody>
      </p:sp>
      <p:sp>
        <p:nvSpPr>
          <p:cNvPr id="73" name="文本框 72"/>
          <p:cNvSpPr txBox="1"/>
          <p:nvPr/>
        </p:nvSpPr>
        <p:spPr>
          <a:xfrm>
            <a:off x="7781458" y="5269666"/>
            <a:ext cx="1620957" cy="307777"/>
          </a:xfrm>
          <a:prstGeom prst="rect">
            <a:avLst/>
          </a:prstGeom>
          <a:noFill/>
          <a:effectLst/>
        </p:spPr>
        <p:txBody>
          <a:bodyPr wrap="none" rtlCol="0" anchor="ctr">
            <a:spAutoFit/>
          </a:bodyPr>
          <a:lstStyle>
            <a:defPPr>
              <a:defRPr lang="zh-CN"/>
            </a:defPPr>
            <a:lvl1pPr algn="ctr">
              <a:defRPr sz="1600" b="1">
                <a:gradFill>
                  <a:gsLst>
                    <a:gs pos="0">
                      <a:srgbClr val="FFC9C3"/>
                    </a:gs>
                    <a:gs pos="100000">
                      <a:srgbClr val="FFF6F5"/>
                    </a:gs>
                  </a:gsLst>
                  <a:lin ang="16200000" scaled="0"/>
                </a:gradFill>
                <a:effectLst>
                  <a:outerShdw blurRad="101600" dist="63500" dir="5400000" algn="ctr" rotWithShape="0">
                    <a:srgbClr val="BE1414">
                      <a:alpha val="62000"/>
                    </a:srgbClr>
                  </a:outerShdw>
                </a:effectLst>
                <a:latin typeface="微软雅黑" panose="020B0503020204020204" pitchFamily="34" charset="-122"/>
                <a:ea typeface="微软雅黑" panose="020B0503020204020204" pitchFamily="34" charset="-122"/>
              </a:defRPr>
            </a:lvl1pPr>
          </a:lstStyle>
          <a:p>
            <a:pPr algn="l"/>
            <a:r>
              <a:rPr lang="zh-CN" altLang="en-US" sz="1400" b="0" dirty="0">
                <a:solidFill>
                  <a:schemeClr val="bg1"/>
                </a:solidFill>
                <a:effectLst/>
                <a:latin typeface="+mn-lt"/>
                <a:ea typeface="+mn-ea"/>
                <a:cs typeface="+mn-ea"/>
                <a:sym typeface="+mn-lt"/>
              </a:rPr>
              <a:t>填写段落文本描述</a:t>
            </a:r>
          </a:p>
        </p:txBody>
      </p:sp>
      <p:sp>
        <p:nvSpPr>
          <p:cNvPr id="74" name="文本框 73"/>
          <p:cNvSpPr txBox="1"/>
          <p:nvPr/>
        </p:nvSpPr>
        <p:spPr>
          <a:xfrm>
            <a:off x="8602196" y="5566018"/>
            <a:ext cx="800219" cy="276999"/>
          </a:xfrm>
          <a:prstGeom prst="rect">
            <a:avLst/>
          </a:prstGeom>
          <a:noFill/>
          <a:effectLst/>
        </p:spPr>
        <p:txBody>
          <a:bodyPr wrap="none" rtlCol="0" anchor="ctr">
            <a:spAutoFit/>
          </a:bodyPr>
          <a:lstStyle>
            <a:defPPr>
              <a:defRPr lang="zh-CN"/>
            </a:defPPr>
            <a:lvl1pPr algn="ctr">
              <a:defRPr sz="1600" b="1">
                <a:gradFill>
                  <a:gsLst>
                    <a:gs pos="0">
                      <a:srgbClr val="FFC9C3"/>
                    </a:gs>
                    <a:gs pos="100000">
                      <a:srgbClr val="FFF6F5"/>
                    </a:gs>
                  </a:gsLst>
                  <a:lin ang="16200000" scaled="0"/>
                </a:gradFill>
                <a:effectLst>
                  <a:outerShdw blurRad="101600" dist="63500" dir="5400000" algn="ctr" rotWithShape="0">
                    <a:srgbClr val="BE1414">
                      <a:alpha val="62000"/>
                    </a:srgbClr>
                  </a:outerShdw>
                </a:effectLst>
                <a:latin typeface="微软雅黑" panose="020B0503020204020204" pitchFamily="34" charset="-122"/>
                <a:ea typeface="微软雅黑" panose="020B0503020204020204" pitchFamily="34" charset="-122"/>
              </a:defRPr>
            </a:lvl1pPr>
          </a:lstStyle>
          <a:p>
            <a:pPr algn="l"/>
            <a:r>
              <a:rPr lang="zh-CN" altLang="en-US" sz="1200" b="0" dirty="0">
                <a:solidFill>
                  <a:schemeClr val="bg1"/>
                </a:solidFill>
                <a:effectLst/>
                <a:latin typeface="+mn-lt"/>
                <a:ea typeface="+mn-ea"/>
                <a:cs typeface="+mn-ea"/>
                <a:sym typeface="+mn-lt"/>
              </a:rPr>
              <a:t>销售总额</a:t>
            </a:r>
          </a:p>
        </p:txBody>
      </p:sp>
      <p:sp>
        <p:nvSpPr>
          <p:cNvPr id="75" name="文本框 74"/>
          <p:cNvSpPr txBox="1"/>
          <p:nvPr/>
        </p:nvSpPr>
        <p:spPr>
          <a:xfrm>
            <a:off x="10160608" y="5422797"/>
            <a:ext cx="1119217" cy="769441"/>
          </a:xfrm>
          <a:prstGeom prst="rect">
            <a:avLst/>
          </a:prstGeom>
          <a:noFill/>
        </p:spPr>
        <p:txBody>
          <a:bodyPr wrap="none" rtlCol="0">
            <a:spAutoFit/>
          </a:bodyPr>
          <a:lstStyle/>
          <a:p>
            <a:pPr lvl="0"/>
            <a:r>
              <a:rPr lang="en-US" altLang="zh-CN" sz="4400" dirty="0">
                <a:solidFill>
                  <a:srgbClr val="84FFFF"/>
                </a:solidFill>
                <a:cs typeface="+mn-ea"/>
                <a:sym typeface="+mn-lt"/>
              </a:rPr>
              <a:t>32</a:t>
            </a:r>
            <a:r>
              <a:rPr lang="en-US" altLang="zh-CN" sz="2400" dirty="0">
                <a:solidFill>
                  <a:srgbClr val="84FFFF"/>
                </a:solidFill>
                <a:cs typeface="+mn-ea"/>
                <a:sym typeface="+mn-lt"/>
              </a:rPr>
              <a:t>%</a:t>
            </a:r>
            <a:endParaRPr lang="zh-CN" altLang="en-US" sz="2400" dirty="0">
              <a:solidFill>
                <a:srgbClr val="84FFFF"/>
              </a:solidFill>
              <a:cs typeface="+mn-ea"/>
              <a:sym typeface="+mn-lt"/>
            </a:endParaRPr>
          </a:p>
        </p:txBody>
      </p:sp>
      <p:sp>
        <p:nvSpPr>
          <p:cNvPr id="76" name="文本框 75"/>
          <p:cNvSpPr txBox="1"/>
          <p:nvPr/>
        </p:nvSpPr>
        <p:spPr>
          <a:xfrm>
            <a:off x="10166704" y="5269666"/>
            <a:ext cx="1620957" cy="307777"/>
          </a:xfrm>
          <a:prstGeom prst="rect">
            <a:avLst/>
          </a:prstGeom>
          <a:noFill/>
          <a:effectLst/>
        </p:spPr>
        <p:txBody>
          <a:bodyPr wrap="none" rtlCol="0" anchor="ctr">
            <a:spAutoFit/>
          </a:bodyPr>
          <a:lstStyle>
            <a:defPPr>
              <a:defRPr lang="zh-CN"/>
            </a:defPPr>
            <a:lvl1pPr algn="ctr">
              <a:defRPr sz="1600" b="1">
                <a:gradFill>
                  <a:gsLst>
                    <a:gs pos="0">
                      <a:srgbClr val="FFC9C3"/>
                    </a:gs>
                    <a:gs pos="100000">
                      <a:srgbClr val="FFF6F5"/>
                    </a:gs>
                  </a:gsLst>
                  <a:lin ang="16200000" scaled="0"/>
                </a:gradFill>
                <a:effectLst>
                  <a:outerShdw blurRad="101600" dist="63500" dir="5400000" algn="ctr" rotWithShape="0">
                    <a:srgbClr val="BE1414">
                      <a:alpha val="62000"/>
                    </a:srgbClr>
                  </a:outerShdw>
                </a:effectLst>
                <a:latin typeface="微软雅黑" panose="020B0503020204020204" pitchFamily="34" charset="-122"/>
                <a:ea typeface="微软雅黑" panose="020B0503020204020204" pitchFamily="34" charset="-122"/>
              </a:defRPr>
            </a:lvl1pPr>
          </a:lstStyle>
          <a:p>
            <a:pPr algn="l"/>
            <a:r>
              <a:rPr lang="zh-CN" altLang="en-US" sz="1400" b="0" dirty="0">
                <a:solidFill>
                  <a:schemeClr val="bg1"/>
                </a:solidFill>
                <a:effectLst/>
                <a:latin typeface="+mn-lt"/>
                <a:ea typeface="+mn-ea"/>
                <a:cs typeface="+mn-ea"/>
                <a:sym typeface="+mn-lt"/>
              </a:rPr>
              <a:t>填写段落文本描述</a:t>
            </a:r>
          </a:p>
        </p:txBody>
      </p:sp>
      <p:sp>
        <p:nvSpPr>
          <p:cNvPr id="77" name="文本框 76"/>
          <p:cNvSpPr txBox="1"/>
          <p:nvPr/>
        </p:nvSpPr>
        <p:spPr>
          <a:xfrm>
            <a:off x="10987442" y="5566018"/>
            <a:ext cx="800219" cy="276999"/>
          </a:xfrm>
          <a:prstGeom prst="rect">
            <a:avLst/>
          </a:prstGeom>
          <a:noFill/>
          <a:effectLst/>
        </p:spPr>
        <p:txBody>
          <a:bodyPr wrap="none" rtlCol="0" anchor="ctr">
            <a:spAutoFit/>
          </a:bodyPr>
          <a:lstStyle>
            <a:defPPr>
              <a:defRPr lang="zh-CN"/>
            </a:defPPr>
            <a:lvl1pPr algn="ctr">
              <a:defRPr sz="1600" b="1">
                <a:gradFill>
                  <a:gsLst>
                    <a:gs pos="0">
                      <a:srgbClr val="FFC9C3"/>
                    </a:gs>
                    <a:gs pos="100000">
                      <a:srgbClr val="FFF6F5"/>
                    </a:gs>
                  </a:gsLst>
                  <a:lin ang="16200000" scaled="0"/>
                </a:gradFill>
                <a:effectLst>
                  <a:outerShdw blurRad="101600" dist="63500" dir="5400000" algn="ctr" rotWithShape="0">
                    <a:srgbClr val="BE1414">
                      <a:alpha val="62000"/>
                    </a:srgbClr>
                  </a:outerShdw>
                </a:effectLst>
                <a:latin typeface="微软雅黑" panose="020B0503020204020204" pitchFamily="34" charset="-122"/>
                <a:ea typeface="微软雅黑" panose="020B0503020204020204" pitchFamily="34" charset="-122"/>
              </a:defRPr>
            </a:lvl1pPr>
          </a:lstStyle>
          <a:p>
            <a:pPr algn="l"/>
            <a:r>
              <a:rPr lang="zh-CN" altLang="en-US" sz="1200" b="0" dirty="0">
                <a:solidFill>
                  <a:schemeClr val="bg1"/>
                </a:solidFill>
                <a:effectLst/>
                <a:latin typeface="+mn-lt"/>
                <a:ea typeface="+mn-ea"/>
                <a:cs typeface="+mn-ea"/>
                <a:sym typeface="+mn-lt"/>
              </a:rPr>
              <a:t>销售总额</a:t>
            </a:r>
          </a:p>
        </p:txBody>
      </p:sp>
      <p:pic>
        <p:nvPicPr>
          <p:cNvPr id="78" name="图片 77"/>
          <p:cNvPicPr>
            <a:picLocks noChangeAspect="1"/>
          </p:cNvPicPr>
          <p:nvPr/>
        </p:nvPicPr>
        <p:blipFill rotWithShape="1">
          <a:blip r:embed="rId3" cstate="screen"/>
          <a:srcRect/>
          <a:stretch>
            <a:fillRect/>
          </a:stretch>
        </p:blipFill>
        <p:spPr>
          <a:xfrm>
            <a:off x="383669" y="1481077"/>
            <a:ext cx="4694127" cy="4775666"/>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49" presetClass="entr" presetSubtype="0" decel="100000" fill="hold" nodeType="withEffect">
                                  <p:stCondLst>
                                    <p:cond delay="1000"/>
                                  </p:stCondLst>
                                  <p:childTnLst>
                                    <p:set>
                                      <p:cBhvr>
                                        <p:cTn id="17" dur="1" fill="hold">
                                          <p:stCondLst>
                                            <p:cond delay="0"/>
                                          </p:stCondLst>
                                        </p:cTn>
                                        <p:tgtEl>
                                          <p:spTgt spid="78"/>
                                        </p:tgtEl>
                                        <p:attrNameLst>
                                          <p:attrName>style.visibility</p:attrName>
                                        </p:attrNameLst>
                                      </p:cBhvr>
                                      <p:to>
                                        <p:strVal val="visible"/>
                                      </p:to>
                                    </p:set>
                                    <p:anim calcmode="lin" valueType="num">
                                      <p:cBhvr>
                                        <p:cTn id="18" dur="500" fill="hold"/>
                                        <p:tgtEl>
                                          <p:spTgt spid="78"/>
                                        </p:tgtEl>
                                        <p:attrNameLst>
                                          <p:attrName>ppt_w</p:attrName>
                                        </p:attrNameLst>
                                      </p:cBhvr>
                                      <p:tavLst>
                                        <p:tav tm="0">
                                          <p:val>
                                            <p:fltVal val="0"/>
                                          </p:val>
                                        </p:tav>
                                        <p:tav tm="100000">
                                          <p:val>
                                            <p:strVal val="#ppt_w"/>
                                          </p:val>
                                        </p:tav>
                                      </p:tavLst>
                                    </p:anim>
                                    <p:anim calcmode="lin" valueType="num">
                                      <p:cBhvr>
                                        <p:cTn id="19" dur="500" fill="hold"/>
                                        <p:tgtEl>
                                          <p:spTgt spid="78"/>
                                        </p:tgtEl>
                                        <p:attrNameLst>
                                          <p:attrName>ppt_h</p:attrName>
                                        </p:attrNameLst>
                                      </p:cBhvr>
                                      <p:tavLst>
                                        <p:tav tm="0">
                                          <p:val>
                                            <p:fltVal val="0"/>
                                          </p:val>
                                        </p:tav>
                                        <p:tav tm="100000">
                                          <p:val>
                                            <p:strVal val="#ppt_h"/>
                                          </p:val>
                                        </p:tav>
                                      </p:tavLst>
                                    </p:anim>
                                    <p:anim calcmode="lin" valueType="num">
                                      <p:cBhvr>
                                        <p:cTn id="20" dur="500" fill="hold"/>
                                        <p:tgtEl>
                                          <p:spTgt spid="78"/>
                                        </p:tgtEl>
                                        <p:attrNameLst>
                                          <p:attrName>style.rotation</p:attrName>
                                        </p:attrNameLst>
                                      </p:cBhvr>
                                      <p:tavLst>
                                        <p:tav tm="0">
                                          <p:val>
                                            <p:fltVal val="360"/>
                                          </p:val>
                                        </p:tav>
                                        <p:tav tm="100000">
                                          <p:val>
                                            <p:fltVal val="0"/>
                                          </p:val>
                                        </p:tav>
                                      </p:tavLst>
                                    </p:anim>
                                    <p:animEffect transition="in" filter="fade">
                                      <p:cBhvr>
                                        <p:cTn id="21" dur="500"/>
                                        <p:tgtEl>
                                          <p:spTgt spid="78"/>
                                        </p:tgtEl>
                                      </p:cBhvr>
                                    </p:animEffect>
                                  </p:childTnLst>
                                </p:cTn>
                              </p:par>
                            </p:childTnLst>
                          </p:cTn>
                        </p:par>
                        <p:par>
                          <p:cTn id="22" fill="hold">
                            <p:stCondLst>
                              <p:cond delay="0"/>
                            </p:stCondLst>
                            <p:childTnLst>
                              <p:par>
                                <p:cTn id="23" presetID="22" presetClass="entr" presetSubtype="8" fill="hold" grpId="0" nodeType="afterEffect">
                                  <p:stCondLst>
                                    <p:cond delay="0"/>
                                  </p:stCondLst>
                                  <p:childTnLst>
                                    <p:set>
                                      <p:cBhvr>
                                        <p:cTn id="24" dur="1" fill="hold">
                                          <p:stCondLst>
                                            <p:cond delay="0"/>
                                          </p:stCondLst>
                                        </p:cTn>
                                        <p:tgtEl>
                                          <p:spTgt spid="65"/>
                                        </p:tgtEl>
                                        <p:attrNameLst>
                                          <p:attrName>style.visibility</p:attrName>
                                        </p:attrNameLst>
                                      </p:cBhvr>
                                      <p:to>
                                        <p:strVal val="visible"/>
                                      </p:to>
                                    </p:set>
                                    <p:animEffect transition="in" filter="wipe(left)">
                                      <p:cBhvr>
                                        <p:cTn id="25" dur="1200"/>
                                        <p:tgtEl>
                                          <p:spTgt spid="65"/>
                                        </p:tgtEl>
                                      </p:cBhvr>
                                    </p:animEffect>
                                  </p:childTnLst>
                                </p:cTn>
                              </p:par>
                            </p:childTnLst>
                          </p:cTn>
                        </p:par>
                        <p:par>
                          <p:cTn id="26" fill="hold">
                            <p:stCondLst>
                              <p:cond delay="1500"/>
                            </p:stCondLst>
                            <p:childTnLst>
                              <p:par>
                                <p:cTn id="27" presetID="2" presetClass="entr" presetSubtype="4" decel="100000" fill="hold" nodeType="afterEffect">
                                  <p:stCondLst>
                                    <p:cond delay="0"/>
                                  </p:stCondLst>
                                  <p:childTnLst>
                                    <p:set>
                                      <p:cBhvr>
                                        <p:cTn id="28" dur="1" fill="hold">
                                          <p:stCondLst>
                                            <p:cond delay="0"/>
                                          </p:stCondLst>
                                        </p:cTn>
                                        <p:tgtEl>
                                          <p:spTgt spid="61"/>
                                        </p:tgtEl>
                                        <p:attrNameLst>
                                          <p:attrName>style.visibility</p:attrName>
                                        </p:attrNameLst>
                                      </p:cBhvr>
                                      <p:to>
                                        <p:strVal val="visible"/>
                                      </p:to>
                                    </p:set>
                                    <p:anim calcmode="lin" valueType="num">
                                      <p:cBhvr additive="base">
                                        <p:cTn id="29" dur="1000" fill="hold"/>
                                        <p:tgtEl>
                                          <p:spTgt spid="61"/>
                                        </p:tgtEl>
                                        <p:attrNameLst>
                                          <p:attrName>ppt_x</p:attrName>
                                        </p:attrNameLst>
                                      </p:cBhvr>
                                      <p:tavLst>
                                        <p:tav tm="0">
                                          <p:val>
                                            <p:strVal val="#ppt_x"/>
                                          </p:val>
                                        </p:tav>
                                        <p:tav tm="100000">
                                          <p:val>
                                            <p:strVal val="#ppt_x"/>
                                          </p:val>
                                        </p:tav>
                                      </p:tavLst>
                                    </p:anim>
                                    <p:anim calcmode="lin" valueType="num">
                                      <p:cBhvr additive="base">
                                        <p:cTn id="30" dur="1000" fill="hold"/>
                                        <p:tgtEl>
                                          <p:spTgt spid="61"/>
                                        </p:tgtEl>
                                        <p:attrNameLst>
                                          <p:attrName>ppt_y</p:attrName>
                                        </p:attrNameLst>
                                      </p:cBhvr>
                                      <p:tavLst>
                                        <p:tav tm="0">
                                          <p:val>
                                            <p:strVal val="1+#ppt_h/2"/>
                                          </p:val>
                                        </p:tav>
                                        <p:tav tm="100000">
                                          <p:val>
                                            <p:strVal val="#ppt_y"/>
                                          </p:val>
                                        </p:tav>
                                      </p:tavLst>
                                    </p:anim>
                                  </p:childTnLst>
                                </p:cTn>
                              </p:par>
                              <p:par>
                                <p:cTn id="31" presetID="31" presetClass="entr" presetSubtype="0" fill="hold" grpId="0" nodeType="withEffect">
                                  <p:stCondLst>
                                    <p:cond delay="0"/>
                                  </p:stCondLst>
                                  <p:iterate type="lt">
                                    <p:tmPct val="5000"/>
                                  </p:iterate>
                                  <p:childTnLst>
                                    <p:set>
                                      <p:cBhvr>
                                        <p:cTn id="32" dur="1" fill="hold">
                                          <p:stCondLst>
                                            <p:cond delay="0"/>
                                          </p:stCondLst>
                                        </p:cTn>
                                        <p:tgtEl>
                                          <p:spTgt spid="64"/>
                                        </p:tgtEl>
                                        <p:attrNameLst>
                                          <p:attrName>style.visibility</p:attrName>
                                        </p:attrNameLst>
                                      </p:cBhvr>
                                      <p:to>
                                        <p:strVal val="visible"/>
                                      </p:to>
                                    </p:set>
                                    <p:anim calcmode="lin" valueType="num">
                                      <p:cBhvr>
                                        <p:cTn id="33" dur="1000" fill="hold"/>
                                        <p:tgtEl>
                                          <p:spTgt spid="64"/>
                                        </p:tgtEl>
                                        <p:attrNameLst>
                                          <p:attrName>ppt_w</p:attrName>
                                        </p:attrNameLst>
                                      </p:cBhvr>
                                      <p:tavLst>
                                        <p:tav tm="0">
                                          <p:val>
                                            <p:fltVal val="0"/>
                                          </p:val>
                                        </p:tav>
                                        <p:tav tm="100000">
                                          <p:val>
                                            <p:strVal val="#ppt_w"/>
                                          </p:val>
                                        </p:tav>
                                      </p:tavLst>
                                    </p:anim>
                                    <p:anim calcmode="lin" valueType="num">
                                      <p:cBhvr>
                                        <p:cTn id="34" dur="1000" fill="hold"/>
                                        <p:tgtEl>
                                          <p:spTgt spid="64"/>
                                        </p:tgtEl>
                                        <p:attrNameLst>
                                          <p:attrName>ppt_h</p:attrName>
                                        </p:attrNameLst>
                                      </p:cBhvr>
                                      <p:tavLst>
                                        <p:tav tm="0">
                                          <p:val>
                                            <p:fltVal val="0"/>
                                          </p:val>
                                        </p:tav>
                                        <p:tav tm="100000">
                                          <p:val>
                                            <p:strVal val="#ppt_h"/>
                                          </p:val>
                                        </p:tav>
                                      </p:tavLst>
                                    </p:anim>
                                    <p:anim calcmode="lin" valueType="num">
                                      <p:cBhvr>
                                        <p:cTn id="35" dur="1000" fill="hold"/>
                                        <p:tgtEl>
                                          <p:spTgt spid="64"/>
                                        </p:tgtEl>
                                        <p:attrNameLst>
                                          <p:attrName>style.rotation</p:attrName>
                                        </p:attrNameLst>
                                      </p:cBhvr>
                                      <p:tavLst>
                                        <p:tav tm="0">
                                          <p:val>
                                            <p:fltVal val="90"/>
                                          </p:val>
                                        </p:tav>
                                        <p:tav tm="100000">
                                          <p:val>
                                            <p:fltVal val="0"/>
                                          </p:val>
                                        </p:tav>
                                      </p:tavLst>
                                    </p:anim>
                                    <p:animEffect transition="in" filter="fade">
                                      <p:cBhvr>
                                        <p:cTn id="36" dur="1000"/>
                                        <p:tgtEl>
                                          <p:spTgt spid="64"/>
                                        </p:tgtEl>
                                      </p:cBhvr>
                                    </p:animEffect>
                                  </p:childTnLst>
                                </p:cTn>
                              </p:par>
                              <p:par>
                                <p:cTn id="37" presetID="49" presetClass="entr" presetSubtype="0" decel="100000" fill="hold" grpId="0" nodeType="withEffect">
                                  <p:stCondLst>
                                    <p:cond delay="0"/>
                                  </p:stCondLst>
                                  <p:iterate type="lt">
                                    <p:tmPct val="2000"/>
                                  </p:iterate>
                                  <p:childTnLst>
                                    <p:set>
                                      <p:cBhvr>
                                        <p:cTn id="38" dur="1" fill="hold">
                                          <p:stCondLst>
                                            <p:cond delay="0"/>
                                          </p:stCondLst>
                                        </p:cTn>
                                        <p:tgtEl>
                                          <p:spTgt spid="69"/>
                                        </p:tgtEl>
                                        <p:attrNameLst>
                                          <p:attrName>style.visibility</p:attrName>
                                        </p:attrNameLst>
                                      </p:cBhvr>
                                      <p:to>
                                        <p:strVal val="visible"/>
                                      </p:to>
                                    </p:set>
                                    <p:anim calcmode="lin" valueType="num">
                                      <p:cBhvr>
                                        <p:cTn id="39" dur="750" fill="hold"/>
                                        <p:tgtEl>
                                          <p:spTgt spid="69"/>
                                        </p:tgtEl>
                                        <p:attrNameLst>
                                          <p:attrName>ppt_w</p:attrName>
                                        </p:attrNameLst>
                                      </p:cBhvr>
                                      <p:tavLst>
                                        <p:tav tm="0">
                                          <p:val>
                                            <p:fltVal val="0"/>
                                          </p:val>
                                        </p:tav>
                                        <p:tav tm="100000">
                                          <p:val>
                                            <p:strVal val="#ppt_w"/>
                                          </p:val>
                                        </p:tav>
                                      </p:tavLst>
                                    </p:anim>
                                    <p:anim calcmode="lin" valueType="num">
                                      <p:cBhvr>
                                        <p:cTn id="40" dur="750" fill="hold"/>
                                        <p:tgtEl>
                                          <p:spTgt spid="69"/>
                                        </p:tgtEl>
                                        <p:attrNameLst>
                                          <p:attrName>ppt_h</p:attrName>
                                        </p:attrNameLst>
                                      </p:cBhvr>
                                      <p:tavLst>
                                        <p:tav tm="0">
                                          <p:val>
                                            <p:fltVal val="0"/>
                                          </p:val>
                                        </p:tav>
                                        <p:tav tm="100000">
                                          <p:val>
                                            <p:strVal val="#ppt_h"/>
                                          </p:val>
                                        </p:tav>
                                      </p:tavLst>
                                    </p:anim>
                                    <p:anim calcmode="lin" valueType="num">
                                      <p:cBhvr>
                                        <p:cTn id="41" dur="750" fill="hold"/>
                                        <p:tgtEl>
                                          <p:spTgt spid="69"/>
                                        </p:tgtEl>
                                        <p:attrNameLst>
                                          <p:attrName>style.rotation</p:attrName>
                                        </p:attrNameLst>
                                      </p:cBhvr>
                                      <p:tavLst>
                                        <p:tav tm="0">
                                          <p:val>
                                            <p:fltVal val="360"/>
                                          </p:val>
                                        </p:tav>
                                        <p:tav tm="100000">
                                          <p:val>
                                            <p:fltVal val="0"/>
                                          </p:val>
                                        </p:tav>
                                      </p:tavLst>
                                    </p:anim>
                                    <p:animEffect transition="in" filter="fade">
                                      <p:cBhvr>
                                        <p:cTn id="42" dur="750"/>
                                        <p:tgtEl>
                                          <p:spTgt spid="69"/>
                                        </p:tgtEl>
                                      </p:cBhvr>
                                    </p:animEffect>
                                  </p:childTnLst>
                                </p:cTn>
                              </p:par>
                            </p:childTnLst>
                          </p:cTn>
                        </p:par>
                        <p:par>
                          <p:cTn id="43" fill="hold">
                            <p:stCondLst>
                              <p:cond delay="2369"/>
                            </p:stCondLst>
                            <p:childTnLst>
                              <p:par>
                                <p:cTn id="44" presetID="2" presetClass="entr" presetSubtype="4" decel="100000" fill="hold" nodeType="afterEffect">
                                  <p:stCondLst>
                                    <p:cond delay="0"/>
                                  </p:stCondLst>
                                  <p:childTnLst>
                                    <p:set>
                                      <p:cBhvr>
                                        <p:cTn id="45" dur="1" fill="hold">
                                          <p:stCondLst>
                                            <p:cond delay="0"/>
                                          </p:stCondLst>
                                        </p:cTn>
                                        <p:tgtEl>
                                          <p:spTgt spid="52"/>
                                        </p:tgtEl>
                                        <p:attrNameLst>
                                          <p:attrName>style.visibility</p:attrName>
                                        </p:attrNameLst>
                                      </p:cBhvr>
                                      <p:to>
                                        <p:strVal val="visible"/>
                                      </p:to>
                                    </p:set>
                                    <p:anim calcmode="lin" valueType="num">
                                      <p:cBhvr additive="base">
                                        <p:cTn id="46" dur="1000" fill="hold"/>
                                        <p:tgtEl>
                                          <p:spTgt spid="52"/>
                                        </p:tgtEl>
                                        <p:attrNameLst>
                                          <p:attrName>ppt_x</p:attrName>
                                        </p:attrNameLst>
                                      </p:cBhvr>
                                      <p:tavLst>
                                        <p:tav tm="0">
                                          <p:val>
                                            <p:strVal val="#ppt_x"/>
                                          </p:val>
                                        </p:tav>
                                        <p:tav tm="100000">
                                          <p:val>
                                            <p:strVal val="#ppt_x"/>
                                          </p:val>
                                        </p:tav>
                                      </p:tavLst>
                                    </p:anim>
                                    <p:anim calcmode="lin" valueType="num">
                                      <p:cBhvr additive="base">
                                        <p:cTn id="47" dur="1000" fill="hold"/>
                                        <p:tgtEl>
                                          <p:spTgt spid="52"/>
                                        </p:tgtEl>
                                        <p:attrNameLst>
                                          <p:attrName>ppt_y</p:attrName>
                                        </p:attrNameLst>
                                      </p:cBhvr>
                                      <p:tavLst>
                                        <p:tav tm="0">
                                          <p:val>
                                            <p:strVal val="1+#ppt_h/2"/>
                                          </p:val>
                                        </p:tav>
                                        <p:tav tm="100000">
                                          <p:val>
                                            <p:strVal val="#ppt_y"/>
                                          </p:val>
                                        </p:tav>
                                      </p:tavLst>
                                    </p:anim>
                                  </p:childTnLst>
                                </p:cTn>
                              </p:par>
                              <p:par>
                                <p:cTn id="48" presetID="31" presetClass="entr" presetSubtype="0" fill="hold" grpId="0" nodeType="withEffect">
                                  <p:stCondLst>
                                    <p:cond delay="0"/>
                                  </p:stCondLst>
                                  <p:iterate type="lt">
                                    <p:tmPct val="5000"/>
                                  </p:iterate>
                                  <p:childTnLst>
                                    <p:set>
                                      <p:cBhvr>
                                        <p:cTn id="49" dur="1" fill="hold">
                                          <p:stCondLst>
                                            <p:cond delay="0"/>
                                          </p:stCondLst>
                                        </p:cTn>
                                        <p:tgtEl>
                                          <p:spTgt spid="58"/>
                                        </p:tgtEl>
                                        <p:attrNameLst>
                                          <p:attrName>style.visibility</p:attrName>
                                        </p:attrNameLst>
                                      </p:cBhvr>
                                      <p:to>
                                        <p:strVal val="visible"/>
                                      </p:to>
                                    </p:set>
                                    <p:anim calcmode="lin" valueType="num">
                                      <p:cBhvr>
                                        <p:cTn id="50" dur="1000" fill="hold"/>
                                        <p:tgtEl>
                                          <p:spTgt spid="58"/>
                                        </p:tgtEl>
                                        <p:attrNameLst>
                                          <p:attrName>ppt_w</p:attrName>
                                        </p:attrNameLst>
                                      </p:cBhvr>
                                      <p:tavLst>
                                        <p:tav tm="0">
                                          <p:val>
                                            <p:fltVal val="0"/>
                                          </p:val>
                                        </p:tav>
                                        <p:tav tm="100000">
                                          <p:val>
                                            <p:strVal val="#ppt_w"/>
                                          </p:val>
                                        </p:tav>
                                      </p:tavLst>
                                    </p:anim>
                                    <p:anim calcmode="lin" valueType="num">
                                      <p:cBhvr>
                                        <p:cTn id="51" dur="1000" fill="hold"/>
                                        <p:tgtEl>
                                          <p:spTgt spid="58"/>
                                        </p:tgtEl>
                                        <p:attrNameLst>
                                          <p:attrName>ppt_h</p:attrName>
                                        </p:attrNameLst>
                                      </p:cBhvr>
                                      <p:tavLst>
                                        <p:tav tm="0">
                                          <p:val>
                                            <p:fltVal val="0"/>
                                          </p:val>
                                        </p:tav>
                                        <p:tav tm="100000">
                                          <p:val>
                                            <p:strVal val="#ppt_h"/>
                                          </p:val>
                                        </p:tav>
                                      </p:tavLst>
                                    </p:anim>
                                    <p:anim calcmode="lin" valueType="num">
                                      <p:cBhvr>
                                        <p:cTn id="52" dur="1000" fill="hold"/>
                                        <p:tgtEl>
                                          <p:spTgt spid="58"/>
                                        </p:tgtEl>
                                        <p:attrNameLst>
                                          <p:attrName>style.rotation</p:attrName>
                                        </p:attrNameLst>
                                      </p:cBhvr>
                                      <p:tavLst>
                                        <p:tav tm="0">
                                          <p:val>
                                            <p:fltVal val="90"/>
                                          </p:val>
                                        </p:tav>
                                        <p:tav tm="100000">
                                          <p:val>
                                            <p:fltVal val="0"/>
                                          </p:val>
                                        </p:tav>
                                      </p:tavLst>
                                    </p:anim>
                                    <p:animEffect transition="in" filter="fade">
                                      <p:cBhvr>
                                        <p:cTn id="53" dur="1000"/>
                                        <p:tgtEl>
                                          <p:spTgt spid="58"/>
                                        </p:tgtEl>
                                      </p:cBhvr>
                                    </p:animEffect>
                                  </p:childTnLst>
                                </p:cTn>
                              </p:par>
                              <p:par>
                                <p:cTn id="54" presetID="49" presetClass="entr" presetSubtype="0" decel="100000" fill="hold" grpId="0" nodeType="withEffect">
                                  <p:stCondLst>
                                    <p:cond delay="0"/>
                                  </p:stCondLst>
                                  <p:iterate type="lt">
                                    <p:tmPct val="2000"/>
                                  </p:iterate>
                                  <p:childTnLst>
                                    <p:set>
                                      <p:cBhvr>
                                        <p:cTn id="55" dur="1" fill="hold">
                                          <p:stCondLst>
                                            <p:cond delay="0"/>
                                          </p:stCondLst>
                                        </p:cTn>
                                        <p:tgtEl>
                                          <p:spTgt spid="66"/>
                                        </p:tgtEl>
                                        <p:attrNameLst>
                                          <p:attrName>style.visibility</p:attrName>
                                        </p:attrNameLst>
                                      </p:cBhvr>
                                      <p:to>
                                        <p:strVal val="visible"/>
                                      </p:to>
                                    </p:set>
                                    <p:anim calcmode="lin" valueType="num">
                                      <p:cBhvr>
                                        <p:cTn id="56" dur="750" fill="hold"/>
                                        <p:tgtEl>
                                          <p:spTgt spid="66"/>
                                        </p:tgtEl>
                                        <p:attrNameLst>
                                          <p:attrName>ppt_w</p:attrName>
                                        </p:attrNameLst>
                                      </p:cBhvr>
                                      <p:tavLst>
                                        <p:tav tm="0">
                                          <p:val>
                                            <p:fltVal val="0"/>
                                          </p:val>
                                        </p:tav>
                                        <p:tav tm="100000">
                                          <p:val>
                                            <p:strVal val="#ppt_w"/>
                                          </p:val>
                                        </p:tav>
                                      </p:tavLst>
                                    </p:anim>
                                    <p:anim calcmode="lin" valueType="num">
                                      <p:cBhvr>
                                        <p:cTn id="57" dur="750" fill="hold"/>
                                        <p:tgtEl>
                                          <p:spTgt spid="66"/>
                                        </p:tgtEl>
                                        <p:attrNameLst>
                                          <p:attrName>ppt_h</p:attrName>
                                        </p:attrNameLst>
                                      </p:cBhvr>
                                      <p:tavLst>
                                        <p:tav tm="0">
                                          <p:val>
                                            <p:fltVal val="0"/>
                                          </p:val>
                                        </p:tav>
                                        <p:tav tm="100000">
                                          <p:val>
                                            <p:strVal val="#ppt_h"/>
                                          </p:val>
                                        </p:tav>
                                      </p:tavLst>
                                    </p:anim>
                                    <p:anim calcmode="lin" valueType="num">
                                      <p:cBhvr>
                                        <p:cTn id="58" dur="750" fill="hold"/>
                                        <p:tgtEl>
                                          <p:spTgt spid="66"/>
                                        </p:tgtEl>
                                        <p:attrNameLst>
                                          <p:attrName>style.rotation</p:attrName>
                                        </p:attrNameLst>
                                      </p:cBhvr>
                                      <p:tavLst>
                                        <p:tav tm="0">
                                          <p:val>
                                            <p:fltVal val="360"/>
                                          </p:val>
                                        </p:tav>
                                        <p:tav tm="100000">
                                          <p:val>
                                            <p:fltVal val="0"/>
                                          </p:val>
                                        </p:tav>
                                      </p:tavLst>
                                    </p:anim>
                                    <p:animEffect transition="in" filter="fade">
                                      <p:cBhvr>
                                        <p:cTn id="59" dur="750"/>
                                        <p:tgtEl>
                                          <p:spTgt spid="66"/>
                                        </p:tgtEl>
                                      </p:cBhvr>
                                    </p:animEffect>
                                  </p:childTnLst>
                                </p:cTn>
                              </p:par>
                            </p:childTnLst>
                          </p:cTn>
                        </p:par>
                        <p:par>
                          <p:cTn id="60" fill="hold">
                            <p:stCondLst>
                              <p:cond delay="3620"/>
                            </p:stCondLst>
                            <p:childTnLst>
                              <p:par>
                                <p:cTn id="61" presetID="2" presetClass="entr" presetSubtype="4" decel="100000" fill="hold" nodeType="afterEffect">
                                  <p:stCondLst>
                                    <p:cond delay="0"/>
                                  </p:stCondLst>
                                  <p:childTnLst>
                                    <p:set>
                                      <p:cBhvr>
                                        <p:cTn id="62" dur="1" fill="hold">
                                          <p:stCondLst>
                                            <p:cond delay="0"/>
                                          </p:stCondLst>
                                        </p:cTn>
                                        <p:tgtEl>
                                          <p:spTgt spid="55"/>
                                        </p:tgtEl>
                                        <p:attrNameLst>
                                          <p:attrName>style.visibility</p:attrName>
                                        </p:attrNameLst>
                                      </p:cBhvr>
                                      <p:to>
                                        <p:strVal val="visible"/>
                                      </p:to>
                                    </p:set>
                                    <p:anim calcmode="lin" valueType="num">
                                      <p:cBhvr additive="base">
                                        <p:cTn id="63" dur="1000" fill="hold"/>
                                        <p:tgtEl>
                                          <p:spTgt spid="55"/>
                                        </p:tgtEl>
                                        <p:attrNameLst>
                                          <p:attrName>ppt_x</p:attrName>
                                        </p:attrNameLst>
                                      </p:cBhvr>
                                      <p:tavLst>
                                        <p:tav tm="0">
                                          <p:val>
                                            <p:strVal val="#ppt_x"/>
                                          </p:val>
                                        </p:tav>
                                        <p:tav tm="100000">
                                          <p:val>
                                            <p:strVal val="#ppt_x"/>
                                          </p:val>
                                        </p:tav>
                                      </p:tavLst>
                                    </p:anim>
                                    <p:anim calcmode="lin" valueType="num">
                                      <p:cBhvr additive="base">
                                        <p:cTn id="64" dur="1000" fill="hold"/>
                                        <p:tgtEl>
                                          <p:spTgt spid="55"/>
                                        </p:tgtEl>
                                        <p:attrNameLst>
                                          <p:attrName>ppt_y</p:attrName>
                                        </p:attrNameLst>
                                      </p:cBhvr>
                                      <p:tavLst>
                                        <p:tav tm="0">
                                          <p:val>
                                            <p:strVal val="1+#ppt_h/2"/>
                                          </p:val>
                                        </p:tav>
                                        <p:tav tm="100000">
                                          <p:val>
                                            <p:strVal val="#ppt_y"/>
                                          </p:val>
                                        </p:tav>
                                      </p:tavLst>
                                    </p:anim>
                                  </p:childTnLst>
                                </p:cTn>
                              </p:par>
                              <p:par>
                                <p:cTn id="65" presetID="31" presetClass="entr" presetSubtype="0" fill="hold" grpId="0" nodeType="withEffect">
                                  <p:stCondLst>
                                    <p:cond delay="0"/>
                                  </p:stCondLst>
                                  <p:iterate type="lt">
                                    <p:tmPct val="5000"/>
                                  </p:iterate>
                                  <p:childTnLst>
                                    <p:set>
                                      <p:cBhvr>
                                        <p:cTn id="66" dur="1" fill="hold">
                                          <p:stCondLst>
                                            <p:cond delay="0"/>
                                          </p:stCondLst>
                                        </p:cTn>
                                        <p:tgtEl>
                                          <p:spTgt spid="59"/>
                                        </p:tgtEl>
                                        <p:attrNameLst>
                                          <p:attrName>style.visibility</p:attrName>
                                        </p:attrNameLst>
                                      </p:cBhvr>
                                      <p:to>
                                        <p:strVal val="visible"/>
                                      </p:to>
                                    </p:set>
                                    <p:anim calcmode="lin" valueType="num">
                                      <p:cBhvr>
                                        <p:cTn id="67" dur="1000" fill="hold"/>
                                        <p:tgtEl>
                                          <p:spTgt spid="59"/>
                                        </p:tgtEl>
                                        <p:attrNameLst>
                                          <p:attrName>ppt_w</p:attrName>
                                        </p:attrNameLst>
                                      </p:cBhvr>
                                      <p:tavLst>
                                        <p:tav tm="0">
                                          <p:val>
                                            <p:fltVal val="0"/>
                                          </p:val>
                                        </p:tav>
                                        <p:tav tm="100000">
                                          <p:val>
                                            <p:strVal val="#ppt_w"/>
                                          </p:val>
                                        </p:tav>
                                      </p:tavLst>
                                    </p:anim>
                                    <p:anim calcmode="lin" valueType="num">
                                      <p:cBhvr>
                                        <p:cTn id="68" dur="1000" fill="hold"/>
                                        <p:tgtEl>
                                          <p:spTgt spid="59"/>
                                        </p:tgtEl>
                                        <p:attrNameLst>
                                          <p:attrName>ppt_h</p:attrName>
                                        </p:attrNameLst>
                                      </p:cBhvr>
                                      <p:tavLst>
                                        <p:tav tm="0">
                                          <p:val>
                                            <p:fltVal val="0"/>
                                          </p:val>
                                        </p:tav>
                                        <p:tav tm="100000">
                                          <p:val>
                                            <p:strVal val="#ppt_h"/>
                                          </p:val>
                                        </p:tav>
                                      </p:tavLst>
                                    </p:anim>
                                    <p:anim calcmode="lin" valueType="num">
                                      <p:cBhvr>
                                        <p:cTn id="69" dur="1000" fill="hold"/>
                                        <p:tgtEl>
                                          <p:spTgt spid="59"/>
                                        </p:tgtEl>
                                        <p:attrNameLst>
                                          <p:attrName>style.rotation</p:attrName>
                                        </p:attrNameLst>
                                      </p:cBhvr>
                                      <p:tavLst>
                                        <p:tav tm="0">
                                          <p:val>
                                            <p:fltVal val="90"/>
                                          </p:val>
                                        </p:tav>
                                        <p:tav tm="100000">
                                          <p:val>
                                            <p:fltVal val="0"/>
                                          </p:val>
                                        </p:tav>
                                      </p:tavLst>
                                    </p:anim>
                                    <p:animEffect transition="in" filter="fade">
                                      <p:cBhvr>
                                        <p:cTn id="70" dur="1000"/>
                                        <p:tgtEl>
                                          <p:spTgt spid="59"/>
                                        </p:tgtEl>
                                      </p:cBhvr>
                                    </p:animEffect>
                                  </p:childTnLst>
                                </p:cTn>
                              </p:par>
                              <p:par>
                                <p:cTn id="71" presetID="49" presetClass="entr" presetSubtype="0" decel="100000" fill="hold" grpId="0" nodeType="withEffect">
                                  <p:stCondLst>
                                    <p:cond delay="0"/>
                                  </p:stCondLst>
                                  <p:iterate type="lt">
                                    <p:tmPct val="2000"/>
                                  </p:iterate>
                                  <p:childTnLst>
                                    <p:set>
                                      <p:cBhvr>
                                        <p:cTn id="72" dur="1" fill="hold">
                                          <p:stCondLst>
                                            <p:cond delay="0"/>
                                          </p:stCondLst>
                                        </p:cTn>
                                        <p:tgtEl>
                                          <p:spTgt spid="67"/>
                                        </p:tgtEl>
                                        <p:attrNameLst>
                                          <p:attrName>style.visibility</p:attrName>
                                        </p:attrNameLst>
                                      </p:cBhvr>
                                      <p:to>
                                        <p:strVal val="visible"/>
                                      </p:to>
                                    </p:set>
                                    <p:anim calcmode="lin" valueType="num">
                                      <p:cBhvr>
                                        <p:cTn id="73" dur="750" fill="hold"/>
                                        <p:tgtEl>
                                          <p:spTgt spid="67"/>
                                        </p:tgtEl>
                                        <p:attrNameLst>
                                          <p:attrName>ppt_w</p:attrName>
                                        </p:attrNameLst>
                                      </p:cBhvr>
                                      <p:tavLst>
                                        <p:tav tm="0">
                                          <p:val>
                                            <p:fltVal val="0"/>
                                          </p:val>
                                        </p:tav>
                                        <p:tav tm="100000">
                                          <p:val>
                                            <p:strVal val="#ppt_w"/>
                                          </p:val>
                                        </p:tav>
                                      </p:tavLst>
                                    </p:anim>
                                    <p:anim calcmode="lin" valueType="num">
                                      <p:cBhvr>
                                        <p:cTn id="74" dur="750" fill="hold"/>
                                        <p:tgtEl>
                                          <p:spTgt spid="67"/>
                                        </p:tgtEl>
                                        <p:attrNameLst>
                                          <p:attrName>ppt_h</p:attrName>
                                        </p:attrNameLst>
                                      </p:cBhvr>
                                      <p:tavLst>
                                        <p:tav tm="0">
                                          <p:val>
                                            <p:fltVal val="0"/>
                                          </p:val>
                                        </p:tav>
                                        <p:tav tm="100000">
                                          <p:val>
                                            <p:strVal val="#ppt_h"/>
                                          </p:val>
                                        </p:tav>
                                      </p:tavLst>
                                    </p:anim>
                                    <p:anim calcmode="lin" valueType="num">
                                      <p:cBhvr>
                                        <p:cTn id="75" dur="750" fill="hold"/>
                                        <p:tgtEl>
                                          <p:spTgt spid="67"/>
                                        </p:tgtEl>
                                        <p:attrNameLst>
                                          <p:attrName>style.rotation</p:attrName>
                                        </p:attrNameLst>
                                      </p:cBhvr>
                                      <p:tavLst>
                                        <p:tav tm="0">
                                          <p:val>
                                            <p:fltVal val="360"/>
                                          </p:val>
                                        </p:tav>
                                        <p:tav tm="100000">
                                          <p:val>
                                            <p:fltVal val="0"/>
                                          </p:val>
                                        </p:tav>
                                      </p:tavLst>
                                    </p:anim>
                                    <p:animEffect transition="in" filter="fade">
                                      <p:cBhvr>
                                        <p:cTn id="76" dur="750"/>
                                        <p:tgtEl>
                                          <p:spTgt spid="67"/>
                                        </p:tgtEl>
                                      </p:cBhvr>
                                    </p:animEffect>
                                  </p:childTnLst>
                                </p:cTn>
                              </p:par>
                            </p:childTnLst>
                          </p:cTn>
                        </p:par>
                        <p:par>
                          <p:cTn id="77" fill="hold">
                            <p:stCondLst>
                              <p:cond delay="4789"/>
                            </p:stCondLst>
                            <p:childTnLst>
                              <p:par>
                                <p:cTn id="78" presetID="2" presetClass="entr" presetSubtype="4" decel="100000" fill="hold" nodeType="afterEffect">
                                  <p:stCondLst>
                                    <p:cond delay="0"/>
                                  </p:stCondLst>
                                  <p:childTnLst>
                                    <p:set>
                                      <p:cBhvr>
                                        <p:cTn id="79" dur="1" fill="hold">
                                          <p:stCondLst>
                                            <p:cond delay="0"/>
                                          </p:stCondLst>
                                        </p:cTn>
                                        <p:tgtEl>
                                          <p:spTgt spid="49"/>
                                        </p:tgtEl>
                                        <p:attrNameLst>
                                          <p:attrName>style.visibility</p:attrName>
                                        </p:attrNameLst>
                                      </p:cBhvr>
                                      <p:to>
                                        <p:strVal val="visible"/>
                                      </p:to>
                                    </p:set>
                                    <p:anim calcmode="lin" valueType="num">
                                      <p:cBhvr additive="base">
                                        <p:cTn id="80" dur="1000" fill="hold"/>
                                        <p:tgtEl>
                                          <p:spTgt spid="49"/>
                                        </p:tgtEl>
                                        <p:attrNameLst>
                                          <p:attrName>ppt_x</p:attrName>
                                        </p:attrNameLst>
                                      </p:cBhvr>
                                      <p:tavLst>
                                        <p:tav tm="0">
                                          <p:val>
                                            <p:strVal val="#ppt_x"/>
                                          </p:val>
                                        </p:tav>
                                        <p:tav tm="100000">
                                          <p:val>
                                            <p:strVal val="#ppt_x"/>
                                          </p:val>
                                        </p:tav>
                                      </p:tavLst>
                                    </p:anim>
                                    <p:anim calcmode="lin" valueType="num">
                                      <p:cBhvr additive="base">
                                        <p:cTn id="81" dur="1000" fill="hold"/>
                                        <p:tgtEl>
                                          <p:spTgt spid="49"/>
                                        </p:tgtEl>
                                        <p:attrNameLst>
                                          <p:attrName>ppt_y</p:attrName>
                                        </p:attrNameLst>
                                      </p:cBhvr>
                                      <p:tavLst>
                                        <p:tav tm="0">
                                          <p:val>
                                            <p:strVal val="1+#ppt_h/2"/>
                                          </p:val>
                                        </p:tav>
                                        <p:tav tm="100000">
                                          <p:val>
                                            <p:strVal val="#ppt_y"/>
                                          </p:val>
                                        </p:tav>
                                      </p:tavLst>
                                    </p:anim>
                                  </p:childTnLst>
                                </p:cTn>
                              </p:par>
                              <p:par>
                                <p:cTn id="82" presetID="31" presetClass="entr" presetSubtype="0" fill="hold" grpId="0" nodeType="withEffect">
                                  <p:stCondLst>
                                    <p:cond delay="0"/>
                                  </p:stCondLst>
                                  <p:iterate type="lt">
                                    <p:tmPct val="5000"/>
                                  </p:iterate>
                                  <p:childTnLst>
                                    <p:set>
                                      <p:cBhvr>
                                        <p:cTn id="83" dur="1" fill="hold">
                                          <p:stCondLst>
                                            <p:cond delay="0"/>
                                          </p:stCondLst>
                                        </p:cTn>
                                        <p:tgtEl>
                                          <p:spTgt spid="60"/>
                                        </p:tgtEl>
                                        <p:attrNameLst>
                                          <p:attrName>style.visibility</p:attrName>
                                        </p:attrNameLst>
                                      </p:cBhvr>
                                      <p:to>
                                        <p:strVal val="visible"/>
                                      </p:to>
                                    </p:set>
                                    <p:anim calcmode="lin" valueType="num">
                                      <p:cBhvr>
                                        <p:cTn id="84" dur="1000" fill="hold"/>
                                        <p:tgtEl>
                                          <p:spTgt spid="60"/>
                                        </p:tgtEl>
                                        <p:attrNameLst>
                                          <p:attrName>ppt_w</p:attrName>
                                        </p:attrNameLst>
                                      </p:cBhvr>
                                      <p:tavLst>
                                        <p:tav tm="0">
                                          <p:val>
                                            <p:fltVal val="0"/>
                                          </p:val>
                                        </p:tav>
                                        <p:tav tm="100000">
                                          <p:val>
                                            <p:strVal val="#ppt_w"/>
                                          </p:val>
                                        </p:tav>
                                      </p:tavLst>
                                    </p:anim>
                                    <p:anim calcmode="lin" valueType="num">
                                      <p:cBhvr>
                                        <p:cTn id="85" dur="1000" fill="hold"/>
                                        <p:tgtEl>
                                          <p:spTgt spid="60"/>
                                        </p:tgtEl>
                                        <p:attrNameLst>
                                          <p:attrName>ppt_h</p:attrName>
                                        </p:attrNameLst>
                                      </p:cBhvr>
                                      <p:tavLst>
                                        <p:tav tm="0">
                                          <p:val>
                                            <p:fltVal val="0"/>
                                          </p:val>
                                        </p:tav>
                                        <p:tav tm="100000">
                                          <p:val>
                                            <p:strVal val="#ppt_h"/>
                                          </p:val>
                                        </p:tav>
                                      </p:tavLst>
                                    </p:anim>
                                    <p:anim calcmode="lin" valueType="num">
                                      <p:cBhvr>
                                        <p:cTn id="86" dur="1000" fill="hold"/>
                                        <p:tgtEl>
                                          <p:spTgt spid="60"/>
                                        </p:tgtEl>
                                        <p:attrNameLst>
                                          <p:attrName>style.rotation</p:attrName>
                                        </p:attrNameLst>
                                      </p:cBhvr>
                                      <p:tavLst>
                                        <p:tav tm="0">
                                          <p:val>
                                            <p:fltVal val="90"/>
                                          </p:val>
                                        </p:tav>
                                        <p:tav tm="100000">
                                          <p:val>
                                            <p:fltVal val="0"/>
                                          </p:val>
                                        </p:tav>
                                      </p:tavLst>
                                    </p:anim>
                                    <p:animEffect transition="in" filter="fade">
                                      <p:cBhvr>
                                        <p:cTn id="87" dur="1000"/>
                                        <p:tgtEl>
                                          <p:spTgt spid="60"/>
                                        </p:tgtEl>
                                      </p:cBhvr>
                                    </p:animEffect>
                                  </p:childTnLst>
                                </p:cTn>
                              </p:par>
                              <p:par>
                                <p:cTn id="88" presetID="49" presetClass="entr" presetSubtype="0" decel="100000" fill="hold" grpId="0" nodeType="withEffect">
                                  <p:stCondLst>
                                    <p:cond delay="0"/>
                                  </p:stCondLst>
                                  <p:iterate type="lt">
                                    <p:tmPct val="2000"/>
                                  </p:iterate>
                                  <p:childTnLst>
                                    <p:set>
                                      <p:cBhvr>
                                        <p:cTn id="89" dur="1" fill="hold">
                                          <p:stCondLst>
                                            <p:cond delay="0"/>
                                          </p:stCondLst>
                                        </p:cTn>
                                        <p:tgtEl>
                                          <p:spTgt spid="68"/>
                                        </p:tgtEl>
                                        <p:attrNameLst>
                                          <p:attrName>style.visibility</p:attrName>
                                        </p:attrNameLst>
                                      </p:cBhvr>
                                      <p:to>
                                        <p:strVal val="visible"/>
                                      </p:to>
                                    </p:set>
                                    <p:anim calcmode="lin" valueType="num">
                                      <p:cBhvr>
                                        <p:cTn id="90" dur="750" fill="hold"/>
                                        <p:tgtEl>
                                          <p:spTgt spid="68"/>
                                        </p:tgtEl>
                                        <p:attrNameLst>
                                          <p:attrName>ppt_w</p:attrName>
                                        </p:attrNameLst>
                                      </p:cBhvr>
                                      <p:tavLst>
                                        <p:tav tm="0">
                                          <p:val>
                                            <p:fltVal val="0"/>
                                          </p:val>
                                        </p:tav>
                                        <p:tav tm="100000">
                                          <p:val>
                                            <p:strVal val="#ppt_w"/>
                                          </p:val>
                                        </p:tav>
                                      </p:tavLst>
                                    </p:anim>
                                    <p:anim calcmode="lin" valueType="num">
                                      <p:cBhvr>
                                        <p:cTn id="91" dur="750" fill="hold"/>
                                        <p:tgtEl>
                                          <p:spTgt spid="68"/>
                                        </p:tgtEl>
                                        <p:attrNameLst>
                                          <p:attrName>ppt_h</p:attrName>
                                        </p:attrNameLst>
                                      </p:cBhvr>
                                      <p:tavLst>
                                        <p:tav tm="0">
                                          <p:val>
                                            <p:fltVal val="0"/>
                                          </p:val>
                                        </p:tav>
                                        <p:tav tm="100000">
                                          <p:val>
                                            <p:strVal val="#ppt_h"/>
                                          </p:val>
                                        </p:tav>
                                      </p:tavLst>
                                    </p:anim>
                                    <p:anim calcmode="lin" valueType="num">
                                      <p:cBhvr>
                                        <p:cTn id="92" dur="750" fill="hold"/>
                                        <p:tgtEl>
                                          <p:spTgt spid="68"/>
                                        </p:tgtEl>
                                        <p:attrNameLst>
                                          <p:attrName>style.rotation</p:attrName>
                                        </p:attrNameLst>
                                      </p:cBhvr>
                                      <p:tavLst>
                                        <p:tav tm="0">
                                          <p:val>
                                            <p:fltVal val="360"/>
                                          </p:val>
                                        </p:tav>
                                        <p:tav tm="100000">
                                          <p:val>
                                            <p:fltVal val="0"/>
                                          </p:val>
                                        </p:tav>
                                      </p:tavLst>
                                    </p:anim>
                                    <p:animEffect transition="in" filter="fade">
                                      <p:cBhvr>
                                        <p:cTn id="93" dur="750"/>
                                        <p:tgtEl>
                                          <p:spTgt spid="68"/>
                                        </p:tgtEl>
                                      </p:cBhvr>
                                    </p:animEffect>
                                  </p:childTnLst>
                                </p:cTn>
                              </p:par>
                            </p:childTnLst>
                          </p:cTn>
                        </p:par>
                        <p:par>
                          <p:cTn id="94" fill="hold">
                            <p:stCondLst>
                              <p:cond delay="5960"/>
                            </p:stCondLst>
                            <p:childTnLst>
                              <p:par>
                                <p:cTn id="95" presetID="53" presetClass="entr" presetSubtype="16" fill="hold" grpId="0" nodeType="afterEffect">
                                  <p:stCondLst>
                                    <p:cond delay="0"/>
                                  </p:stCondLst>
                                  <p:childTnLst>
                                    <p:set>
                                      <p:cBhvr>
                                        <p:cTn id="96" dur="1" fill="hold">
                                          <p:stCondLst>
                                            <p:cond delay="0"/>
                                          </p:stCondLst>
                                        </p:cTn>
                                        <p:tgtEl>
                                          <p:spTgt spid="71"/>
                                        </p:tgtEl>
                                        <p:attrNameLst>
                                          <p:attrName>style.visibility</p:attrName>
                                        </p:attrNameLst>
                                      </p:cBhvr>
                                      <p:to>
                                        <p:strVal val="visible"/>
                                      </p:to>
                                    </p:set>
                                    <p:anim calcmode="lin" valueType="num">
                                      <p:cBhvr>
                                        <p:cTn id="97" dur="500" fill="hold"/>
                                        <p:tgtEl>
                                          <p:spTgt spid="71"/>
                                        </p:tgtEl>
                                        <p:attrNameLst>
                                          <p:attrName>ppt_w</p:attrName>
                                        </p:attrNameLst>
                                      </p:cBhvr>
                                      <p:tavLst>
                                        <p:tav tm="0">
                                          <p:val>
                                            <p:fltVal val="0"/>
                                          </p:val>
                                        </p:tav>
                                        <p:tav tm="100000">
                                          <p:val>
                                            <p:strVal val="#ppt_w"/>
                                          </p:val>
                                        </p:tav>
                                      </p:tavLst>
                                    </p:anim>
                                    <p:anim calcmode="lin" valueType="num">
                                      <p:cBhvr>
                                        <p:cTn id="98" dur="500" fill="hold"/>
                                        <p:tgtEl>
                                          <p:spTgt spid="71"/>
                                        </p:tgtEl>
                                        <p:attrNameLst>
                                          <p:attrName>ppt_h</p:attrName>
                                        </p:attrNameLst>
                                      </p:cBhvr>
                                      <p:tavLst>
                                        <p:tav tm="0">
                                          <p:val>
                                            <p:fltVal val="0"/>
                                          </p:val>
                                        </p:tav>
                                        <p:tav tm="100000">
                                          <p:val>
                                            <p:strVal val="#ppt_h"/>
                                          </p:val>
                                        </p:tav>
                                      </p:tavLst>
                                    </p:anim>
                                    <p:animEffect transition="in" filter="fade">
                                      <p:cBhvr>
                                        <p:cTn id="99" dur="500"/>
                                        <p:tgtEl>
                                          <p:spTgt spid="71"/>
                                        </p:tgtEl>
                                      </p:cBhvr>
                                    </p:animEffect>
                                  </p:childTnLst>
                                </p:cTn>
                              </p:par>
                              <p:par>
                                <p:cTn id="100" presetID="53" presetClass="entr" presetSubtype="16" fill="hold" grpId="0" nodeType="withEffect">
                                  <p:stCondLst>
                                    <p:cond delay="0"/>
                                  </p:stCondLst>
                                  <p:childTnLst>
                                    <p:set>
                                      <p:cBhvr>
                                        <p:cTn id="101" dur="1" fill="hold">
                                          <p:stCondLst>
                                            <p:cond delay="0"/>
                                          </p:stCondLst>
                                        </p:cTn>
                                        <p:tgtEl>
                                          <p:spTgt spid="70"/>
                                        </p:tgtEl>
                                        <p:attrNameLst>
                                          <p:attrName>style.visibility</p:attrName>
                                        </p:attrNameLst>
                                      </p:cBhvr>
                                      <p:to>
                                        <p:strVal val="visible"/>
                                      </p:to>
                                    </p:set>
                                    <p:anim calcmode="lin" valueType="num">
                                      <p:cBhvr>
                                        <p:cTn id="102" dur="500" fill="hold"/>
                                        <p:tgtEl>
                                          <p:spTgt spid="70"/>
                                        </p:tgtEl>
                                        <p:attrNameLst>
                                          <p:attrName>ppt_w</p:attrName>
                                        </p:attrNameLst>
                                      </p:cBhvr>
                                      <p:tavLst>
                                        <p:tav tm="0">
                                          <p:val>
                                            <p:fltVal val="0"/>
                                          </p:val>
                                        </p:tav>
                                        <p:tav tm="100000">
                                          <p:val>
                                            <p:strVal val="#ppt_w"/>
                                          </p:val>
                                        </p:tav>
                                      </p:tavLst>
                                    </p:anim>
                                    <p:anim calcmode="lin" valueType="num">
                                      <p:cBhvr>
                                        <p:cTn id="103" dur="500" fill="hold"/>
                                        <p:tgtEl>
                                          <p:spTgt spid="70"/>
                                        </p:tgtEl>
                                        <p:attrNameLst>
                                          <p:attrName>ppt_h</p:attrName>
                                        </p:attrNameLst>
                                      </p:cBhvr>
                                      <p:tavLst>
                                        <p:tav tm="0">
                                          <p:val>
                                            <p:fltVal val="0"/>
                                          </p:val>
                                        </p:tav>
                                        <p:tav tm="100000">
                                          <p:val>
                                            <p:strVal val="#ppt_h"/>
                                          </p:val>
                                        </p:tav>
                                      </p:tavLst>
                                    </p:anim>
                                    <p:animEffect transition="in" filter="fade">
                                      <p:cBhvr>
                                        <p:cTn id="104" dur="500"/>
                                        <p:tgtEl>
                                          <p:spTgt spid="70"/>
                                        </p:tgtEl>
                                      </p:cBhvr>
                                    </p:animEffect>
                                  </p:childTnLst>
                                </p:cTn>
                              </p:par>
                            </p:childTnLst>
                          </p:cTn>
                        </p:par>
                        <p:par>
                          <p:cTn id="105" fill="hold">
                            <p:stCondLst>
                              <p:cond delay="6460"/>
                            </p:stCondLst>
                            <p:childTnLst>
                              <p:par>
                                <p:cTn id="106" presetID="45" presetClass="entr" presetSubtype="0" fill="hold" grpId="0" nodeType="afterEffect">
                                  <p:stCondLst>
                                    <p:cond delay="0"/>
                                  </p:stCondLst>
                                  <p:childTnLst>
                                    <p:set>
                                      <p:cBhvr>
                                        <p:cTn id="107" dur="1" fill="hold">
                                          <p:stCondLst>
                                            <p:cond delay="0"/>
                                          </p:stCondLst>
                                        </p:cTn>
                                        <p:tgtEl>
                                          <p:spTgt spid="72"/>
                                        </p:tgtEl>
                                        <p:attrNameLst>
                                          <p:attrName>style.visibility</p:attrName>
                                        </p:attrNameLst>
                                      </p:cBhvr>
                                      <p:to>
                                        <p:strVal val="visible"/>
                                      </p:to>
                                    </p:set>
                                    <p:animEffect transition="in" filter="fade">
                                      <p:cBhvr>
                                        <p:cTn id="108" dur="500"/>
                                        <p:tgtEl>
                                          <p:spTgt spid="72"/>
                                        </p:tgtEl>
                                      </p:cBhvr>
                                    </p:animEffect>
                                    <p:anim calcmode="lin" valueType="num">
                                      <p:cBhvr>
                                        <p:cTn id="109" dur="500" fill="hold"/>
                                        <p:tgtEl>
                                          <p:spTgt spid="72"/>
                                        </p:tgtEl>
                                        <p:attrNameLst>
                                          <p:attrName>ppt_w</p:attrName>
                                        </p:attrNameLst>
                                      </p:cBhvr>
                                      <p:tavLst>
                                        <p:tav tm="0" fmla="#ppt_w*sin(2.5*pi*$)">
                                          <p:val>
                                            <p:fltVal val="0"/>
                                          </p:val>
                                        </p:tav>
                                        <p:tav tm="100000">
                                          <p:val>
                                            <p:fltVal val="1"/>
                                          </p:val>
                                        </p:tav>
                                      </p:tavLst>
                                    </p:anim>
                                    <p:anim calcmode="lin" valueType="num">
                                      <p:cBhvr>
                                        <p:cTn id="110" dur="500" fill="hold"/>
                                        <p:tgtEl>
                                          <p:spTgt spid="72"/>
                                        </p:tgtEl>
                                        <p:attrNameLst>
                                          <p:attrName>ppt_h</p:attrName>
                                        </p:attrNameLst>
                                      </p:cBhvr>
                                      <p:tavLst>
                                        <p:tav tm="0">
                                          <p:val>
                                            <p:strVal val="#ppt_h"/>
                                          </p:val>
                                        </p:tav>
                                        <p:tav tm="100000">
                                          <p:val>
                                            <p:strVal val="#ppt_h"/>
                                          </p:val>
                                        </p:tav>
                                      </p:tavLst>
                                    </p:anim>
                                  </p:childTnLst>
                                </p:cTn>
                              </p:par>
                              <p:par>
                                <p:cTn id="111" presetID="45" presetClass="entr" presetSubtype="0" fill="hold" grpId="0" nodeType="withEffect">
                                  <p:stCondLst>
                                    <p:cond delay="0"/>
                                  </p:stCondLst>
                                  <p:childTnLst>
                                    <p:set>
                                      <p:cBhvr>
                                        <p:cTn id="112" dur="1" fill="hold">
                                          <p:stCondLst>
                                            <p:cond delay="0"/>
                                          </p:stCondLst>
                                        </p:cTn>
                                        <p:tgtEl>
                                          <p:spTgt spid="75"/>
                                        </p:tgtEl>
                                        <p:attrNameLst>
                                          <p:attrName>style.visibility</p:attrName>
                                        </p:attrNameLst>
                                      </p:cBhvr>
                                      <p:to>
                                        <p:strVal val="visible"/>
                                      </p:to>
                                    </p:set>
                                    <p:animEffect transition="in" filter="fade">
                                      <p:cBhvr>
                                        <p:cTn id="113" dur="500"/>
                                        <p:tgtEl>
                                          <p:spTgt spid="75"/>
                                        </p:tgtEl>
                                      </p:cBhvr>
                                    </p:animEffect>
                                    <p:anim calcmode="lin" valueType="num">
                                      <p:cBhvr>
                                        <p:cTn id="114" dur="500" fill="hold"/>
                                        <p:tgtEl>
                                          <p:spTgt spid="75"/>
                                        </p:tgtEl>
                                        <p:attrNameLst>
                                          <p:attrName>ppt_w</p:attrName>
                                        </p:attrNameLst>
                                      </p:cBhvr>
                                      <p:tavLst>
                                        <p:tav tm="0" fmla="#ppt_w*sin(2.5*pi*$)">
                                          <p:val>
                                            <p:fltVal val="0"/>
                                          </p:val>
                                        </p:tav>
                                        <p:tav tm="100000">
                                          <p:val>
                                            <p:fltVal val="1"/>
                                          </p:val>
                                        </p:tav>
                                      </p:tavLst>
                                    </p:anim>
                                    <p:anim calcmode="lin" valueType="num">
                                      <p:cBhvr>
                                        <p:cTn id="115" dur="500" fill="hold"/>
                                        <p:tgtEl>
                                          <p:spTgt spid="75"/>
                                        </p:tgtEl>
                                        <p:attrNameLst>
                                          <p:attrName>ppt_h</p:attrName>
                                        </p:attrNameLst>
                                      </p:cBhvr>
                                      <p:tavLst>
                                        <p:tav tm="0">
                                          <p:val>
                                            <p:strVal val="#ppt_h"/>
                                          </p:val>
                                        </p:tav>
                                        <p:tav tm="100000">
                                          <p:val>
                                            <p:strVal val="#ppt_h"/>
                                          </p:val>
                                        </p:tav>
                                      </p:tavLst>
                                    </p:anim>
                                  </p:childTnLst>
                                </p:cTn>
                              </p:par>
                              <p:par>
                                <p:cTn id="116" presetID="10" presetClass="entr" presetSubtype="0" fill="hold" grpId="0" nodeType="withEffect">
                                  <p:stCondLst>
                                    <p:cond delay="0"/>
                                  </p:stCondLst>
                                  <p:childTnLst>
                                    <p:set>
                                      <p:cBhvr>
                                        <p:cTn id="117" dur="1" fill="hold">
                                          <p:stCondLst>
                                            <p:cond delay="0"/>
                                          </p:stCondLst>
                                        </p:cTn>
                                        <p:tgtEl>
                                          <p:spTgt spid="74"/>
                                        </p:tgtEl>
                                        <p:attrNameLst>
                                          <p:attrName>style.visibility</p:attrName>
                                        </p:attrNameLst>
                                      </p:cBhvr>
                                      <p:to>
                                        <p:strVal val="visible"/>
                                      </p:to>
                                    </p:set>
                                    <p:animEffect transition="in" filter="fade">
                                      <p:cBhvr>
                                        <p:cTn id="118" dur="500"/>
                                        <p:tgtEl>
                                          <p:spTgt spid="74"/>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77"/>
                                        </p:tgtEl>
                                        <p:attrNameLst>
                                          <p:attrName>style.visibility</p:attrName>
                                        </p:attrNameLst>
                                      </p:cBhvr>
                                      <p:to>
                                        <p:strVal val="visible"/>
                                      </p:to>
                                    </p:set>
                                    <p:animEffect transition="in" filter="fade">
                                      <p:cBhvr>
                                        <p:cTn id="121" dur="500"/>
                                        <p:tgtEl>
                                          <p:spTgt spid="77"/>
                                        </p:tgtEl>
                                      </p:cBhvr>
                                    </p:animEffect>
                                  </p:childTnLst>
                                </p:cTn>
                              </p:par>
                            </p:childTnLst>
                          </p:cTn>
                        </p:par>
                        <p:par>
                          <p:cTn id="122" fill="hold">
                            <p:stCondLst>
                              <p:cond delay="6960"/>
                            </p:stCondLst>
                            <p:childTnLst>
                              <p:par>
                                <p:cTn id="123" presetID="53" presetClass="entr" presetSubtype="16" fill="hold" grpId="0" nodeType="afterEffect">
                                  <p:stCondLst>
                                    <p:cond delay="0"/>
                                  </p:stCondLst>
                                  <p:childTnLst>
                                    <p:set>
                                      <p:cBhvr>
                                        <p:cTn id="124" dur="1" fill="hold">
                                          <p:stCondLst>
                                            <p:cond delay="0"/>
                                          </p:stCondLst>
                                        </p:cTn>
                                        <p:tgtEl>
                                          <p:spTgt spid="73"/>
                                        </p:tgtEl>
                                        <p:attrNameLst>
                                          <p:attrName>style.visibility</p:attrName>
                                        </p:attrNameLst>
                                      </p:cBhvr>
                                      <p:to>
                                        <p:strVal val="visible"/>
                                      </p:to>
                                    </p:set>
                                    <p:anim calcmode="lin" valueType="num">
                                      <p:cBhvr>
                                        <p:cTn id="125" dur="500" fill="hold"/>
                                        <p:tgtEl>
                                          <p:spTgt spid="73"/>
                                        </p:tgtEl>
                                        <p:attrNameLst>
                                          <p:attrName>ppt_w</p:attrName>
                                        </p:attrNameLst>
                                      </p:cBhvr>
                                      <p:tavLst>
                                        <p:tav tm="0">
                                          <p:val>
                                            <p:fltVal val="0"/>
                                          </p:val>
                                        </p:tav>
                                        <p:tav tm="100000">
                                          <p:val>
                                            <p:strVal val="#ppt_w"/>
                                          </p:val>
                                        </p:tav>
                                      </p:tavLst>
                                    </p:anim>
                                    <p:anim calcmode="lin" valueType="num">
                                      <p:cBhvr>
                                        <p:cTn id="126" dur="500" fill="hold"/>
                                        <p:tgtEl>
                                          <p:spTgt spid="73"/>
                                        </p:tgtEl>
                                        <p:attrNameLst>
                                          <p:attrName>ppt_h</p:attrName>
                                        </p:attrNameLst>
                                      </p:cBhvr>
                                      <p:tavLst>
                                        <p:tav tm="0">
                                          <p:val>
                                            <p:fltVal val="0"/>
                                          </p:val>
                                        </p:tav>
                                        <p:tav tm="100000">
                                          <p:val>
                                            <p:strVal val="#ppt_h"/>
                                          </p:val>
                                        </p:tav>
                                      </p:tavLst>
                                    </p:anim>
                                    <p:animEffect transition="in" filter="fade">
                                      <p:cBhvr>
                                        <p:cTn id="127" dur="500"/>
                                        <p:tgtEl>
                                          <p:spTgt spid="73"/>
                                        </p:tgtEl>
                                      </p:cBhvr>
                                    </p:animEffect>
                                  </p:childTnLst>
                                </p:cTn>
                              </p:par>
                              <p:par>
                                <p:cTn id="128" presetID="53" presetClass="entr" presetSubtype="16" fill="hold" grpId="0" nodeType="withEffect">
                                  <p:stCondLst>
                                    <p:cond delay="0"/>
                                  </p:stCondLst>
                                  <p:childTnLst>
                                    <p:set>
                                      <p:cBhvr>
                                        <p:cTn id="129" dur="1" fill="hold">
                                          <p:stCondLst>
                                            <p:cond delay="0"/>
                                          </p:stCondLst>
                                        </p:cTn>
                                        <p:tgtEl>
                                          <p:spTgt spid="76"/>
                                        </p:tgtEl>
                                        <p:attrNameLst>
                                          <p:attrName>style.visibility</p:attrName>
                                        </p:attrNameLst>
                                      </p:cBhvr>
                                      <p:to>
                                        <p:strVal val="visible"/>
                                      </p:to>
                                    </p:set>
                                    <p:anim calcmode="lin" valueType="num">
                                      <p:cBhvr>
                                        <p:cTn id="130" dur="500" fill="hold"/>
                                        <p:tgtEl>
                                          <p:spTgt spid="76"/>
                                        </p:tgtEl>
                                        <p:attrNameLst>
                                          <p:attrName>ppt_w</p:attrName>
                                        </p:attrNameLst>
                                      </p:cBhvr>
                                      <p:tavLst>
                                        <p:tav tm="0">
                                          <p:val>
                                            <p:fltVal val="0"/>
                                          </p:val>
                                        </p:tav>
                                        <p:tav tm="100000">
                                          <p:val>
                                            <p:strVal val="#ppt_w"/>
                                          </p:val>
                                        </p:tav>
                                      </p:tavLst>
                                    </p:anim>
                                    <p:anim calcmode="lin" valueType="num">
                                      <p:cBhvr>
                                        <p:cTn id="131" dur="500" fill="hold"/>
                                        <p:tgtEl>
                                          <p:spTgt spid="76"/>
                                        </p:tgtEl>
                                        <p:attrNameLst>
                                          <p:attrName>ppt_h</p:attrName>
                                        </p:attrNameLst>
                                      </p:cBhvr>
                                      <p:tavLst>
                                        <p:tav tm="0">
                                          <p:val>
                                            <p:fltVal val="0"/>
                                          </p:val>
                                        </p:tav>
                                        <p:tav tm="100000">
                                          <p:val>
                                            <p:strVal val="#ppt_h"/>
                                          </p:val>
                                        </p:tav>
                                      </p:tavLst>
                                    </p:anim>
                                    <p:animEffect transition="in" filter="fade">
                                      <p:cBhvr>
                                        <p:cTn id="132"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58" grpId="0"/>
      <p:bldP spid="59" grpId="0"/>
      <p:bldP spid="60" grpId="0"/>
      <p:bldP spid="64" grpId="0"/>
      <p:bldP spid="65" grpId="0" animBg="1"/>
      <p:bldP spid="66" grpId="0"/>
      <p:bldP spid="67" grpId="0"/>
      <p:bldP spid="68" grpId="0"/>
      <p:bldP spid="69" grpId="0"/>
      <p:bldP spid="70" grpId="0" animBg="1"/>
      <p:bldP spid="71" grpId="0" animBg="1"/>
      <p:bldP spid="72" grpId="0"/>
      <p:bldP spid="73" grpId="0"/>
      <p:bldP spid="74" grpId="0"/>
      <p:bldP spid="75" grpId="0"/>
      <p:bldP spid="76" grpId="0"/>
      <p:bldP spid="7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未来发展</a:t>
            </a:r>
          </a:p>
        </p:txBody>
      </p:sp>
      <p:pic>
        <p:nvPicPr>
          <p:cNvPr id="5" name="4"/>
          <p:cNvPicPr>
            <a:picLocks noChangeAspect="1"/>
          </p:cNvPicPr>
          <p:nvPr/>
        </p:nvPicPr>
        <p:blipFill rotWithShape="1">
          <a:blip r:embed="rId2" cstate="screen"/>
          <a:srcRect/>
          <a:stretch>
            <a:fillRect/>
          </a:stretch>
        </p:blipFill>
        <p:spPr>
          <a:xfrm>
            <a:off x="110632" y="95800"/>
            <a:ext cx="1108567" cy="1488355"/>
          </a:xfrm>
          <a:prstGeom prst="rect">
            <a:avLst/>
          </a:prstGeom>
        </p:spPr>
      </p:pic>
      <p:grpSp>
        <p:nvGrpSpPr>
          <p:cNvPr id="4" name="组合 3"/>
          <p:cNvGrpSpPr/>
          <p:nvPr/>
        </p:nvGrpSpPr>
        <p:grpSpPr>
          <a:xfrm>
            <a:off x="7478128" y="1736865"/>
            <a:ext cx="3488200" cy="854912"/>
            <a:chOff x="7479031" y="1828839"/>
            <a:chExt cx="3488200" cy="854912"/>
          </a:xfrm>
        </p:grpSpPr>
        <p:sp>
          <p:nvSpPr>
            <p:cNvPr id="6" name="矩形 5"/>
            <p:cNvSpPr/>
            <p:nvPr/>
          </p:nvSpPr>
          <p:spPr>
            <a:xfrm>
              <a:off x="8313960" y="1828839"/>
              <a:ext cx="1467068" cy="400110"/>
            </a:xfrm>
            <a:prstGeom prst="rect">
              <a:avLst/>
            </a:prstGeom>
            <a:noFill/>
          </p:spPr>
          <p:txBody>
            <a:bodyPr wrap="none" rtlCol="0">
              <a:spAutoFit/>
              <a:scene3d>
                <a:camera prst="orthographicFront"/>
                <a:lightRig rig="threePt" dir="t"/>
              </a:scene3d>
            </a:bodyPr>
            <a:lstStyle/>
            <a:p>
              <a:pPr lvl="0" defTabSz="910590">
                <a:defRPr/>
              </a:pPr>
              <a:r>
                <a:rPr lang="zh-CN" altLang="en-US" sz="2000" b="1" dirty="0">
                  <a:solidFill>
                    <a:srgbClr val="84FFFF"/>
                  </a:solidFill>
                  <a:effectLst/>
                  <a:cs typeface="+mn-ea"/>
                  <a:sym typeface="+mn-lt"/>
                </a:rPr>
                <a:t>大数据分析</a:t>
              </a:r>
            </a:p>
          </p:txBody>
        </p:sp>
        <p:sp>
          <p:nvSpPr>
            <p:cNvPr id="7" name="矩形 6"/>
            <p:cNvSpPr/>
            <p:nvPr/>
          </p:nvSpPr>
          <p:spPr>
            <a:xfrm>
              <a:off x="8324016" y="2222086"/>
              <a:ext cx="264321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chemeClr val="bg1">
                      <a:lumMod val="75000"/>
                    </a:schemeClr>
                  </a:solidFill>
                  <a:effectLst/>
                  <a:uLnTx/>
                  <a:uFillTx/>
                  <a:cs typeface="+mn-ea"/>
                  <a:sym typeface="+mn-lt"/>
                </a:rPr>
                <a:t>DMChain</a:t>
              </a:r>
              <a:r>
                <a:rPr kumimoji="0" lang="zh-CN" altLang="en-US" sz="1200" b="0" i="0" u="none" strike="noStrike" kern="1200" cap="none" spc="0" normalizeH="0" baseline="0" noProof="0" dirty="0">
                  <a:ln>
                    <a:noFill/>
                  </a:ln>
                  <a:solidFill>
                    <a:schemeClr val="bg1">
                      <a:lumMod val="75000"/>
                    </a:schemeClr>
                  </a:solidFill>
                  <a:effectLst/>
                  <a:uLnTx/>
                  <a:uFillTx/>
                  <a:cs typeface="+mn-ea"/>
                  <a:sym typeface="+mn-lt"/>
                </a:rPr>
                <a:t>系统的代币，可以在 </a:t>
              </a:r>
              <a:r>
                <a:rPr kumimoji="0" lang="en-US" altLang="zh-CN" sz="1200" b="0" i="0" u="none" strike="noStrike" kern="1200" cap="none" spc="0" normalizeH="0" baseline="0" noProof="0" dirty="0" err="1">
                  <a:ln>
                    <a:noFill/>
                  </a:ln>
                  <a:solidFill>
                    <a:schemeClr val="bg1">
                      <a:lumMod val="75000"/>
                    </a:schemeClr>
                  </a:solidFill>
                  <a:effectLst/>
                  <a:uLnTx/>
                  <a:uFillTx/>
                  <a:cs typeface="+mn-ea"/>
                  <a:sym typeface="+mn-lt"/>
                </a:rPr>
                <a:t>Cardano</a:t>
              </a:r>
              <a:r>
                <a:rPr kumimoji="0" lang="zh-CN" altLang="en-US" sz="1200" b="0" i="0" u="none" strike="noStrike" kern="1200" cap="none" spc="0" normalizeH="0" baseline="0" noProof="0" dirty="0">
                  <a:ln>
                    <a:noFill/>
                  </a:ln>
                  <a:solidFill>
                    <a:schemeClr val="bg1">
                      <a:lumMod val="75000"/>
                    </a:schemeClr>
                  </a:solidFill>
                  <a:effectLst/>
                  <a:uLnTx/>
                  <a:uFillTx/>
                  <a:cs typeface="+mn-ea"/>
                  <a:sym typeface="+mn-lt"/>
                </a:rPr>
                <a:t>公链上自由交易兑换。</a:t>
              </a:r>
            </a:p>
          </p:txBody>
        </p:sp>
        <p:grpSp>
          <p:nvGrpSpPr>
            <p:cNvPr id="8" name="组合 7"/>
            <p:cNvGrpSpPr/>
            <p:nvPr/>
          </p:nvGrpSpPr>
          <p:grpSpPr>
            <a:xfrm>
              <a:off x="7479031" y="1927931"/>
              <a:ext cx="701286" cy="701287"/>
              <a:chOff x="7958508" y="1863404"/>
              <a:chExt cx="848719" cy="848720"/>
            </a:xfrm>
          </p:grpSpPr>
          <p:grpSp>
            <p:nvGrpSpPr>
              <p:cNvPr id="9" name="Group 147"/>
              <p:cNvGrpSpPr/>
              <p:nvPr/>
            </p:nvGrpSpPr>
            <p:grpSpPr>
              <a:xfrm>
                <a:off x="8127370" y="1992537"/>
                <a:ext cx="526135" cy="479451"/>
                <a:chOff x="1087437" y="1970088"/>
                <a:chExt cx="661988" cy="603250"/>
              </a:xfrm>
              <a:solidFill>
                <a:schemeClr val="accent1"/>
              </a:solidFill>
              <a:effectLst>
                <a:reflection blurRad="6350" stA="50000" endA="300" endPos="55000" dir="5400000" sy="-100000" algn="bl" rotWithShape="0"/>
              </a:effectLst>
            </p:grpSpPr>
            <p:sp>
              <p:nvSpPr>
                <p:cNvPr id="11" name="Freeform 185"/>
                <p:cNvSpPr/>
                <p:nvPr/>
              </p:nvSpPr>
              <p:spPr bwMode="auto">
                <a:xfrm>
                  <a:off x="1257300" y="2203450"/>
                  <a:ext cx="101600" cy="223838"/>
                </a:xfrm>
                <a:custGeom>
                  <a:avLst/>
                  <a:gdLst>
                    <a:gd name="T0" fmla="*/ 99 w 132"/>
                    <a:gd name="T1" fmla="*/ 72 h 294"/>
                    <a:gd name="T2" fmla="*/ 112 w 132"/>
                    <a:gd name="T3" fmla="*/ 99 h 294"/>
                    <a:gd name="T4" fmla="*/ 132 w 132"/>
                    <a:gd name="T5" fmla="*/ 99 h 294"/>
                    <a:gd name="T6" fmla="*/ 112 w 132"/>
                    <a:gd name="T7" fmla="*/ 58 h 294"/>
                    <a:gd name="T8" fmla="*/ 76 w 132"/>
                    <a:gd name="T9" fmla="*/ 42 h 294"/>
                    <a:gd name="T10" fmla="*/ 76 w 132"/>
                    <a:gd name="T11" fmla="*/ 0 h 294"/>
                    <a:gd name="T12" fmla="*/ 56 w 132"/>
                    <a:gd name="T13" fmla="*/ 0 h 294"/>
                    <a:gd name="T14" fmla="*/ 56 w 132"/>
                    <a:gd name="T15" fmla="*/ 42 h 294"/>
                    <a:gd name="T16" fmla="*/ 20 w 132"/>
                    <a:gd name="T17" fmla="*/ 58 h 294"/>
                    <a:gd name="T18" fmla="*/ 0 w 132"/>
                    <a:gd name="T19" fmla="*/ 99 h 294"/>
                    <a:gd name="T20" fmla="*/ 20 w 132"/>
                    <a:gd name="T21" fmla="*/ 140 h 294"/>
                    <a:gd name="T22" fmla="*/ 66 w 132"/>
                    <a:gd name="T23" fmla="*/ 156 h 294"/>
                    <a:gd name="T24" fmla="*/ 99 w 132"/>
                    <a:gd name="T25" fmla="*/ 168 h 294"/>
                    <a:gd name="T26" fmla="*/ 112 w 132"/>
                    <a:gd name="T27" fmla="*/ 195 h 294"/>
                    <a:gd name="T28" fmla="*/ 99 w 132"/>
                    <a:gd name="T29" fmla="*/ 222 h 294"/>
                    <a:gd name="T30" fmla="*/ 34 w 132"/>
                    <a:gd name="T31" fmla="*/ 222 h 294"/>
                    <a:gd name="T32" fmla="*/ 20 w 132"/>
                    <a:gd name="T33" fmla="*/ 195 h 294"/>
                    <a:gd name="T34" fmla="*/ 0 w 132"/>
                    <a:gd name="T35" fmla="*/ 195 h 294"/>
                    <a:gd name="T36" fmla="*/ 20 w 132"/>
                    <a:gd name="T37" fmla="*/ 236 h 294"/>
                    <a:gd name="T38" fmla="*/ 56 w 132"/>
                    <a:gd name="T39" fmla="*/ 252 h 294"/>
                    <a:gd name="T40" fmla="*/ 56 w 132"/>
                    <a:gd name="T41" fmla="*/ 294 h 294"/>
                    <a:gd name="T42" fmla="*/ 76 w 132"/>
                    <a:gd name="T43" fmla="*/ 294 h 294"/>
                    <a:gd name="T44" fmla="*/ 76 w 132"/>
                    <a:gd name="T45" fmla="*/ 252 h 294"/>
                    <a:gd name="T46" fmla="*/ 112 w 132"/>
                    <a:gd name="T47" fmla="*/ 236 h 294"/>
                    <a:gd name="T48" fmla="*/ 132 w 132"/>
                    <a:gd name="T49" fmla="*/ 195 h 294"/>
                    <a:gd name="T50" fmla="*/ 112 w 132"/>
                    <a:gd name="T51" fmla="*/ 154 h 294"/>
                    <a:gd name="T52" fmla="*/ 67 w 132"/>
                    <a:gd name="T53" fmla="*/ 136 h 294"/>
                    <a:gd name="T54" fmla="*/ 34 w 132"/>
                    <a:gd name="T55" fmla="*/ 124 h 294"/>
                    <a:gd name="T56" fmla="*/ 20 w 132"/>
                    <a:gd name="T57" fmla="*/ 98 h 294"/>
                    <a:gd name="T58" fmla="*/ 34 w 132"/>
                    <a:gd name="T59" fmla="*/ 71 h 294"/>
                    <a:gd name="T60" fmla="*/ 99 w 132"/>
                    <a:gd name="T61" fmla="*/ 72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2" h="294">
                      <a:moveTo>
                        <a:pt x="99" y="72"/>
                      </a:moveTo>
                      <a:cubicBezTo>
                        <a:pt x="107" y="79"/>
                        <a:pt x="112" y="88"/>
                        <a:pt x="112" y="99"/>
                      </a:cubicBezTo>
                      <a:lnTo>
                        <a:pt x="132" y="99"/>
                      </a:lnTo>
                      <a:cubicBezTo>
                        <a:pt x="132" y="83"/>
                        <a:pt x="126" y="68"/>
                        <a:pt x="112" y="58"/>
                      </a:cubicBezTo>
                      <a:cubicBezTo>
                        <a:pt x="103" y="50"/>
                        <a:pt x="90" y="44"/>
                        <a:pt x="76" y="42"/>
                      </a:cubicBezTo>
                      <a:lnTo>
                        <a:pt x="76" y="0"/>
                      </a:lnTo>
                      <a:lnTo>
                        <a:pt x="56" y="0"/>
                      </a:lnTo>
                      <a:lnTo>
                        <a:pt x="56" y="42"/>
                      </a:lnTo>
                      <a:cubicBezTo>
                        <a:pt x="43" y="43"/>
                        <a:pt x="31" y="48"/>
                        <a:pt x="20" y="58"/>
                      </a:cubicBezTo>
                      <a:cubicBezTo>
                        <a:pt x="7" y="68"/>
                        <a:pt x="0" y="83"/>
                        <a:pt x="0" y="99"/>
                      </a:cubicBezTo>
                      <a:cubicBezTo>
                        <a:pt x="0" y="115"/>
                        <a:pt x="7" y="130"/>
                        <a:pt x="20" y="140"/>
                      </a:cubicBezTo>
                      <a:cubicBezTo>
                        <a:pt x="32" y="151"/>
                        <a:pt x="48" y="156"/>
                        <a:pt x="66" y="156"/>
                      </a:cubicBezTo>
                      <a:cubicBezTo>
                        <a:pt x="78" y="156"/>
                        <a:pt x="90" y="160"/>
                        <a:pt x="99" y="168"/>
                      </a:cubicBezTo>
                      <a:cubicBezTo>
                        <a:pt x="107" y="175"/>
                        <a:pt x="112" y="184"/>
                        <a:pt x="112" y="195"/>
                      </a:cubicBezTo>
                      <a:cubicBezTo>
                        <a:pt x="112" y="206"/>
                        <a:pt x="108" y="214"/>
                        <a:pt x="99" y="222"/>
                      </a:cubicBezTo>
                      <a:cubicBezTo>
                        <a:pt x="82" y="236"/>
                        <a:pt x="51" y="236"/>
                        <a:pt x="34" y="222"/>
                      </a:cubicBezTo>
                      <a:cubicBezTo>
                        <a:pt x="26" y="215"/>
                        <a:pt x="20" y="206"/>
                        <a:pt x="20" y="195"/>
                      </a:cubicBezTo>
                      <a:lnTo>
                        <a:pt x="0" y="195"/>
                      </a:lnTo>
                      <a:cubicBezTo>
                        <a:pt x="0" y="211"/>
                        <a:pt x="7" y="226"/>
                        <a:pt x="20" y="236"/>
                      </a:cubicBezTo>
                      <a:cubicBezTo>
                        <a:pt x="30" y="244"/>
                        <a:pt x="43" y="250"/>
                        <a:pt x="56" y="252"/>
                      </a:cubicBezTo>
                      <a:lnTo>
                        <a:pt x="56" y="294"/>
                      </a:lnTo>
                      <a:lnTo>
                        <a:pt x="76" y="294"/>
                      </a:lnTo>
                      <a:lnTo>
                        <a:pt x="76" y="252"/>
                      </a:lnTo>
                      <a:cubicBezTo>
                        <a:pt x="90" y="251"/>
                        <a:pt x="102" y="246"/>
                        <a:pt x="112" y="236"/>
                      </a:cubicBezTo>
                      <a:cubicBezTo>
                        <a:pt x="126" y="226"/>
                        <a:pt x="132" y="211"/>
                        <a:pt x="132" y="195"/>
                      </a:cubicBezTo>
                      <a:cubicBezTo>
                        <a:pt x="132" y="179"/>
                        <a:pt x="126" y="164"/>
                        <a:pt x="112" y="154"/>
                      </a:cubicBezTo>
                      <a:cubicBezTo>
                        <a:pt x="100" y="143"/>
                        <a:pt x="84" y="136"/>
                        <a:pt x="67" y="136"/>
                      </a:cubicBezTo>
                      <a:cubicBezTo>
                        <a:pt x="55" y="136"/>
                        <a:pt x="43" y="132"/>
                        <a:pt x="34" y="124"/>
                      </a:cubicBezTo>
                      <a:cubicBezTo>
                        <a:pt x="26" y="118"/>
                        <a:pt x="20" y="108"/>
                        <a:pt x="20" y="98"/>
                      </a:cubicBezTo>
                      <a:cubicBezTo>
                        <a:pt x="20" y="88"/>
                        <a:pt x="24" y="79"/>
                        <a:pt x="34" y="71"/>
                      </a:cubicBezTo>
                      <a:cubicBezTo>
                        <a:pt x="51" y="58"/>
                        <a:pt x="82" y="58"/>
                        <a:pt x="99" y="72"/>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2" name="Freeform 186"/>
                <p:cNvSpPr/>
                <p:nvPr/>
              </p:nvSpPr>
              <p:spPr bwMode="auto">
                <a:xfrm>
                  <a:off x="1290638" y="2093912"/>
                  <a:ext cx="15875" cy="17463"/>
                </a:xfrm>
                <a:custGeom>
                  <a:avLst/>
                  <a:gdLst>
                    <a:gd name="T0" fmla="*/ 20 w 20"/>
                    <a:gd name="T1" fmla="*/ 20 h 21"/>
                    <a:gd name="T2" fmla="*/ 20 w 20"/>
                    <a:gd name="T3" fmla="*/ 0 h 21"/>
                    <a:gd name="T4" fmla="*/ 0 w 20"/>
                    <a:gd name="T5" fmla="*/ 1 h 21"/>
                    <a:gd name="T6" fmla="*/ 2 w 20"/>
                    <a:gd name="T7" fmla="*/ 21 h 21"/>
                    <a:gd name="T8" fmla="*/ 20 w 20"/>
                    <a:gd name="T9" fmla="*/ 20 h 21"/>
                  </a:gdLst>
                  <a:ahLst/>
                  <a:cxnLst>
                    <a:cxn ang="0">
                      <a:pos x="T0" y="T1"/>
                    </a:cxn>
                    <a:cxn ang="0">
                      <a:pos x="T2" y="T3"/>
                    </a:cxn>
                    <a:cxn ang="0">
                      <a:pos x="T4" y="T5"/>
                    </a:cxn>
                    <a:cxn ang="0">
                      <a:pos x="T6" y="T7"/>
                    </a:cxn>
                    <a:cxn ang="0">
                      <a:pos x="T8" y="T9"/>
                    </a:cxn>
                  </a:cxnLst>
                  <a:rect l="0" t="0" r="r" b="b"/>
                  <a:pathLst>
                    <a:path w="20" h="21">
                      <a:moveTo>
                        <a:pt x="20" y="20"/>
                      </a:moveTo>
                      <a:lnTo>
                        <a:pt x="20" y="0"/>
                      </a:lnTo>
                      <a:cubicBezTo>
                        <a:pt x="14" y="0"/>
                        <a:pt x="7" y="0"/>
                        <a:pt x="0" y="1"/>
                      </a:cubicBezTo>
                      <a:lnTo>
                        <a:pt x="2" y="21"/>
                      </a:lnTo>
                      <a:cubicBezTo>
                        <a:pt x="7" y="20"/>
                        <a:pt x="14" y="20"/>
                        <a:pt x="20" y="20"/>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3" name="Freeform 187"/>
                <p:cNvSpPr/>
                <p:nvPr/>
              </p:nvSpPr>
              <p:spPr bwMode="auto">
                <a:xfrm>
                  <a:off x="1328738" y="2095500"/>
                  <a:ext cx="15875" cy="17463"/>
                </a:xfrm>
                <a:custGeom>
                  <a:avLst/>
                  <a:gdLst>
                    <a:gd name="T0" fmla="*/ 21 w 21"/>
                    <a:gd name="T1" fmla="*/ 3 h 23"/>
                    <a:gd name="T2" fmla="*/ 1 w 21"/>
                    <a:gd name="T3" fmla="*/ 0 h 23"/>
                    <a:gd name="T4" fmla="*/ 0 w 21"/>
                    <a:gd name="T5" fmla="*/ 20 h 23"/>
                    <a:gd name="T6" fmla="*/ 18 w 21"/>
                    <a:gd name="T7" fmla="*/ 23 h 23"/>
                    <a:gd name="T8" fmla="*/ 21 w 21"/>
                    <a:gd name="T9" fmla="*/ 3 h 23"/>
                  </a:gdLst>
                  <a:ahLst/>
                  <a:cxnLst>
                    <a:cxn ang="0">
                      <a:pos x="T0" y="T1"/>
                    </a:cxn>
                    <a:cxn ang="0">
                      <a:pos x="T2" y="T3"/>
                    </a:cxn>
                    <a:cxn ang="0">
                      <a:pos x="T4" y="T5"/>
                    </a:cxn>
                    <a:cxn ang="0">
                      <a:pos x="T6" y="T7"/>
                    </a:cxn>
                    <a:cxn ang="0">
                      <a:pos x="T8" y="T9"/>
                    </a:cxn>
                  </a:cxnLst>
                  <a:rect l="0" t="0" r="r" b="b"/>
                  <a:pathLst>
                    <a:path w="21" h="23">
                      <a:moveTo>
                        <a:pt x="21" y="3"/>
                      </a:moveTo>
                      <a:cubicBezTo>
                        <a:pt x="14" y="1"/>
                        <a:pt x="8" y="0"/>
                        <a:pt x="1" y="0"/>
                      </a:cubicBezTo>
                      <a:lnTo>
                        <a:pt x="0" y="20"/>
                      </a:lnTo>
                      <a:cubicBezTo>
                        <a:pt x="6" y="20"/>
                        <a:pt x="13" y="21"/>
                        <a:pt x="18" y="23"/>
                      </a:cubicBezTo>
                      <a:lnTo>
                        <a:pt x="21" y="3"/>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4" name="Freeform 188"/>
                <p:cNvSpPr/>
                <p:nvPr/>
              </p:nvSpPr>
              <p:spPr bwMode="auto">
                <a:xfrm>
                  <a:off x="1250950" y="2097087"/>
                  <a:ext cx="19050" cy="17463"/>
                </a:xfrm>
                <a:custGeom>
                  <a:avLst/>
                  <a:gdLst>
                    <a:gd name="T0" fmla="*/ 24 w 24"/>
                    <a:gd name="T1" fmla="*/ 20 h 22"/>
                    <a:gd name="T2" fmla="*/ 20 w 24"/>
                    <a:gd name="T3" fmla="*/ 0 h 22"/>
                    <a:gd name="T4" fmla="*/ 0 w 24"/>
                    <a:gd name="T5" fmla="*/ 4 h 22"/>
                    <a:gd name="T6" fmla="*/ 6 w 24"/>
                    <a:gd name="T7" fmla="*/ 22 h 22"/>
                    <a:gd name="T8" fmla="*/ 24 w 24"/>
                    <a:gd name="T9" fmla="*/ 20 h 22"/>
                  </a:gdLst>
                  <a:ahLst/>
                  <a:cxnLst>
                    <a:cxn ang="0">
                      <a:pos x="T0" y="T1"/>
                    </a:cxn>
                    <a:cxn ang="0">
                      <a:pos x="T2" y="T3"/>
                    </a:cxn>
                    <a:cxn ang="0">
                      <a:pos x="T4" y="T5"/>
                    </a:cxn>
                    <a:cxn ang="0">
                      <a:pos x="T6" y="T7"/>
                    </a:cxn>
                    <a:cxn ang="0">
                      <a:pos x="T8" y="T9"/>
                    </a:cxn>
                  </a:cxnLst>
                  <a:rect l="0" t="0" r="r" b="b"/>
                  <a:pathLst>
                    <a:path w="24" h="22">
                      <a:moveTo>
                        <a:pt x="24" y="20"/>
                      </a:moveTo>
                      <a:lnTo>
                        <a:pt x="20" y="0"/>
                      </a:lnTo>
                      <a:lnTo>
                        <a:pt x="0" y="4"/>
                      </a:lnTo>
                      <a:lnTo>
                        <a:pt x="6" y="22"/>
                      </a:lnTo>
                      <a:cubicBezTo>
                        <a:pt x="11" y="22"/>
                        <a:pt x="18" y="21"/>
                        <a:pt x="24" y="20"/>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5" name="Freeform 189"/>
                <p:cNvSpPr/>
                <p:nvPr/>
              </p:nvSpPr>
              <p:spPr bwMode="auto">
                <a:xfrm>
                  <a:off x="1509713" y="2268537"/>
                  <a:ext cx="17463" cy="17463"/>
                </a:xfrm>
                <a:custGeom>
                  <a:avLst/>
                  <a:gdLst>
                    <a:gd name="T0" fmla="*/ 4 w 24"/>
                    <a:gd name="T1" fmla="*/ 22 h 22"/>
                    <a:gd name="T2" fmla="*/ 24 w 24"/>
                    <a:gd name="T3" fmla="*/ 20 h 22"/>
                    <a:gd name="T4" fmla="*/ 20 w 24"/>
                    <a:gd name="T5" fmla="*/ 0 h 22"/>
                    <a:gd name="T6" fmla="*/ 0 w 24"/>
                    <a:gd name="T7" fmla="*/ 4 h 22"/>
                    <a:gd name="T8" fmla="*/ 4 w 24"/>
                    <a:gd name="T9" fmla="*/ 22 h 22"/>
                  </a:gdLst>
                  <a:ahLst/>
                  <a:cxnLst>
                    <a:cxn ang="0">
                      <a:pos x="T0" y="T1"/>
                    </a:cxn>
                    <a:cxn ang="0">
                      <a:pos x="T2" y="T3"/>
                    </a:cxn>
                    <a:cxn ang="0">
                      <a:pos x="T4" y="T5"/>
                    </a:cxn>
                    <a:cxn ang="0">
                      <a:pos x="T6" y="T7"/>
                    </a:cxn>
                    <a:cxn ang="0">
                      <a:pos x="T8" y="T9"/>
                    </a:cxn>
                  </a:cxnLst>
                  <a:rect l="0" t="0" r="r" b="b"/>
                  <a:pathLst>
                    <a:path w="24" h="22">
                      <a:moveTo>
                        <a:pt x="4" y="22"/>
                      </a:moveTo>
                      <a:lnTo>
                        <a:pt x="24" y="20"/>
                      </a:lnTo>
                      <a:lnTo>
                        <a:pt x="20" y="0"/>
                      </a:lnTo>
                      <a:lnTo>
                        <a:pt x="0" y="4"/>
                      </a:lnTo>
                      <a:cubicBezTo>
                        <a:pt x="1" y="10"/>
                        <a:pt x="2" y="17"/>
                        <a:pt x="4" y="22"/>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6" name="Freeform 190"/>
                <p:cNvSpPr/>
                <p:nvPr/>
              </p:nvSpPr>
              <p:spPr bwMode="auto">
                <a:xfrm>
                  <a:off x="1363663" y="2101850"/>
                  <a:ext cx="20638" cy="19050"/>
                </a:xfrm>
                <a:custGeom>
                  <a:avLst/>
                  <a:gdLst>
                    <a:gd name="T0" fmla="*/ 26 w 26"/>
                    <a:gd name="T1" fmla="*/ 7 h 24"/>
                    <a:gd name="T2" fmla="*/ 6 w 26"/>
                    <a:gd name="T3" fmla="*/ 0 h 24"/>
                    <a:gd name="T4" fmla="*/ 0 w 26"/>
                    <a:gd name="T5" fmla="*/ 19 h 24"/>
                    <a:gd name="T6" fmla="*/ 19 w 26"/>
                    <a:gd name="T7" fmla="*/ 24 h 24"/>
                    <a:gd name="T8" fmla="*/ 26 w 26"/>
                    <a:gd name="T9" fmla="*/ 7 h 24"/>
                  </a:gdLst>
                  <a:ahLst/>
                  <a:cxnLst>
                    <a:cxn ang="0">
                      <a:pos x="T0" y="T1"/>
                    </a:cxn>
                    <a:cxn ang="0">
                      <a:pos x="T2" y="T3"/>
                    </a:cxn>
                    <a:cxn ang="0">
                      <a:pos x="T4" y="T5"/>
                    </a:cxn>
                    <a:cxn ang="0">
                      <a:pos x="T6" y="T7"/>
                    </a:cxn>
                    <a:cxn ang="0">
                      <a:pos x="T8" y="T9"/>
                    </a:cxn>
                  </a:cxnLst>
                  <a:rect l="0" t="0" r="r" b="b"/>
                  <a:pathLst>
                    <a:path w="26" h="24">
                      <a:moveTo>
                        <a:pt x="26" y="7"/>
                      </a:moveTo>
                      <a:cubicBezTo>
                        <a:pt x="19" y="4"/>
                        <a:pt x="12" y="3"/>
                        <a:pt x="6" y="0"/>
                      </a:cubicBezTo>
                      <a:lnTo>
                        <a:pt x="0" y="19"/>
                      </a:lnTo>
                      <a:cubicBezTo>
                        <a:pt x="7" y="20"/>
                        <a:pt x="12" y="23"/>
                        <a:pt x="19" y="24"/>
                      </a:cubicBezTo>
                      <a:lnTo>
                        <a:pt x="26" y="7"/>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7" name="Freeform 191"/>
                <p:cNvSpPr/>
                <p:nvPr/>
              </p:nvSpPr>
              <p:spPr bwMode="auto">
                <a:xfrm>
                  <a:off x="1214438" y="2108200"/>
                  <a:ext cx="20638" cy="20638"/>
                </a:xfrm>
                <a:custGeom>
                  <a:avLst/>
                  <a:gdLst>
                    <a:gd name="T0" fmla="*/ 26 w 26"/>
                    <a:gd name="T1" fmla="*/ 19 h 26"/>
                    <a:gd name="T2" fmla="*/ 19 w 26"/>
                    <a:gd name="T3" fmla="*/ 0 h 26"/>
                    <a:gd name="T4" fmla="*/ 0 w 26"/>
                    <a:gd name="T5" fmla="*/ 8 h 26"/>
                    <a:gd name="T6" fmla="*/ 8 w 26"/>
                    <a:gd name="T7" fmla="*/ 26 h 26"/>
                    <a:gd name="T8" fmla="*/ 26 w 26"/>
                    <a:gd name="T9" fmla="*/ 19 h 26"/>
                  </a:gdLst>
                  <a:ahLst/>
                  <a:cxnLst>
                    <a:cxn ang="0">
                      <a:pos x="T0" y="T1"/>
                    </a:cxn>
                    <a:cxn ang="0">
                      <a:pos x="T2" y="T3"/>
                    </a:cxn>
                    <a:cxn ang="0">
                      <a:pos x="T4" y="T5"/>
                    </a:cxn>
                    <a:cxn ang="0">
                      <a:pos x="T6" y="T7"/>
                    </a:cxn>
                    <a:cxn ang="0">
                      <a:pos x="T8" y="T9"/>
                    </a:cxn>
                  </a:cxnLst>
                  <a:rect l="0" t="0" r="r" b="b"/>
                  <a:pathLst>
                    <a:path w="26" h="26">
                      <a:moveTo>
                        <a:pt x="26" y="19"/>
                      </a:moveTo>
                      <a:lnTo>
                        <a:pt x="19" y="0"/>
                      </a:lnTo>
                      <a:cubicBezTo>
                        <a:pt x="12" y="3"/>
                        <a:pt x="6" y="6"/>
                        <a:pt x="0" y="8"/>
                      </a:cubicBezTo>
                      <a:lnTo>
                        <a:pt x="8" y="26"/>
                      </a:lnTo>
                      <a:cubicBezTo>
                        <a:pt x="14" y="24"/>
                        <a:pt x="19" y="22"/>
                        <a:pt x="26" y="19"/>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8" name="Freeform 192"/>
                <p:cNvSpPr/>
                <p:nvPr/>
              </p:nvSpPr>
              <p:spPr bwMode="auto">
                <a:xfrm>
                  <a:off x="1149350" y="2151062"/>
                  <a:ext cx="22225" cy="20638"/>
                </a:xfrm>
                <a:custGeom>
                  <a:avLst/>
                  <a:gdLst>
                    <a:gd name="T0" fmla="*/ 28 w 28"/>
                    <a:gd name="T1" fmla="*/ 15 h 28"/>
                    <a:gd name="T2" fmla="*/ 15 w 28"/>
                    <a:gd name="T3" fmla="*/ 0 h 28"/>
                    <a:gd name="T4" fmla="*/ 0 w 28"/>
                    <a:gd name="T5" fmla="*/ 15 h 28"/>
                    <a:gd name="T6" fmla="*/ 15 w 28"/>
                    <a:gd name="T7" fmla="*/ 28 h 28"/>
                    <a:gd name="T8" fmla="*/ 28 w 28"/>
                    <a:gd name="T9" fmla="*/ 15 h 28"/>
                  </a:gdLst>
                  <a:ahLst/>
                  <a:cxnLst>
                    <a:cxn ang="0">
                      <a:pos x="T0" y="T1"/>
                    </a:cxn>
                    <a:cxn ang="0">
                      <a:pos x="T2" y="T3"/>
                    </a:cxn>
                    <a:cxn ang="0">
                      <a:pos x="T4" y="T5"/>
                    </a:cxn>
                    <a:cxn ang="0">
                      <a:pos x="T6" y="T7"/>
                    </a:cxn>
                    <a:cxn ang="0">
                      <a:pos x="T8" y="T9"/>
                    </a:cxn>
                  </a:cxnLst>
                  <a:rect l="0" t="0" r="r" b="b"/>
                  <a:pathLst>
                    <a:path w="28" h="28">
                      <a:moveTo>
                        <a:pt x="28" y="15"/>
                      </a:moveTo>
                      <a:lnTo>
                        <a:pt x="15" y="0"/>
                      </a:lnTo>
                      <a:cubicBezTo>
                        <a:pt x="9" y="4"/>
                        <a:pt x="4" y="9"/>
                        <a:pt x="0" y="15"/>
                      </a:cubicBezTo>
                      <a:lnTo>
                        <a:pt x="15" y="28"/>
                      </a:lnTo>
                      <a:cubicBezTo>
                        <a:pt x="19" y="24"/>
                        <a:pt x="23" y="19"/>
                        <a:pt x="28" y="15"/>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9" name="Freeform 193"/>
                <p:cNvSpPr/>
                <p:nvPr/>
              </p:nvSpPr>
              <p:spPr bwMode="auto">
                <a:xfrm>
                  <a:off x="1179513" y="2125662"/>
                  <a:ext cx="20638" cy="22225"/>
                </a:xfrm>
                <a:custGeom>
                  <a:avLst/>
                  <a:gdLst>
                    <a:gd name="T0" fmla="*/ 28 w 28"/>
                    <a:gd name="T1" fmla="*/ 17 h 28"/>
                    <a:gd name="T2" fmla="*/ 17 w 28"/>
                    <a:gd name="T3" fmla="*/ 0 h 28"/>
                    <a:gd name="T4" fmla="*/ 0 w 28"/>
                    <a:gd name="T5" fmla="*/ 12 h 28"/>
                    <a:gd name="T6" fmla="*/ 12 w 28"/>
                    <a:gd name="T7" fmla="*/ 28 h 28"/>
                    <a:gd name="T8" fmla="*/ 28 w 28"/>
                    <a:gd name="T9" fmla="*/ 17 h 28"/>
                  </a:gdLst>
                  <a:ahLst/>
                  <a:cxnLst>
                    <a:cxn ang="0">
                      <a:pos x="T0" y="T1"/>
                    </a:cxn>
                    <a:cxn ang="0">
                      <a:pos x="T2" y="T3"/>
                    </a:cxn>
                    <a:cxn ang="0">
                      <a:pos x="T4" y="T5"/>
                    </a:cxn>
                    <a:cxn ang="0">
                      <a:pos x="T6" y="T7"/>
                    </a:cxn>
                    <a:cxn ang="0">
                      <a:pos x="T8" y="T9"/>
                    </a:cxn>
                  </a:cxnLst>
                  <a:rect l="0" t="0" r="r" b="b"/>
                  <a:pathLst>
                    <a:path w="28" h="28">
                      <a:moveTo>
                        <a:pt x="28" y="17"/>
                      </a:moveTo>
                      <a:lnTo>
                        <a:pt x="17" y="0"/>
                      </a:lnTo>
                      <a:cubicBezTo>
                        <a:pt x="12" y="4"/>
                        <a:pt x="5" y="8"/>
                        <a:pt x="0" y="12"/>
                      </a:cubicBezTo>
                      <a:lnTo>
                        <a:pt x="12" y="28"/>
                      </a:lnTo>
                      <a:cubicBezTo>
                        <a:pt x="17" y="25"/>
                        <a:pt x="22" y="21"/>
                        <a:pt x="28" y="17"/>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0" name="Freeform 194"/>
                <p:cNvSpPr/>
                <p:nvPr/>
              </p:nvSpPr>
              <p:spPr bwMode="auto">
                <a:xfrm>
                  <a:off x="1398588" y="2117725"/>
                  <a:ext cx="20638" cy="20638"/>
                </a:xfrm>
                <a:custGeom>
                  <a:avLst/>
                  <a:gdLst>
                    <a:gd name="T0" fmla="*/ 28 w 28"/>
                    <a:gd name="T1" fmla="*/ 10 h 27"/>
                    <a:gd name="T2" fmla="*/ 10 w 28"/>
                    <a:gd name="T3" fmla="*/ 0 h 27"/>
                    <a:gd name="T4" fmla="*/ 0 w 28"/>
                    <a:gd name="T5" fmla="*/ 18 h 27"/>
                    <a:gd name="T6" fmla="*/ 18 w 28"/>
                    <a:gd name="T7" fmla="*/ 27 h 27"/>
                    <a:gd name="T8" fmla="*/ 28 w 28"/>
                    <a:gd name="T9" fmla="*/ 10 h 27"/>
                  </a:gdLst>
                  <a:ahLst/>
                  <a:cxnLst>
                    <a:cxn ang="0">
                      <a:pos x="T0" y="T1"/>
                    </a:cxn>
                    <a:cxn ang="0">
                      <a:pos x="T2" y="T3"/>
                    </a:cxn>
                    <a:cxn ang="0">
                      <a:pos x="T4" y="T5"/>
                    </a:cxn>
                    <a:cxn ang="0">
                      <a:pos x="T6" y="T7"/>
                    </a:cxn>
                    <a:cxn ang="0">
                      <a:pos x="T8" y="T9"/>
                    </a:cxn>
                  </a:cxnLst>
                  <a:rect l="0" t="0" r="r" b="b"/>
                  <a:pathLst>
                    <a:path w="28" h="27">
                      <a:moveTo>
                        <a:pt x="28" y="10"/>
                      </a:moveTo>
                      <a:cubicBezTo>
                        <a:pt x="23" y="6"/>
                        <a:pt x="16" y="3"/>
                        <a:pt x="10" y="0"/>
                      </a:cubicBezTo>
                      <a:lnTo>
                        <a:pt x="0" y="18"/>
                      </a:lnTo>
                      <a:cubicBezTo>
                        <a:pt x="6" y="20"/>
                        <a:pt x="12" y="23"/>
                        <a:pt x="18" y="27"/>
                      </a:cubicBezTo>
                      <a:lnTo>
                        <a:pt x="28" y="10"/>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1" name="Freeform 195"/>
                <p:cNvSpPr/>
                <p:nvPr/>
              </p:nvSpPr>
              <p:spPr bwMode="auto">
                <a:xfrm>
                  <a:off x="1498600" y="2382837"/>
                  <a:ext cx="19050" cy="19050"/>
                </a:xfrm>
                <a:custGeom>
                  <a:avLst/>
                  <a:gdLst>
                    <a:gd name="T0" fmla="*/ 25 w 25"/>
                    <a:gd name="T1" fmla="*/ 6 h 25"/>
                    <a:gd name="T2" fmla="*/ 7 w 25"/>
                    <a:gd name="T3" fmla="*/ 0 h 25"/>
                    <a:gd name="T4" fmla="*/ 0 w 25"/>
                    <a:gd name="T5" fmla="*/ 17 h 25"/>
                    <a:gd name="T6" fmla="*/ 19 w 25"/>
                    <a:gd name="T7" fmla="*/ 25 h 25"/>
                    <a:gd name="T8" fmla="*/ 25 w 25"/>
                    <a:gd name="T9" fmla="*/ 6 h 25"/>
                  </a:gdLst>
                  <a:ahLst/>
                  <a:cxnLst>
                    <a:cxn ang="0">
                      <a:pos x="T0" y="T1"/>
                    </a:cxn>
                    <a:cxn ang="0">
                      <a:pos x="T2" y="T3"/>
                    </a:cxn>
                    <a:cxn ang="0">
                      <a:pos x="T4" y="T5"/>
                    </a:cxn>
                    <a:cxn ang="0">
                      <a:pos x="T6" y="T7"/>
                    </a:cxn>
                    <a:cxn ang="0">
                      <a:pos x="T8" y="T9"/>
                    </a:cxn>
                  </a:cxnLst>
                  <a:rect l="0" t="0" r="r" b="b"/>
                  <a:pathLst>
                    <a:path w="25" h="25">
                      <a:moveTo>
                        <a:pt x="25" y="6"/>
                      </a:moveTo>
                      <a:lnTo>
                        <a:pt x="7" y="0"/>
                      </a:lnTo>
                      <a:cubicBezTo>
                        <a:pt x="4" y="6"/>
                        <a:pt x="3" y="12"/>
                        <a:pt x="0" y="17"/>
                      </a:cubicBezTo>
                      <a:lnTo>
                        <a:pt x="19" y="25"/>
                      </a:lnTo>
                      <a:cubicBezTo>
                        <a:pt x="21" y="18"/>
                        <a:pt x="23" y="13"/>
                        <a:pt x="25" y="6"/>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2" name="Freeform 196"/>
                <p:cNvSpPr/>
                <p:nvPr/>
              </p:nvSpPr>
              <p:spPr bwMode="auto">
                <a:xfrm>
                  <a:off x="1498600" y="2230437"/>
                  <a:ext cx="19050" cy="20638"/>
                </a:xfrm>
                <a:custGeom>
                  <a:avLst/>
                  <a:gdLst>
                    <a:gd name="T0" fmla="*/ 7 w 25"/>
                    <a:gd name="T1" fmla="*/ 26 h 26"/>
                    <a:gd name="T2" fmla="*/ 25 w 25"/>
                    <a:gd name="T3" fmla="*/ 19 h 26"/>
                    <a:gd name="T4" fmla="*/ 19 w 25"/>
                    <a:gd name="T5" fmla="*/ 0 h 26"/>
                    <a:gd name="T6" fmla="*/ 0 w 25"/>
                    <a:gd name="T7" fmla="*/ 8 h 26"/>
                    <a:gd name="T8" fmla="*/ 7 w 25"/>
                    <a:gd name="T9" fmla="*/ 26 h 26"/>
                  </a:gdLst>
                  <a:ahLst/>
                  <a:cxnLst>
                    <a:cxn ang="0">
                      <a:pos x="T0" y="T1"/>
                    </a:cxn>
                    <a:cxn ang="0">
                      <a:pos x="T2" y="T3"/>
                    </a:cxn>
                    <a:cxn ang="0">
                      <a:pos x="T4" y="T5"/>
                    </a:cxn>
                    <a:cxn ang="0">
                      <a:pos x="T6" y="T7"/>
                    </a:cxn>
                    <a:cxn ang="0">
                      <a:pos x="T8" y="T9"/>
                    </a:cxn>
                  </a:cxnLst>
                  <a:rect l="0" t="0" r="r" b="b"/>
                  <a:pathLst>
                    <a:path w="25" h="26">
                      <a:moveTo>
                        <a:pt x="7" y="26"/>
                      </a:moveTo>
                      <a:lnTo>
                        <a:pt x="25" y="19"/>
                      </a:lnTo>
                      <a:cubicBezTo>
                        <a:pt x="23" y="12"/>
                        <a:pt x="21" y="6"/>
                        <a:pt x="19" y="0"/>
                      </a:cubicBezTo>
                      <a:lnTo>
                        <a:pt x="0" y="8"/>
                      </a:lnTo>
                      <a:cubicBezTo>
                        <a:pt x="3" y="14"/>
                        <a:pt x="5" y="20"/>
                        <a:pt x="7" y="26"/>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3" name="Freeform 197"/>
                <p:cNvSpPr/>
                <p:nvPr/>
              </p:nvSpPr>
              <p:spPr bwMode="auto">
                <a:xfrm>
                  <a:off x="1508125" y="2346325"/>
                  <a:ext cx="17463" cy="17463"/>
                </a:xfrm>
                <a:custGeom>
                  <a:avLst/>
                  <a:gdLst>
                    <a:gd name="T0" fmla="*/ 24 w 24"/>
                    <a:gd name="T1" fmla="*/ 3 h 23"/>
                    <a:gd name="T2" fmla="*/ 4 w 24"/>
                    <a:gd name="T3" fmla="*/ 0 h 23"/>
                    <a:gd name="T4" fmla="*/ 0 w 24"/>
                    <a:gd name="T5" fmla="*/ 19 h 23"/>
                    <a:gd name="T6" fmla="*/ 20 w 24"/>
                    <a:gd name="T7" fmla="*/ 23 h 23"/>
                    <a:gd name="T8" fmla="*/ 24 w 24"/>
                    <a:gd name="T9" fmla="*/ 3 h 23"/>
                  </a:gdLst>
                  <a:ahLst/>
                  <a:cxnLst>
                    <a:cxn ang="0">
                      <a:pos x="T0" y="T1"/>
                    </a:cxn>
                    <a:cxn ang="0">
                      <a:pos x="T2" y="T3"/>
                    </a:cxn>
                    <a:cxn ang="0">
                      <a:pos x="T4" y="T5"/>
                    </a:cxn>
                    <a:cxn ang="0">
                      <a:pos x="T6" y="T7"/>
                    </a:cxn>
                    <a:cxn ang="0">
                      <a:pos x="T8" y="T9"/>
                    </a:cxn>
                  </a:cxnLst>
                  <a:rect l="0" t="0" r="r" b="b"/>
                  <a:pathLst>
                    <a:path w="24" h="23">
                      <a:moveTo>
                        <a:pt x="24" y="3"/>
                      </a:moveTo>
                      <a:lnTo>
                        <a:pt x="4" y="0"/>
                      </a:lnTo>
                      <a:cubicBezTo>
                        <a:pt x="3" y="7"/>
                        <a:pt x="2" y="12"/>
                        <a:pt x="0" y="19"/>
                      </a:cubicBezTo>
                      <a:lnTo>
                        <a:pt x="20" y="23"/>
                      </a:lnTo>
                      <a:cubicBezTo>
                        <a:pt x="23" y="16"/>
                        <a:pt x="23" y="9"/>
                        <a:pt x="24" y="3"/>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4" name="Freeform 198"/>
                <p:cNvSpPr/>
                <p:nvPr/>
              </p:nvSpPr>
              <p:spPr bwMode="auto">
                <a:xfrm>
                  <a:off x="1481138" y="2416175"/>
                  <a:ext cx="20638" cy="19050"/>
                </a:xfrm>
                <a:custGeom>
                  <a:avLst/>
                  <a:gdLst>
                    <a:gd name="T0" fmla="*/ 0 w 27"/>
                    <a:gd name="T1" fmla="*/ 16 h 26"/>
                    <a:gd name="T2" fmla="*/ 16 w 27"/>
                    <a:gd name="T3" fmla="*/ 26 h 26"/>
                    <a:gd name="T4" fmla="*/ 27 w 27"/>
                    <a:gd name="T5" fmla="*/ 9 h 26"/>
                    <a:gd name="T6" fmla="*/ 10 w 27"/>
                    <a:gd name="T7" fmla="*/ 0 h 26"/>
                    <a:gd name="T8" fmla="*/ 0 w 27"/>
                    <a:gd name="T9" fmla="*/ 16 h 26"/>
                  </a:gdLst>
                  <a:ahLst/>
                  <a:cxnLst>
                    <a:cxn ang="0">
                      <a:pos x="T0" y="T1"/>
                    </a:cxn>
                    <a:cxn ang="0">
                      <a:pos x="T2" y="T3"/>
                    </a:cxn>
                    <a:cxn ang="0">
                      <a:pos x="T4" y="T5"/>
                    </a:cxn>
                    <a:cxn ang="0">
                      <a:pos x="T6" y="T7"/>
                    </a:cxn>
                    <a:cxn ang="0">
                      <a:pos x="T8" y="T9"/>
                    </a:cxn>
                  </a:cxnLst>
                  <a:rect l="0" t="0" r="r" b="b"/>
                  <a:pathLst>
                    <a:path w="27" h="26">
                      <a:moveTo>
                        <a:pt x="0" y="16"/>
                      </a:moveTo>
                      <a:lnTo>
                        <a:pt x="16" y="26"/>
                      </a:lnTo>
                      <a:cubicBezTo>
                        <a:pt x="20" y="21"/>
                        <a:pt x="23" y="14"/>
                        <a:pt x="27" y="9"/>
                      </a:cubicBezTo>
                      <a:lnTo>
                        <a:pt x="10" y="0"/>
                      </a:lnTo>
                      <a:cubicBezTo>
                        <a:pt x="7" y="5"/>
                        <a:pt x="3" y="10"/>
                        <a:pt x="0" y="16"/>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5" name="Freeform 199"/>
                <p:cNvSpPr/>
                <p:nvPr/>
              </p:nvSpPr>
              <p:spPr bwMode="auto">
                <a:xfrm>
                  <a:off x="1123950" y="2179637"/>
                  <a:ext cx="22225" cy="20638"/>
                </a:xfrm>
                <a:custGeom>
                  <a:avLst/>
                  <a:gdLst>
                    <a:gd name="T0" fmla="*/ 28 w 28"/>
                    <a:gd name="T1" fmla="*/ 12 h 26"/>
                    <a:gd name="T2" fmla="*/ 12 w 28"/>
                    <a:gd name="T3" fmla="*/ 0 h 26"/>
                    <a:gd name="T4" fmla="*/ 0 w 28"/>
                    <a:gd name="T5" fmla="*/ 16 h 26"/>
                    <a:gd name="T6" fmla="*/ 16 w 28"/>
                    <a:gd name="T7" fmla="*/ 26 h 26"/>
                    <a:gd name="T8" fmla="*/ 28 w 28"/>
                    <a:gd name="T9" fmla="*/ 12 h 26"/>
                  </a:gdLst>
                  <a:ahLst/>
                  <a:cxnLst>
                    <a:cxn ang="0">
                      <a:pos x="T0" y="T1"/>
                    </a:cxn>
                    <a:cxn ang="0">
                      <a:pos x="T2" y="T3"/>
                    </a:cxn>
                    <a:cxn ang="0">
                      <a:pos x="T4" y="T5"/>
                    </a:cxn>
                    <a:cxn ang="0">
                      <a:pos x="T6" y="T7"/>
                    </a:cxn>
                    <a:cxn ang="0">
                      <a:pos x="T8" y="T9"/>
                    </a:cxn>
                  </a:cxnLst>
                  <a:rect l="0" t="0" r="r" b="b"/>
                  <a:pathLst>
                    <a:path w="28" h="26">
                      <a:moveTo>
                        <a:pt x="28" y="12"/>
                      </a:moveTo>
                      <a:lnTo>
                        <a:pt x="12" y="0"/>
                      </a:lnTo>
                      <a:lnTo>
                        <a:pt x="0" y="16"/>
                      </a:lnTo>
                      <a:lnTo>
                        <a:pt x="16" y="26"/>
                      </a:lnTo>
                      <a:cubicBezTo>
                        <a:pt x="20" y="21"/>
                        <a:pt x="24" y="16"/>
                        <a:pt x="28" y="12"/>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6" name="Freeform 200"/>
                <p:cNvSpPr/>
                <p:nvPr/>
              </p:nvSpPr>
              <p:spPr bwMode="auto">
                <a:xfrm>
                  <a:off x="1430338" y="2136775"/>
                  <a:ext cx="22225" cy="22225"/>
                </a:xfrm>
                <a:custGeom>
                  <a:avLst/>
                  <a:gdLst>
                    <a:gd name="T0" fmla="*/ 28 w 28"/>
                    <a:gd name="T1" fmla="*/ 13 h 28"/>
                    <a:gd name="T2" fmla="*/ 12 w 28"/>
                    <a:gd name="T3" fmla="*/ 0 h 28"/>
                    <a:gd name="T4" fmla="*/ 0 w 28"/>
                    <a:gd name="T5" fmla="*/ 16 h 28"/>
                    <a:gd name="T6" fmla="*/ 15 w 28"/>
                    <a:gd name="T7" fmla="*/ 28 h 28"/>
                    <a:gd name="T8" fmla="*/ 28 w 28"/>
                    <a:gd name="T9" fmla="*/ 13 h 28"/>
                  </a:gdLst>
                  <a:ahLst/>
                  <a:cxnLst>
                    <a:cxn ang="0">
                      <a:pos x="T0" y="T1"/>
                    </a:cxn>
                    <a:cxn ang="0">
                      <a:pos x="T2" y="T3"/>
                    </a:cxn>
                    <a:cxn ang="0">
                      <a:pos x="T4" y="T5"/>
                    </a:cxn>
                    <a:cxn ang="0">
                      <a:pos x="T6" y="T7"/>
                    </a:cxn>
                    <a:cxn ang="0">
                      <a:pos x="T8" y="T9"/>
                    </a:cxn>
                  </a:cxnLst>
                  <a:rect l="0" t="0" r="r" b="b"/>
                  <a:pathLst>
                    <a:path w="28" h="28">
                      <a:moveTo>
                        <a:pt x="28" y="13"/>
                      </a:moveTo>
                      <a:cubicBezTo>
                        <a:pt x="23" y="9"/>
                        <a:pt x="17" y="4"/>
                        <a:pt x="12" y="0"/>
                      </a:cubicBezTo>
                      <a:lnTo>
                        <a:pt x="0" y="16"/>
                      </a:lnTo>
                      <a:cubicBezTo>
                        <a:pt x="5" y="20"/>
                        <a:pt x="11" y="24"/>
                        <a:pt x="15" y="28"/>
                      </a:cubicBezTo>
                      <a:lnTo>
                        <a:pt x="28" y="13"/>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7" name="Freeform 201"/>
                <p:cNvSpPr/>
                <p:nvPr/>
              </p:nvSpPr>
              <p:spPr bwMode="auto">
                <a:xfrm>
                  <a:off x="1481138" y="2197100"/>
                  <a:ext cx="20638" cy="20638"/>
                </a:xfrm>
                <a:custGeom>
                  <a:avLst/>
                  <a:gdLst>
                    <a:gd name="T0" fmla="*/ 28 w 28"/>
                    <a:gd name="T1" fmla="*/ 17 h 27"/>
                    <a:gd name="T2" fmla="*/ 18 w 28"/>
                    <a:gd name="T3" fmla="*/ 0 h 27"/>
                    <a:gd name="T4" fmla="*/ 0 w 28"/>
                    <a:gd name="T5" fmla="*/ 11 h 27"/>
                    <a:gd name="T6" fmla="*/ 10 w 28"/>
                    <a:gd name="T7" fmla="*/ 27 h 27"/>
                    <a:gd name="T8" fmla="*/ 28 w 28"/>
                    <a:gd name="T9" fmla="*/ 17 h 27"/>
                  </a:gdLst>
                  <a:ahLst/>
                  <a:cxnLst>
                    <a:cxn ang="0">
                      <a:pos x="T0" y="T1"/>
                    </a:cxn>
                    <a:cxn ang="0">
                      <a:pos x="T2" y="T3"/>
                    </a:cxn>
                    <a:cxn ang="0">
                      <a:pos x="T4" y="T5"/>
                    </a:cxn>
                    <a:cxn ang="0">
                      <a:pos x="T6" y="T7"/>
                    </a:cxn>
                    <a:cxn ang="0">
                      <a:pos x="T8" y="T9"/>
                    </a:cxn>
                  </a:cxnLst>
                  <a:rect l="0" t="0" r="r" b="b"/>
                  <a:pathLst>
                    <a:path w="28" h="27">
                      <a:moveTo>
                        <a:pt x="28" y="17"/>
                      </a:moveTo>
                      <a:cubicBezTo>
                        <a:pt x="26" y="11"/>
                        <a:pt x="22" y="5"/>
                        <a:pt x="18" y="0"/>
                      </a:cubicBezTo>
                      <a:lnTo>
                        <a:pt x="0" y="11"/>
                      </a:lnTo>
                      <a:cubicBezTo>
                        <a:pt x="4" y="16"/>
                        <a:pt x="7" y="21"/>
                        <a:pt x="10" y="27"/>
                      </a:cubicBezTo>
                      <a:lnTo>
                        <a:pt x="28" y="17"/>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8" name="Freeform 202"/>
                <p:cNvSpPr/>
                <p:nvPr/>
              </p:nvSpPr>
              <p:spPr bwMode="auto">
                <a:xfrm>
                  <a:off x="1458913" y="2163762"/>
                  <a:ext cx="20638" cy="20638"/>
                </a:xfrm>
                <a:custGeom>
                  <a:avLst/>
                  <a:gdLst>
                    <a:gd name="T0" fmla="*/ 28 w 28"/>
                    <a:gd name="T1" fmla="*/ 16 h 28"/>
                    <a:gd name="T2" fmla="*/ 15 w 28"/>
                    <a:gd name="T3" fmla="*/ 0 h 28"/>
                    <a:gd name="T4" fmla="*/ 0 w 28"/>
                    <a:gd name="T5" fmla="*/ 14 h 28"/>
                    <a:gd name="T6" fmla="*/ 12 w 28"/>
                    <a:gd name="T7" fmla="*/ 28 h 28"/>
                    <a:gd name="T8" fmla="*/ 28 w 28"/>
                    <a:gd name="T9" fmla="*/ 16 h 28"/>
                  </a:gdLst>
                  <a:ahLst/>
                  <a:cxnLst>
                    <a:cxn ang="0">
                      <a:pos x="T0" y="T1"/>
                    </a:cxn>
                    <a:cxn ang="0">
                      <a:pos x="T2" y="T3"/>
                    </a:cxn>
                    <a:cxn ang="0">
                      <a:pos x="T4" y="T5"/>
                    </a:cxn>
                    <a:cxn ang="0">
                      <a:pos x="T6" y="T7"/>
                    </a:cxn>
                    <a:cxn ang="0">
                      <a:pos x="T8" y="T9"/>
                    </a:cxn>
                  </a:cxnLst>
                  <a:rect l="0" t="0" r="r" b="b"/>
                  <a:pathLst>
                    <a:path w="28" h="28">
                      <a:moveTo>
                        <a:pt x="28" y="16"/>
                      </a:moveTo>
                      <a:cubicBezTo>
                        <a:pt x="24" y="11"/>
                        <a:pt x="19" y="6"/>
                        <a:pt x="15" y="0"/>
                      </a:cubicBezTo>
                      <a:lnTo>
                        <a:pt x="0" y="14"/>
                      </a:lnTo>
                      <a:cubicBezTo>
                        <a:pt x="4" y="19"/>
                        <a:pt x="8" y="23"/>
                        <a:pt x="12" y="28"/>
                      </a:cubicBezTo>
                      <a:lnTo>
                        <a:pt x="28" y="16"/>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29" name="Freeform 203"/>
                <p:cNvSpPr/>
                <p:nvPr/>
              </p:nvSpPr>
              <p:spPr bwMode="auto">
                <a:xfrm>
                  <a:off x="1150938" y="2460625"/>
                  <a:ext cx="20638" cy="20638"/>
                </a:xfrm>
                <a:custGeom>
                  <a:avLst/>
                  <a:gdLst>
                    <a:gd name="T0" fmla="*/ 0 w 28"/>
                    <a:gd name="T1" fmla="*/ 14 h 28"/>
                    <a:gd name="T2" fmla="*/ 15 w 28"/>
                    <a:gd name="T3" fmla="*/ 28 h 28"/>
                    <a:gd name="T4" fmla="*/ 28 w 28"/>
                    <a:gd name="T5" fmla="*/ 14 h 28"/>
                    <a:gd name="T6" fmla="*/ 15 w 28"/>
                    <a:gd name="T7" fmla="*/ 0 h 28"/>
                    <a:gd name="T8" fmla="*/ 0 w 28"/>
                    <a:gd name="T9" fmla="*/ 14 h 28"/>
                  </a:gdLst>
                  <a:ahLst/>
                  <a:cxnLst>
                    <a:cxn ang="0">
                      <a:pos x="T0" y="T1"/>
                    </a:cxn>
                    <a:cxn ang="0">
                      <a:pos x="T2" y="T3"/>
                    </a:cxn>
                    <a:cxn ang="0">
                      <a:pos x="T4" y="T5"/>
                    </a:cxn>
                    <a:cxn ang="0">
                      <a:pos x="T6" y="T7"/>
                    </a:cxn>
                    <a:cxn ang="0">
                      <a:pos x="T8" y="T9"/>
                    </a:cxn>
                  </a:cxnLst>
                  <a:rect l="0" t="0" r="r" b="b"/>
                  <a:pathLst>
                    <a:path w="28" h="28">
                      <a:moveTo>
                        <a:pt x="0" y="14"/>
                      </a:moveTo>
                      <a:lnTo>
                        <a:pt x="15" y="28"/>
                      </a:lnTo>
                      <a:lnTo>
                        <a:pt x="28" y="14"/>
                      </a:lnTo>
                      <a:cubicBezTo>
                        <a:pt x="23" y="10"/>
                        <a:pt x="19" y="6"/>
                        <a:pt x="15" y="0"/>
                      </a:cubicBezTo>
                      <a:lnTo>
                        <a:pt x="0" y="14"/>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0" name="Freeform 204"/>
                <p:cNvSpPr/>
                <p:nvPr/>
              </p:nvSpPr>
              <p:spPr bwMode="auto">
                <a:xfrm>
                  <a:off x="1254125" y="2514600"/>
                  <a:ext cx="17463" cy="17463"/>
                </a:xfrm>
                <a:custGeom>
                  <a:avLst/>
                  <a:gdLst>
                    <a:gd name="T0" fmla="*/ 0 w 24"/>
                    <a:gd name="T1" fmla="*/ 20 h 24"/>
                    <a:gd name="T2" fmla="*/ 20 w 24"/>
                    <a:gd name="T3" fmla="*/ 24 h 24"/>
                    <a:gd name="T4" fmla="*/ 24 w 24"/>
                    <a:gd name="T5" fmla="*/ 4 h 24"/>
                    <a:gd name="T6" fmla="*/ 5 w 24"/>
                    <a:gd name="T7" fmla="*/ 0 h 24"/>
                    <a:gd name="T8" fmla="*/ 0 w 24"/>
                    <a:gd name="T9" fmla="*/ 20 h 24"/>
                  </a:gdLst>
                  <a:ahLst/>
                  <a:cxnLst>
                    <a:cxn ang="0">
                      <a:pos x="T0" y="T1"/>
                    </a:cxn>
                    <a:cxn ang="0">
                      <a:pos x="T2" y="T3"/>
                    </a:cxn>
                    <a:cxn ang="0">
                      <a:pos x="T4" y="T5"/>
                    </a:cxn>
                    <a:cxn ang="0">
                      <a:pos x="T6" y="T7"/>
                    </a:cxn>
                    <a:cxn ang="0">
                      <a:pos x="T8" y="T9"/>
                    </a:cxn>
                  </a:cxnLst>
                  <a:rect l="0" t="0" r="r" b="b"/>
                  <a:pathLst>
                    <a:path w="24" h="24">
                      <a:moveTo>
                        <a:pt x="0" y="20"/>
                      </a:moveTo>
                      <a:lnTo>
                        <a:pt x="20" y="24"/>
                      </a:lnTo>
                      <a:lnTo>
                        <a:pt x="24" y="4"/>
                      </a:lnTo>
                      <a:cubicBezTo>
                        <a:pt x="17" y="3"/>
                        <a:pt x="12" y="1"/>
                        <a:pt x="5" y="0"/>
                      </a:cubicBezTo>
                      <a:lnTo>
                        <a:pt x="0" y="20"/>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1" name="Freeform 206"/>
                <p:cNvSpPr/>
                <p:nvPr/>
              </p:nvSpPr>
              <p:spPr bwMode="auto">
                <a:xfrm>
                  <a:off x="1216025" y="2501900"/>
                  <a:ext cx="19050" cy="20638"/>
                </a:xfrm>
                <a:custGeom>
                  <a:avLst/>
                  <a:gdLst>
                    <a:gd name="T0" fmla="*/ 0 w 25"/>
                    <a:gd name="T1" fmla="*/ 19 h 27"/>
                    <a:gd name="T2" fmla="*/ 18 w 25"/>
                    <a:gd name="T3" fmla="*/ 27 h 27"/>
                    <a:gd name="T4" fmla="*/ 25 w 25"/>
                    <a:gd name="T5" fmla="*/ 8 h 27"/>
                    <a:gd name="T6" fmla="*/ 8 w 25"/>
                    <a:gd name="T7" fmla="*/ 0 h 27"/>
                    <a:gd name="T8" fmla="*/ 0 w 25"/>
                    <a:gd name="T9" fmla="*/ 19 h 27"/>
                  </a:gdLst>
                  <a:ahLst/>
                  <a:cxnLst>
                    <a:cxn ang="0">
                      <a:pos x="T0" y="T1"/>
                    </a:cxn>
                    <a:cxn ang="0">
                      <a:pos x="T2" y="T3"/>
                    </a:cxn>
                    <a:cxn ang="0">
                      <a:pos x="T4" y="T5"/>
                    </a:cxn>
                    <a:cxn ang="0">
                      <a:pos x="T6" y="T7"/>
                    </a:cxn>
                    <a:cxn ang="0">
                      <a:pos x="T8" y="T9"/>
                    </a:cxn>
                  </a:cxnLst>
                  <a:rect l="0" t="0" r="r" b="b"/>
                  <a:pathLst>
                    <a:path w="25" h="27">
                      <a:moveTo>
                        <a:pt x="0" y="19"/>
                      </a:moveTo>
                      <a:cubicBezTo>
                        <a:pt x="6" y="21"/>
                        <a:pt x="12" y="24"/>
                        <a:pt x="18" y="27"/>
                      </a:cubicBezTo>
                      <a:lnTo>
                        <a:pt x="25" y="8"/>
                      </a:lnTo>
                      <a:cubicBezTo>
                        <a:pt x="20" y="5"/>
                        <a:pt x="13" y="3"/>
                        <a:pt x="8" y="0"/>
                      </a:cubicBezTo>
                      <a:lnTo>
                        <a:pt x="0" y="19"/>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2" name="Freeform 207"/>
                <p:cNvSpPr/>
                <p:nvPr/>
              </p:nvSpPr>
              <p:spPr bwMode="auto">
                <a:xfrm>
                  <a:off x="1292225" y="2520950"/>
                  <a:ext cx="15875" cy="15875"/>
                </a:xfrm>
                <a:custGeom>
                  <a:avLst/>
                  <a:gdLst>
                    <a:gd name="T0" fmla="*/ 0 w 20"/>
                    <a:gd name="T1" fmla="*/ 20 h 21"/>
                    <a:gd name="T2" fmla="*/ 20 w 20"/>
                    <a:gd name="T3" fmla="*/ 21 h 21"/>
                    <a:gd name="T4" fmla="*/ 20 w 20"/>
                    <a:gd name="T5" fmla="*/ 1 h 21"/>
                    <a:gd name="T6" fmla="*/ 1 w 20"/>
                    <a:gd name="T7" fmla="*/ 0 h 21"/>
                    <a:gd name="T8" fmla="*/ 0 w 20"/>
                    <a:gd name="T9" fmla="*/ 20 h 21"/>
                  </a:gdLst>
                  <a:ahLst/>
                  <a:cxnLst>
                    <a:cxn ang="0">
                      <a:pos x="T0" y="T1"/>
                    </a:cxn>
                    <a:cxn ang="0">
                      <a:pos x="T2" y="T3"/>
                    </a:cxn>
                    <a:cxn ang="0">
                      <a:pos x="T4" y="T5"/>
                    </a:cxn>
                    <a:cxn ang="0">
                      <a:pos x="T6" y="T7"/>
                    </a:cxn>
                    <a:cxn ang="0">
                      <a:pos x="T8" y="T9"/>
                    </a:cxn>
                  </a:cxnLst>
                  <a:rect l="0" t="0" r="r" b="b"/>
                  <a:pathLst>
                    <a:path w="20" h="21">
                      <a:moveTo>
                        <a:pt x="0" y="20"/>
                      </a:moveTo>
                      <a:cubicBezTo>
                        <a:pt x="6" y="20"/>
                        <a:pt x="13" y="21"/>
                        <a:pt x="20" y="21"/>
                      </a:cubicBezTo>
                      <a:lnTo>
                        <a:pt x="20" y="1"/>
                      </a:lnTo>
                      <a:cubicBezTo>
                        <a:pt x="13" y="1"/>
                        <a:pt x="6" y="1"/>
                        <a:pt x="1" y="0"/>
                      </a:cubicBezTo>
                      <a:lnTo>
                        <a:pt x="0" y="20"/>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3" name="Freeform 208"/>
                <p:cNvSpPr/>
                <p:nvPr/>
              </p:nvSpPr>
              <p:spPr bwMode="auto">
                <a:xfrm>
                  <a:off x="1106487" y="2212975"/>
                  <a:ext cx="19050" cy="20638"/>
                </a:xfrm>
                <a:custGeom>
                  <a:avLst/>
                  <a:gdLst>
                    <a:gd name="T0" fmla="*/ 26 w 26"/>
                    <a:gd name="T1" fmla="*/ 10 h 27"/>
                    <a:gd name="T2" fmla="*/ 9 w 26"/>
                    <a:gd name="T3" fmla="*/ 0 h 27"/>
                    <a:gd name="T4" fmla="*/ 0 w 26"/>
                    <a:gd name="T5" fmla="*/ 19 h 27"/>
                    <a:gd name="T6" fmla="*/ 18 w 26"/>
                    <a:gd name="T7" fmla="*/ 27 h 27"/>
                    <a:gd name="T8" fmla="*/ 26 w 26"/>
                    <a:gd name="T9" fmla="*/ 10 h 27"/>
                  </a:gdLst>
                  <a:ahLst/>
                  <a:cxnLst>
                    <a:cxn ang="0">
                      <a:pos x="T0" y="T1"/>
                    </a:cxn>
                    <a:cxn ang="0">
                      <a:pos x="T2" y="T3"/>
                    </a:cxn>
                    <a:cxn ang="0">
                      <a:pos x="T4" y="T5"/>
                    </a:cxn>
                    <a:cxn ang="0">
                      <a:pos x="T6" y="T7"/>
                    </a:cxn>
                    <a:cxn ang="0">
                      <a:pos x="T8" y="T9"/>
                    </a:cxn>
                  </a:cxnLst>
                  <a:rect l="0" t="0" r="r" b="b"/>
                  <a:pathLst>
                    <a:path w="26" h="27">
                      <a:moveTo>
                        <a:pt x="26" y="10"/>
                      </a:moveTo>
                      <a:lnTo>
                        <a:pt x="9" y="0"/>
                      </a:lnTo>
                      <a:cubicBezTo>
                        <a:pt x="6" y="7"/>
                        <a:pt x="2" y="12"/>
                        <a:pt x="0" y="19"/>
                      </a:cubicBezTo>
                      <a:lnTo>
                        <a:pt x="18" y="27"/>
                      </a:lnTo>
                      <a:cubicBezTo>
                        <a:pt x="20" y="22"/>
                        <a:pt x="22" y="15"/>
                        <a:pt x="26" y="10"/>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4" name="Freeform 209"/>
                <p:cNvSpPr/>
                <p:nvPr/>
              </p:nvSpPr>
              <p:spPr bwMode="auto">
                <a:xfrm>
                  <a:off x="1366837" y="2508250"/>
                  <a:ext cx="19050" cy="19050"/>
                </a:xfrm>
                <a:custGeom>
                  <a:avLst/>
                  <a:gdLst>
                    <a:gd name="T0" fmla="*/ 0 w 25"/>
                    <a:gd name="T1" fmla="*/ 6 h 25"/>
                    <a:gd name="T2" fmla="*/ 5 w 25"/>
                    <a:gd name="T3" fmla="*/ 25 h 25"/>
                    <a:gd name="T4" fmla="*/ 25 w 25"/>
                    <a:gd name="T5" fmla="*/ 18 h 25"/>
                    <a:gd name="T6" fmla="*/ 19 w 25"/>
                    <a:gd name="T7" fmla="*/ 0 h 25"/>
                    <a:gd name="T8" fmla="*/ 0 w 25"/>
                    <a:gd name="T9" fmla="*/ 6 h 25"/>
                  </a:gdLst>
                  <a:ahLst/>
                  <a:cxnLst>
                    <a:cxn ang="0">
                      <a:pos x="T0" y="T1"/>
                    </a:cxn>
                    <a:cxn ang="0">
                      <a:pos x="T2" y="T3"/>
                    </a:cxn>
                    <a:cxn ang="0">
                      <a:pos x="T4" y="T5"/>
                    </a:cxn>
                    <a:cxn ang="0">
                      <a:pos x="T6" y="T7"/>
                    </a:cxn>
                    <a:cxn ang="0">
                      <a:pos x="T8" y="T9"/>
                    </a:cxn>
                  </a:cxnLst>
                  <a:rect l="0" t="0" r="r" b="b"/>
                  <a:pathLst>
                    <a:path w="25" h="25">
                      <a:moveTo>
                        <a:pt x="0" y="6"/>
                      </a:moveTo>
                      <a:lnTo>
                        <a:pt x="5" y="25"/>
                      </a:lnTo>
                      <a:cubicBezTo>
                        <a:pt x="12" y="24"/>
                        <a:pt x="19" y="21"/>
                        <a:pt x="25" y="18"/>
                      </a:cubicBezTo>
                      <a:lnTo>
                        <a:pt x="19" y="0"/>
                      </a:lnTo>
                      <a:cubicBezTo>
                        <a:pt x="12" y="4"/>
                        <a:pt x="7" y="5"/>
                        <a:pt x="0" y="6"/>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5" name="Freeform 210"/>
                <p:cNvSpPr/>
                <p:nvPr/>
              </p:nvSpPr>
              <p:spPr bwMode="auto">
                <a:xfrm>
                  <a:off x="1514475" y="2306638"/>
                  <a:ext cx="14288" cy="17463"/>
                </a:xfrm>
                <a:custGeom>
                  <a:avLst/>
                  <a:gdLst>
                    <a:gd name="T0" fmla="*/ 0 w 9"/>
                    <a:gd name="T1" fmla="*/ 1 h 11"/>
                    <a:gd name="T2" fmla="*/ 0 w 9"/>
                    <a:gd name="T3" fmla="*/ 5 h 11"/>
                    <a:gd name="T4" fmla="*/ 0 w 9"/>
                    <a:gd name="T5" fmla="*/ 10 h 11"/>
                    <a:gd name="T6" fmla="*/ 9 w 9"/>
                    <a:gd name="T7" fmla="*/ 11 h 11"/>
                    <a:gd name="T8" fmla="*/ 9 w 9"/>
                    <a:gd name="T9" fmla="*/ 5 h 11"/>
                    <a:gd name="T10" fmla="*/ 9 w 9"/>
                    <a:gd name="T11" fmla="*/ 0 h 11"/>
                    <a:gd name="T12" fmla="*/ 0 w 9"/>
                    <a:gd name="T13" fmla="*/ 1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0" y="1"/>
                      </a:moveTo>
                      <a:lnTo>
                        <a:pt x="0" y="5"/>
                      </a:lnTo>
                      <a:lnTo>
                        <a:pt x="0" y="10"/>
                      </a:lnTo>
                      <a:lnTo>
                        <a:pt x="9" y="11"/>
                      </a:lnTo>
                      <a:lnTo>
                        <a:pt x="9" y="5"/>
                      </a:lnTo>
                      <a:lnTo>
                        <a:pt x="9" y="0"/>
                      </a:lnTo>
                      <a:lnTo>
                        <a:pt x="0" y="1"/>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6" name="Freeform 211"/>
                <p:cNvSpPr/>
                <p:nvPr/>
              </p:nvSpPr>
              <p:spPr bwMode="auto">
                <a:xfrm>
                  <a:off x="1181100" y="2482850"/>
                  <a:ext cx="20638" cy="22225"/>
                </a:xfrm>
                <a:custGeom>
                  <a:avLst/>
                  <a:gdLst>
                    <a:gd name="T0" fmla="*/ 0 w 28"/>
                    <a:gd name="T1" fmla="*/ 17 h 28"/>
                    <a:gd name="T2" fmla="*/ 18 w 28"/>
                    <a:gd name="T3" fmla="*/ 28 h 28"/>
                    <a:gd name="T4" fmla="*/ 28 w 28"/>
                    <a:gd name="T5" fmla="*/ 10 h 28"/>
                    <a:gd name="T6" fmla="*/ 12 w 28"/>
                    <a:gd name="T7" fmla="*/ 0 h 28"/>
                    <a:gd name="T8" fmla="*/ 0 w 28"/>
                    <a:gd name="T9" fmla="*/ 17 h 28"/>
                  </a:gdLst>
                  <a:ahLst/>
                  <a:cxnLst>
                    <a:cxn ang="0">
                      <a:pos x="T0" y="T1"/>
                    </a:cxn>
                    <a:cxn ang="0">
                      <a:pos x="T2" y="T3"/>
                    </a:cxn>
                    <a:cxn ang="0">
                      <a:pos x="T4" y="T5"/>
                    </a:cxn>
                    <a:cxn ang="0">
                      <a:pos x="T6" y="T7"/>
                    </a:cxn>
                    <a:cxn ang="0">
                      <a:pos x="T8" y="T9"/>
                    </a:cxn>
                  </a:cxnLst>
                  <a:rect l="0" t="0" r="r" b="b"/>
                  <a:pathLst>
                    <a:path w="28" h="28">
                      <a:moveTo>
                        <a:pt x="0" y="17"/>
                      </a:moveTo>
                      <a:cubicBezTo>
                        <a:pt x="6" y="21"/>
                        <a:pt x="12" y="25"/>
                        <a:pt x="18" y="28"/>
                      </a:cubicBezTo>
                      <a:lnTo>
                        <a:pt x="28" y="10"/>
                      </a:lnTo>
                      <a:cubicBezTo>
                        <a:pt x="23" y="8"/>
                        <a:pt x="18" y="4"/>
                        <a:pt x="12" y="0"/>
                      </a:cubicBezTo>
                      <a:lnTo>
                        <a:pt x="0" y="17"/>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7" name="Freeform 212"/>
                <p:cNvSpPr/>
                <p:nvPr/>
              </p:nvSpPr>
              <p:spPr bwMode="auto">
                <a:xfrm>
                  <a:off x="1330325" y="2517775"/>
                  <a:ext cx="17463" cy="17463"/>
                </a:xfrm>
                <a:custGeom>
                  <a:avLst/>
                  <a:gdLst>
                    <a:gd name="T0" fmla="*/ 0 w 23"/>
                    <a:gd name="T1" fmla="*/ 3 h 23"/>
                    <a:gd name="T2" fmla="*/ 3 w 23"/>
                    <a:gd name="T3" fmla="*/ 23 h 23"/>
                    <a:gd name="T4" fmla="*/ 23 w 23"/>
                    <a:gd name="T5" fmla="*/ 20 h 23"/>
                    <a:gd name="T6" fmla="*/ 19 w 23"/>
                    <a:gd name="T7" fmla="*/ 0 h 23"/>
                    <a:gd name="T8" fmla="*/ 0 w 23"/>
                    <a:gd name="T9" fmla="*/ 3 h 23"/>
                  </a:gdLst>
                  <a:ahLst/>
                  <a:cxnLst>
                    <a:cxn ang="0">
                      <a:pos x="T0" y="T1"/>
                    </a:cxn>
                    <a:cxn ang="0">
                      <a:pos x="T2" y="T3"/>
                    </a:cxn>
                    <a:cxn ang="0">
                      <a:pos x="T4" y="T5"/>
                    </a:cxn>
                    <a:cxn ang="0">
                      <a:pos x="T6" y="T7"/>
                    </a:cxn>
                    <a:cxn ang="0">
                      <a:pos x="T8" y="T9"/>
                    </a:cxn>
                  </a:cxnLst>
                  <a:rect l="0" t="0" r="r" b="b"/>
                  <a:pathLst>
                    <a:path w="23" h="23">
                      <a:moveTo>
                        <a:pt x="0" y="3"/>
                      </a:moveTo>
                      <a:lnTo>
                        <a:pt x="3" y="23"/>
                      </a:lnTo>
                      <a:cubicBezTo>
                        <a:pt x="9" y="22"/>
                        <a:pt x="16" y="22"/>
                        <a:pt x="23" y="20"/>
                      </a:cubicBezTo>
                      <a:lnTo>
                        <a:pt x="19" y="0"/>
                      </a:lnTo>
                      <a:cubicBezTo>
                        <a:pt x="13" y="0"/>
                        <a:pt x="7" y="2"/>
                        <a:pt x="0" y="3"/>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8" name="Freeform 213"/>
                <p:cNvSpPr/>
                <p:nvPr/>
              </p:nvSpPr>
              <p:spPr bwMode="auto">
                <a:xfrm>
                  <a:off x="1087437" y="2287588"/>
                  <a:ext cx="15875" cy="15875"/>
                </a:xfrm>
                <a:custGeom>
                  <a:avLst/>
                  <a:gdLst>
                    <a:gd name="T0" fmla="*/ 21 w 21"/>
                    <a:gd name="T1" fmla="*/ 3 h 21"/>
                    <a:gd name="T2" fmla="*/ 1 w 21"/>
                    <a:gd name="T3" fmla="*/ 0 h 21"/>
                    <a:gd name="T4" fmla="*/ 0 w 21"/>
                    <a:gd name="T5" fmla="*/ 20 h 21"/>
                    <a:gd name="T6" fmla="*/ 20 w 21"/>
                    <a:gd name="T7" fmla="*/ 21 h 21"/>
                    <a:gd name="T8" fmla="*/ 21 w 21"/>
                    <a:gd name="T9" fmla="*/ 3 h 21"/>
                  </a:gdLst>
                  <a:ahLst/>
                  <a:cxnLst>
                    <a:cxn ang="0">
                      <a:pos x="T0" y="T1"/>
                    </a:cxn>
                    <a:cxn ang="0">
                      <a:pos x="T2" y="T3"/>
                    </a:cxn>
                    <a:cxn ang="0">
                      <a:pos x="T4" y="T5"/>
                    </a:cxn>
                    <a:cxn ang="0">
                      <a:pos x="T6" y="T7"/>
                    </a:cxn>
                    <a:cxn ang="0">
                      <a:pos x="T8" y="T9"/>
                    </a:cxn>
                  </a:cxnLst>
                  <a:rect l="0" t="0" r="r" b="b"/>
                  <a:pathLst>
                    <a:path w="21" h="21">
                      <a:moveTo>
                        <a:pt x="21" y="3"/>
                      </a:moveTo>
                      <a:lnTo>
                        <a:pt x="1" y="0"/>
                      </a:lnTo>
                      <a:cubicBezTo>
                        <a:pt x="0" y="7"/>
                        <a:pt x="0" y="13"/>
                        <a:pt x="0" y="20"/>
                      </a:cubicBezTo>
                      <a:lnTo>
                        <a:pt x="20" y="21"/>
                      </a:lnTo>
                      <a:cubicBezTo>
                        <a:pt x="20" y="16"/>
                        <a:pt x="21" y="9"/>
                        <a:pt x="21" y="3"/>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39" name="Freeform 214"/>
                <p:cNvSpPr/>
                <p:nvPr/>
              </p:nvSpPr>
              <p:spPr bwMode="auto">
                <a:xfrm>
                  <a:off x="1087437" y="2327275"/>
                  <a:ext cx="15875" cy="15875"/>
                </a:xfrm>
                <a:custGeom>
                  <a:avLst/>
                  <a:gdLst>
                    <a:gd name="T0" fmla="*/ 20 w 21"/>
                    <a:gd name="T1" fmla="*/ 0 h 20"/>
                    <a:gd name="T2" fmla="*/ 0 w 21"/>
                    <a:gd name="T3" fmla="*/ 0 h 20"/>
                    <a:gd name="T4" fmla="*/ 1 w 21"/>
                    <a:gd name="T5" fmla="*/ 20 h 20"/>
                    <a:gd name="T6" fmla="*/ 21 w 21"/>
                    <a:gd name="T7" fmla="*/ 17 h 20"/>
                    <a:gd name="T8" fmla="*/ 20 w 21"/>
                    <a:gd name="T9" fmla="*/ 0 h 20"/>
                  </a:gdLst>
                  <a:ahLst/>
                  <a:cxnLst>
                    <a:cxn ang="0">
                      <a:pos x="T0" y="T1"/>
                    </a:cxn>
                    <a:cxn ang="0">
                      <a:pos x="T2" y="T3"/>
                    </a:cxn>
                    <a:cxn ang="0">
                      <a:pos x="T4" y="T5"/>
                    </a:cxn>
                    <a:cxn ang="0">
                      <a:pos x="T6" y="T7"/>
                    </a:cxn>
                    <a:cxn ang="0">
                      <a:pos x="T8" y="T9"/>
                    </a:cxn>
                  </a:cxnLst>
                  <a:rect l="0" t="0" r="r" b="b"/>
                  <a:pathLst>
                    <a:path w="21" h="20">
                      <a:moveTo>
                        <a:pt x="20" y="0"/>
                      </a:moveTo>
                      <a:lnTo>
                        <a:pt x="0" y="0"/>
                      </a:lnTo>
                      <a:cubicBezTo>
                        <a:pt x="0" y="7"/>
                        <a:pt x="1" y="13"/>
                        <a:pt x="1" y="20"/>
                      </a:cubicBezTo>
                      <a:lnTo>
                        <a:pt x="21" y="17"/>
                      </a:lnTo>
                      <a:cubicBezTo>
                        <a:pt x="21" y="12"/>
                        <a:pt x="20" y="5"/>
                        <a:pt x="20" y="0"/>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40" name="Freeform 215"/>
                <p:cNvSpPr/>
                <p:nvPr/>
              </p:nvSpPr>
              <p:spPr bwMode="auto">
                <a:xfrm>
                  <a:off x="1125537" y="2430463"/>
                  <a:ext cx="20638" cy="22225"/>
                </a:xfrm>
                <a:custGeom>
                  <a:avLst/>
                  <a:gdLst>
                    <a:gd name="T0" fmla="*/ 0 w 13"/>
                    <a:gd name="T1" fmla="*/ 6 h 14"/>
                    <a:gd name="T2" fmla="*/ 5 w 13"/>
                    <a:gd name="T3" fmla="*/ 14 h 14"/>
                    <a:gd name="T4" fmla="*/ 13 w 13"/>
                    <a:gd name="T5" fmla="*/ 8 h 14"/>
                    <a:gd name="T6" fmla="*/ 7 w 13"/>
                    <a:gd name="T7" fmla="*/ 0 h 14"/>
                    <a:gd name="T8" fmla="*/ 0 w 13"/>
                    <a:gd name="T9" fmla="*/ 6 h 14"/>
                  </a:gdLst>
                  <a:ahLst/>
                  <a:cxnLst>
                    <a:cxn ang="0">
                      <a:pos x="T0" y="T1"/>
                    </a:cxn>
                    <a:cxn ang="0">
                      <a:pos x="T2" y="T3"/>
                    </a:cxn>
                    <a:cxn ang="0">
                      <a:pos x="T4" y="T5"/>
                    </a:cxn>
                    <a:cxn ang="0">
                      <a:pos x="T6" y="T7"/>
                    </a:cxn>
                    <a:cxn ang="0">
                      <a:pos x="T8" y="T9"/>
                    </a:cxn>
                  </a:cxnLst>
                  <a:rect l="0" t="0" r="r" b="b"/>
                  <a:pathLst>
                    <a:path w="13" h="14">
                      <a:moveTo>
                        <a:pt x="0" y="6"/>
                      </a:moveTo>
                      <a:lnTo>
                        <a:pt x="5" y="14"/>
                      </a:lnTo>
                      <a:lnTo>
                        <a:pt x="13" y="8"/>
                      </a:lnTo>
                      <a:lnTo>
                        <a:pt x="7" y="0"/>
                      </a:lnTo>
                      <a:lnTo>
                        <a:pt x="0" y="6"/>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41" name="Freeform 216"/>
                <p:cNvSpPr/>
                <p:nvPr/>
              </p:nvSpPr>
              <p:spPr bwMode="auto">
                <a:xfrm>
                  <a:off x="1093787" y="2251075"/>
                  <a:ext cx="17463" cy="17463"/>
                </a:xfrm>
                <a:custGeom>
                  <a:avLst/>
                  <a:gdLst>
                    <a:gd name="T0" fmla="*/ 24 w 24"/>
                    <a:gd name="T1" fmla="*/ 5 h 24"/>
                    <a:gd name="T2" fmla="*/ 5 w 24"/>
                    <a:gd name="T3" fmla="*/ 0 h 24"/>
                    <a:gd name="T4" fmla="*/ 0 w 24"/>
                    <a:gd name="T5" fmla="*/ 20 h 24"/>
                    <a:gd name="T6" fmla="*/ 18 w 24"/>
                    <a:gd name="T7" fmla="*/ 24 h 24"/>
                    <a:gd name="T8" fmla="*/ 24 w 24"/>
                    <a:gd name="T9" fmla="*/ 5 h 24"/>
                  </a:gdLst>
                  <a:ahLst/>
                  <a:cxnLst>
                    <a:cxn ang="0">
                      <a:pos x="T0" y="T1"/>
                    </a:cxn>
                    <a:cxn ang="0">
                      <a:pos x="T2" y="T3"/>
                    </a:cxn>
                    <a:cxn ang="0">
                      <a:pos x="T4" y="T5"/>
                    </a:cxn>
                    <a:cxn ang="0">
                      <a:pos x="T6" y="T7"/>
                    </a:cxn>
                    <a:cxn ang="0">
                      <a:pos x="T8" y="T9"/>
                    </a:cxn>
                  </a:cxnLst>
                  <a:rect l="0" t="0" r="r" b="b"/>
                  <a:pathLst>
                    <a:path w="24" h="24">
                      <a:moveTo>
                        <a:pt x="24" y="5"/>
                      </a:moveTo>
                      <a:lnTo>
                        <a:pt x="5" y="0"/>
                      </a:lnTo>
                      <a:cubicBezTo>
                        <a:pt x="2" y="6"/>
                        <a:pt x="1" y="13"/>
                        <a:pt x="0" y="20"/>
                      </a:cubicBezTo>
                      <a:lnTo>
                        <a:pt x="18" y="24"/>
                      </a:lnTo>
                      <a:cubicBezTo>
                        <a:pt x="20" y="17"/>
                        <a:pt x="21" y="10"/>
                        <a:pt x="24" y="5"/>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42" name="Freeform 217"/>
                <p:cNvSpPr/>
                <p:nvPr/>
              </p:nvSpPr>
              <p:spPr bwMode="auto">
                <a:xfrm>
                  <a:off x="1106487" y="2398713"/>
                  <a:ext cx="19050" cy="20638"/>
                </a:xfrm>
                <a:custGeom>
                  <a:avLst/>
                  <a:gdLst>
                    <a:gd name="T0" fmla="*/ 18 w 26"/>
                    <a:gd name="T1" fmla="*/ 0 h 27"/>
                    <a:gd name="T2" fmla="*/ 0 w 26"/>
                    <a:gd name="T3" fmla="*/ 8 h 27"/>
                    <a:gd name="T4" fmla="*/ 9 w 26"/>
                    <a:gd name="T5" fmla="*/ 27 h 27"/>
                    <a:gd name="T6" fmla="*/ 26 w 26"/>
                    <a:gd name="T7" fmla="*/ 18 h 27"/>
                    <a:gd name="T8" fmla="*/ 18 w 26"/>
                    <a:gd name="T9" fmla="*/ 0 h 27"/>
                  </a:gdLst>
                  <a:ahLst/>
                  <a:cxnLst>
                    <a:cxn ang="0">
                      <a:pos x="T0" y="T1"/>
                    </a:cxn>
                    <a:cxn ang="0">
                      <a:pos x="T2" y="T3"/>
                    </a:cxn>
                    <a:cxn ang="0">
                      <a:pos x="T4" y="T5"/>
                    </a:cxn>
                    <a:cxn ang="0">
                      <a:pos x="T6" y="T7"/>
                    </a:cxn>
                    <a:cxn ang="0">
                      <a:pos x="T8" y="T9"/>
                    </a:cxn>
                  </a:cxnLst>
                  <a:rect l="0" t="0" r="r" b="b"/>
                  <a:pathLst>
                    <a:path w="26" h="27">
                      <a:moveTo>
                        <a:pt x="18" y="0"/>
                      </a:moveTo>
                      <a:lnTo>
                        <a:pt x="0" y="8"/>
                      </a:lnTo>
                      <a:cubicBezTo>
                        <a:pt x="2" y="15"/>
                        <a:pt x="5" y="20"/>
                        <a:pt x="9" y="27"/>
                      </a:cubicBezTo>
                      <a:lnTo>
                        <a:pt x="26" y="18"/>
                      </a:lnTo>
                      <a:cubicBezTo>
                        <a:pt x="24" y="12"/>
                        <a:pt x="21" y="6"/>
                        <a:pt x="18" y="0"/>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43" name="Freeform 218"/>
                <p:cNvSpPr/>
                <p:nvPr/>
              </p:nvSpPr>
              <p:spPr bwMode="auto">
                <a:xfrm>
                  <a:off x="1093787" y="2363788"/>
                  <a:ext cx="17463" cy="20638"/>
                </a:xfrm>
                <a:custGeom>
                  <a:avLst/>
                  <a:gdLst>
                    <a:gd name="T0" fmla="*/ 18 w 24"/>
                    <a:gd name="T1" fmla="*/ 0 h 25"/>
                    <a:gd name="T2" fmla="*/ 0 w 24"/>
                    <a:gd name="T3" fmla="*/ 5 h 25"/>
                    <a:gd name="T4" fmla="*/ 5 w 24"/>
                    <a:gd name="T5" fmla="*/ 25 h 25"/>
                    <a:gd name="T6" fmla="*/ 24 w 24"/>
                    <a:gd name="T7" fmla="*/ 19 h 25"/>
                    <a:gd name="T8" fmla="*/ 18 w 24"/>
                    <a:gd name="T9" fmla="*/ 0 h 25"/>
                  </a:gdLst>
                  <a:ahLst/>
                  <a:cxnLst>
                    <a:cxn ang="0">
                      <a:pos x="T0" y="T1"/>
                    </a:cxn>
                    <a:cxn ang="0">
                      <a:pos x="T2" y="T3"/>
                    </a:cxn>
                    <a:cxn ang="0">
                      <a:pos x="T4" y="T5"/>
                    </a:cxn>
                    <a:cxn ang="0">
                      <a:pos x="T6" y="T7"/>
                    </a:cxn>
                    <a:cxn ang="0">
                      <a:pos x="T8" y="T9"/>
                    </a:cxn>
                  </a:cxnLst>
                  <a:rect l="0" t="0" r="r" b="b"/>
                  <a:pathLst>
                    <a:path w="24" h="25">
                      <a:moveTo>
                        <a:pt x="18" y="0"/>
                      </a:moveTo>
                      <a:lnTo>
                        <a:pt x="0" y="5"/>
                      </a:lnTo>
                      <a:cubicBezTo>
                        <a:pt x="1" y="12"/>
                        <a:pt x="4" y="19"/>
                        <a:pt x="5" y="25"/>
                      </a:cubicBezTo>
                      <a:lnTo>
                        <a:pt x="24" y="19"/>
                      </a:lnTo>
                      <a:cubicBezTo>
                        <a:pt x="22" y="12"/>
                        <a:pt x="20" y="5"/>
                        <a:pt x="18" y="0"/>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44" name="Freeform 219"/>
                <p:cNvSpPr/>
                <p:nvPr/>
              </p:nvSpPr>
              <p:spPr bwMode="auto">
                <a:xfrm>
                  <a:off x="1606550" y="2011363"/>
                  <a:ext cx="66675" cy="136525"/>
                </a:xfrm>
                <a:custGeom>
                  <a:avLst/>
                  <a:gdLst>
                    <a:gd name="T0" fmla="*/ 62 w 88"/>
                    <a:gd name="T1" fmla="*/ 46 h 178"/>
                    <a:gd name="T2" fmla="*/ 68 w 88"/>
                    <a:gd name="T3" fmla="*/ 60 h 178"/>
                    <a:gd name="T4" fmla="*/ 88 w 88"/>
                    <a:gd name="T5" fmla="*/ 60 h 178"/>
                    <a:gd name="T6" fmla="*/ 75 w 88"/>
                    <a:gd name="T7" fmla="*/ 32 h 178"/>
                    <a:gd name="T8" fmla="*/ 55 w 88"/>
                    <a:gd name="T9" fmla="*/ 22 h 178"/>
                    <a:gd name="T10" fmla="*/ 55 w 88"/>
                    <a:gd name="T11" fmla="*/ 0 h 178"/>
                    <a:gd name="T12" fmla="*/ 35 w 88"/>
                    <a:gd name="T13" fmla="*/ 0 h 178"/>
                    <a:gd name="T14" fmla="*/ 35 w 88"/>
                    <a:gd name="T15" fmla="*/ 22 h 178"/>
                    <a:gd name="T16" fmla="*/ 14 w 88"/>
                    <a:gd name="T17" fmla="*/ 32 h 178"/>
                    <a:gd name="T18" fmla="*/ 0 w 88"/>
                    <a:gd name="T19" fmla="*/ 60 h 178"/>
                    <a:gd name="T20" fmla="*/ 14 w 88"/>
                    <a:gd name="T21" fmla="*/ 88 h 178"/>
                    <a:gd name="T22" fmla="*/ 44 w 88"/>
                    <a:gd name="T23" fmla="*/ 98 h 178"/>
                    <a:gd name="T24" fmla="*/ 62 w 88"/>
                    <a:gd name="T25" fmla="*/ 105 h 178"/>
                    <a:gd name="T26" fmla="*/ 68 w 88"/>
                    <a:gd name="T27" fmla="*/ 118 h 178"/>
                    <a:gd name="T28" fmla="*/ 62 w 88"/>
                    <a:gd name="T29" fmla="*/ 132 h 178"/>
                    <a:gd name="T30" fmla="*/ 27 w 88"/>
                    <a:gd name="T31" fmla="*/ 132 h 178"/>
                    <a:gd name="T32" fmla="*/ 20 w 88"/>
                    <a:gd name="T33" fmla="*/ 118 h 178"/>
                    <a:gd name="T34" fmla="*/ 0 w 88"/>
                    <a:gd name="T35" fmla="*/ 118 h 178"/>
                    <a:gd name="T36" fmla="*/ 14 w 88"/>
                    <a:gd name="T37" fmla="*/ 146 h 178"/>
                    <a:gd name="T38" fmla="*/ 35 w 88"/>
                    <a:gd name="T39" fmla="*/ 156 h 178"/>
                    <a:gd name="T40" fmla="*/ 35 w 88"/>
                    <a:gd name="T41" fmla="*/ 178 h 178"/>
                    <a:gd name="T42" fmla="*/ 55 w 88"/>
                    <a:gd name="T43" fmla="*/ 178 h 178"/>
                    <a:gd name="T44" fmla="*/ 55 w 88"/>
                    <a:gd name="T45" fmla="*/ 156 h 178"/>
                    <a:gd name="T46" fmla="*/ 75 w 88"/>
                    <a:gd name="T47" fmla="*/ 146 h 178"/>
                    <a:gd name="T48" fmla="*/ 88 w 88"/>
                    <a:gd name="T49" fmla="*/ 118 h 178"/>
                    <a:gd name="T50" fmla="*/ 75 w 88"/>
                    <a:gd name="T51" fmla="*/ 90 h 178"/>
                    <a:gd name="T52" fmla="*/ 44 w 88"/>
                    <a:gd name="T53" fmla="*/ 80 h 178"/>
                    <a:gd name="T54" fmla="*/ 27 w 88"/>
                    <a:gd name="T55" fmla="*/ 73 h 178"/>
                    <a:gd name="T56" fmla="*/ 20 w 88"/>
                    <a:gd name="T57" fmla="*/ 60 h 178"/>
                    <a:gd name="T58" fmla="*/ 27 w 88"/>
                    <a:gd name="T59" fmla="*/ 46 h 178"/>
                    <a:gd name="T60" fmla="*/ 62 w 88"/>
                    <a:gd name="T61" fmla="*/ 4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8" h="178">
                      <a:moveTo>
                        <a:pt x="62" y="46"/>
                      </a:moveTo>
                      <a:cubicBezTo>
                        <a:pt x="66" y="50"/>
                        <a:pt x="68" y="54"/>
                        <a:pt x="68" y="60"/>
                      </a:cubicBezTo>
                      <a:lnTo>
                        <a:pt x="88" y="60"/>
                      </a:lnTo>
                      <a:cubicBezTo>
                        <a:pt x="88" y="49"/>
                        <a:pt x="83" y="38"/>
                        <a:pt x="75" y="32"/>
                      </a:cubicBezTo>
                      <a:cubicBezTo>
                        <a:pt x="70" y="26"/>
                        <a:pt x="62" y="24"/>
                        <a:pt x="55" y="22"/>
                      </a:cubicBezTo>
                      <a:lnTo>
                        <a:pt x="55" y="0"/>
                      </a:lnTo>
                      <a:lnTo>
                        <a:pt x="35" y="0"/>
                      </a:lnTo>
                      <a:lnTo>
                        <a:pt x="35" y="22"/>
                      </a:lnTo>
                      <a:cubicBezTo>
                        <a:pt x="27" y="24"/>
                        <a:pt x="20" y="26"/>
                        <a:pt x="14" y="32"/>
                      </a:cubicBezTo>
                      <a:cubicBezTo>
                        <a:pt x="6" y="40"/>
                        <a:pt x="0" y="49"/>
                        <a:pt x="0" y="60"/>
                      </a:cubicBezTo>
                      <a:cubicBezTo>
                        <a:pt x="0" y="70"/>
                        <a:pt x="6" y="81"/>
                        <a:pt x="14" y="88"/>
                      </a:cubicBezTo>
                      <a:cubicBezTo>
                        <a:pt x="22" y="94"/>
                        <a:pt x="32" y="98"/>
                        <a:pt x="44" y="98"/>
                      </a:cubicBezTo>
                      <a:cubicBezTo>
                        <a:pt x="51" y="98"/>
                        <a:pt x="58" y="101"/>
                        <a:pt x="62" y="105"/>
                      </a:cubicBezTo>
                      <a:cubicBezTo>
                        <a:pt x="66" y="109"/>
                        <a:pt x="68" y="113"/>
                        <a:pt x="68" y="118"/>
                      </a:cubicBezTo>
                      <a:cubicBezTo>
                        <a:pt x="68" y="124"/>
                        <a:pt x="66" y="128"/>
                        <a:pt x="62" y="132"/>
                      </a:cubicBezTo>
                      <a:cubicBezTo>
                        <a:pt x="52" y="140"/>
                        <a:pt x="36" y="140"/>
                        <a:pt x="27" y="132"/>
                      </a:cubicBezTo>
                      <a:cubicBezTo>
                        <a:pt x="23" y="128"/>
                        <a:pt x="20" y="124"/>
                        <a:pt x="20" y="118"/>
                      </a:cubicBezTo>
                      <a:lnTo>
                        <a:pt x="0" y="118"/>
                      </a:lnTo>
                      <a:cubicBezTo>
                        <a:pt x="0" y="129"/>
                        <a:pt x="6" y="140"/>
                        <a:pt x="14" y="146"/>
                      </a:cubicBezTo>
                      <a:cubicBezTo>
                        <a:pt x="19" y="152"/>
                        <a:pt x="27" y="154"/>
                        <a:pt x="35" y="156"/>
                      </a:cubicBezTo>
                      <a:lnTo>
                        <a:pt x="35" y="178"/>
                      </a:lnTo>
                      <a:lnTo>
                        <a:pt x="55" y="178"/>
                      </a:lnTo>
                      <a:lnTo>
                        <a:pt x="55" y="156"/>
                      </a:lnTo>
                      <a:cubicBezTo>
                        <a:pt x="63" y="154"/>
                        <a:pt x="70" y="150"/>
                        <a:pt x="75" y="146"/>
                      </a:cubicBezTo>
                      <a:cubicBezTo>
                        <a:pt x="83" y="138"/>
                        <a:pt x="88" y="129"/>
                        <a:pt x="88" y="118"/>
                      </a:cubicBezTo>
                      <a:cubicBezTo>
                        <a:pt x="88" y="108"/>
                        <a:pt x="83" y="97"/>
                        <a:pt x="75" y="90"/>
                      </a:cubicBezTo>
                      <a:cubicBezTo>
                        <a:pt x="67" y="84"/>
                        <a:pt x="56" y="80"/>
                        <a:pt x="44" y="80"/>
                      </a:cubicBezTo>
                      <a:cubicBezTo>
                        <a:pt x="38" y="80"/>
                        <a:pt x="31" y="77"/>
                        <a:pt x="27" y="73"/>
                      </a:cubicBezTo>
                      <a:cubicBezTo>
                        <a:pt x="23" y="69"/>
                        <a:pt x="20" y="65"/>
                        <a:pt x="20" y="60"/>
                      </a:cubicBezTo>
                      <a:cubicBezTo>
                        <a:pt x="20" y="54"/>
                        <a:pt x="23" y="50"/>
                        <a:pt x="27" y="46"/>
                      </a:cubicBezTo>
                      <a:cubicBezTo>
                        <a:pt x="36" y="38"/>
                        <a:pt x="52" y="38"/>
                        <a:pt x="62" y="46"/>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45" name="Freeform 220"/>
                <p:cNvSpPr>
                  <a:spLocks noEditPoints="1"/>
                </p:cNvSpPr>
                <p:nvPr/>
              </p:nvSpPr>
              <p:spPr bwMode="auto">
                <a:xfrm>
                  <a:off x="1528762" y="1970088"/>
                  <a:ext cx="220663" cy="220663"/>
                </a:xfrm>
                <a:custGeom>
                  <a:avLst/>
                  <a:gdLst>
                    <a:gd name="T0" fmla="*/ 144 w 288"/>
                    <a:gd name="T1" fmla="*/ 0 h 288"/>
                    <a:gd name="T2" fmla="*/ 0 w 288"/>
                    <a:gd name="T3" fmla="*/ 144 h 288"/>
                    <a:gd name="T4" fmla="*/ 144 w 288"/>
                    <a:gd name="T5" fmla="*/ 288 h 288"/>
                    <a:gd name="T6" fmla="*/ 288 w 288"/>
                    <a:gd name="T7" fmla="*/ 144 h 288"/>
                    <a:gd name="T8" fmla="*/ 144 w 288"/>
                    <a:gd name="T9" fmla="*/ 0 h 288"/>
                    <a:gd name="T10" fmla="*/ 144 w 288"/>
                    <a:gd name="T11" fmla="*/ 268 h 288"/>
                    <a:gd name="T12" fmla="*/ 20 w 288"/>
                    <a:gd name="T13" fmla="*/ 144 h 288"/>
                    <a:gd name="T14" fmla="*/ 144 w 288"/>
                    <a:gd name="T15" fmla="*/ 20 h 288"/>
                    <a:gd name="T16" fmla="*/ 268 w 288"/>
                    <a:gd name="T17" fmla="*/ 144 h 288"/>
                    <a:gd name="T18" fmla="*/ 144 w 288"/>
                    <a:gd name="T19" fmla="*/ 268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8" h="288">
                      <a:moveTo>
                        <a:pt x="144" y="0"/>
                      </a:moveTo>
                      <a:cubicBezTo>
                        <a:pt x="64" y="0"/>
                        <a:pt x="0" y="65"/>
                        <a:pt x="0" y="144"/>
                      </a:cubicBezTo>
                      <a:cubicBezTo>
                        <a:pt x="0" y="224"/>
                        <a:pt x="66" y="288"/>
                        <a:pt x="144" y="288"/>
                      </a:cubicBezTo>
                      <a:cubicBezTo>
                        <a:pt x="223" y="288"/>
                        <a:pt x="288" y="223"/>
                        <a:pt x="288" y="144"/>
                      </a:cubicBezTo>
                      <a:cubicBezTo>
                        <a:pt x="288" y="64"/>
                        <a:pt x="223" y="0"/>
                        <a:pt x="144" y="0"/>
                      </a:cubicBezTo>
                      <a:close/>
                      <a:moveTo>
                        <a:pt x="144" y="268"/>
                      </a:moveTo>
                      <a:cubicBezTo>
                        <a:pt x="76" y="268"/>
                        <a:pt x="20" y="212"/>
                        <a:pt x="20" y="144"/>
                      </a:cubicBezTo>
                      <a:cubicBezTo>
                        <a:pt x="20" y="76"/>
                        <a:pt x="76" y="20"/>
                        <a:pt x="144" y="20"/>
                      </a:cubicBezTo>
                      <a:cubicBezTo>
                        <a:pt x="212" y="20"/>
                        <a:pt x="268" y="76"/>
                        <a:pt x="268" y="144"/>
                      </a:cubicBezTo>
                      <a:cubicBezTo>
                        <a:pt x="268" y="212"/>
                        <a:pt x="212" y="268"/>
                        <a:pt x="144" y="268"/>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46" name="Freeform 221"/>
                <p:cNvSpPr>
                  <a:spLocks noEditPoints="1"/>
                </p:cNvSpPr>
                <p:nvPr/>
              </p:nvSpPr>
              <p:spPr bwMode="auto">
                <a:xfrm>
                  <a:off x="1133475" y="2139950"/>
                  <a:ext cx="393700" cy="433388"/>
                </a:xfrm>
                <a:custGeom>
                  <a:avLst/>
                  <a:gdLst>
                    <a:gd name="T0" fmla="*/ 516 w 516"/>
                    <a:gd name="T1" fmla="*/ 426 h 566"/>
                    <a:gd name="T2" fmla="*/ 509 w 516"/>
                    <a:gd name="T3" fmla="*/ 417 h 566"/>
                    <a:gd name="T4" fmla="*/ 398 w 516"/>
                    <a:gd name="T5" fmla="*/ 381 h 566"/>
                    <a:gd name="T6" fmla="*/ 457 w 516"/>
                    <a:gd name="T7" fmla="*/ 228 h 566"/>
                    <a:gd name="T8" fmla="*/ 229 w 516"/>
                    <a:gd name="T9" fmla="*/ 0 h 566"/>
                    <a:gd name="T10" fmla="*/ 0 w 516"/>
                    <a:gd name="T11" fmla="*/ 229 h 566"/>
                    <a:gd name="T12" fmla="*/ 228 w 516"/>
                    <a:gd name="T13" fmla="*/ 457 h 566"/>
                    <a:gd name="T14" fmla="*/ 326 w 516"/>
                    <a:gd name="T15" fmla="*/ 434 h 566"/>
                    <a:gd name="T16" fmla="*/ 366 w 516"/>
                    <a:gd name="T17" fmla="*/ 560 h 566"/>
                    <a:gd name="T18" fmla="*/ 376 w 516"/>
                    <a:gd name="T19" fmla="*/ 566 h 566"/>
                    <a:gd name="T20" fmla="*/ 376 w 516"/>
                    <a:gd name="T21" fmla="*/ 566 h 566"/>
                    <a:gd name="T22" fmla="*/ 385 w 516"/>
                    <a:gd name="T23" fmla="*/ 560 h 566"/>
                    <a:gd name="T24" fmla="*/ 414 w 516"/>
                    <a:gd name="T25" fmla="*/ 480 h 566"/>
                    <a:gd name="T26" fmla="*/ 498 w 516"/>
                    <a:gd name="T27" fmla="*/ 564 h 566"/>
                    <a:gd name="T28" fmla="*/ 505 w 516"/>
                    <a:gd name="T29" fmla="*/ 566 h 566"/>
                    <a:gd name="T30" fmla="*/ 512 w 516"/>
                    <a:gd name="T31" fmla="*/ 564 h 566"/>
                    <a:gd name="T32" fmla="*/ 512 w 516"/>
                    <a:gd name="T33" fmla="*/ 549 h 566"/>
                    <a:gd name="T34" fmla="*/ 428 w 516"/>
                    <a:gd name="T35" fmla="*/ 465 h 566"/>
                    <a:gd name="T36" fmla="*/ 508 w 516"/>
                    <a:gd name="T37" fmla="*/ 436 h 566"/>
                    <a:gd name="T38" fmla="*/ 516 w 516"/>
                    <a:gd name="T39" fmla="*/ 426 h 566"/>
                    <a:gd name="T40" fmla="*/ 229 w 516"/>
                    <a:gd name="T41" fmla="*/ 437 h 566"/>
                    <a:gd name="T42" fmla="*/ 20 w 516"/>
                    <a:gd name="T43" fmla="*/ 229 h 566"/>
                    <a:gd name="T44" fmla="*/ 229 w 516"/>
                    <a:gd name="T45" fmla="*/ 20 h 566"/>
                    <a:gd name="T46" fmla="*/ 438 w 516"/>
                    <a:gd name="T47" fmla="*/ 229 h 566"/>
                    <a:gd name="T48" fmla="*/ 378 w 516"/>
                    <a:gd name="T49" fmla="*/ 376 h 566"/>
                    <a:gd name="T50" fmla="*/ 320 w 516"/>
                    <a:gd name="T51" fmla="*/ 357 h 566"/>
                    <a:gd name="T52" fmla="*/ 309 w 516"/>
                    <a:gd name="T53" fmla="*/ 360 h 566"/>
                    <a:gd name="T54" fmla="*/ 306 w 516"/>
                    <a:gd name="T55" fmla="*/ 370 h 566"/>
                    <a:gd name="T56" fmla="*/ 321 w 516"/>
                    <a:gd name="T57" fmla="*/ 417 h 566"/>
                    <a:gd name="T58" fmla="*/ 229 w 516"/>
                    <a:gd name="T59" fmla="*/ 437 h 566"/>
                    <a:gd name="T60" fmla="*/ 408 w 516"/>
                    <a:gd name="T61" fmla="*/ 452 h 566"/>
                    <a:gd name="T62" fmla="*/ 408 w 516"/>
                    <a:gd name="T63" fmla="*/ 452 h 566"/>
                    <a:gd name="T64" fmla="*/ 404 w 516"/>
                    <a:gd name="T65" fmla="*/ 454 h 566"/>
                    <a:gd name="T66" fmla="*/ 401 w 516"/>
                    <a:gd name="T67" fmla="*/ 458 h 566"/>
                    <a:gd name="T68" fmla="*/ 401 w 516"/>
                    <a:gd name="T69" fmla="*/ 458 h 566"/>
                    <a:gd name="T70" fmla="*/ 376 w 516"/>
                    <a:gd name="T71" fmla="*/ 526 h 566"/>
                    <a:gd name="T72" fmla="*/ 329 w 516"/>
                    <a:gd name="T73" fmla="*/ 381 h 566"/>
                    <a:gd name="T74" fmla="*/ 474 w 516"/>
                    <a:gd name="T75" fmla="*/ 428 h 566"/>
                    <a:gd name="T76" fmla="*/ 408 w 516"/>
                    <a:gd name="T77" fmla="*/ 452 h 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6" h="566">
                      <a:moveTo>
                        <a:pt x="516" y="426"/>
                      </a:moveTo>
                      <a:cubicBezTo>
                        <a:pt x="516" y="422"/>
                        <a:pt x="513" y="418"/>
                        <a:pt x="509" y="417"/>
                      </a:cubicBezTo>
                      <a:lnTo>
                        <a:pt x="398" y="381"/>
                      </a:lnTo>
                      <a:cubicBezTo>
                        <a:pt x="437" y="338"/>
                        <a:pt x="457" y="285"/>
                        <a:pt x="457" y="228"/>
                      </a:cubicBezTo>
                      <a:cubicBezTo>
                        <a:pt x="457" y="101"/>
                        <a:pt x="354" y="0"/>
                        <a:pt x="229" y="0"/>
                      </a:cubicBezTo>
                      <a:cubicBezTo>
                        <a:pt x="104" y="0"/>
                        <a:pt x="0" y="102"/>
                        <a:pt x="0" y="229"/>
                      </a:cubicBezTo>
                      <a:cubicBezTo>
                        <a:pt x="0" y="356"/>
                        <a:pt x="102" y="457"/>
                        <a:pt x="228" y="457"/>
                      </a:cubicBezTo>
                      <a:cubicBezTo>
                        <a:pt x="262" y="457"/>
                        <a:pt x="296" y="449"/>
                        <a:pt x="326" y="434"/>
                      </a:cubicBezTo>
                      <a:lnTo>
                        <a:pt x="366" y="560"/>
                      </a:lnTo>
                      <a:cubicBezTo>
                        <a:pt x="368" y="564"/>
                        <a:pt x="372" y="566"/>
                        <a:pt x="376" y="566"/>
                      </a:cubicBezTo>
                      <a:lnTo>
                        <a:pt x="376" y="566"/>
                      </a:lnTo>
                      <a:cubicBezTo>
                        <a:pt x="380" y="566"/>
                        <a:pt x="384" y="564"/>
                        <a:pt x="385" y="560"/>
                      </a:cubicBezTo>
                      <a:lnTo>
                        <a:pt x="414" y="480"/>
                      </a:lnTo>
                      <a:lnTo>
                        <a:pt x="498" y="564"/>
                      </a:lnTo>
                      <a:cubicBezTo>
                        <a:pt x="500" y="565"/>
                        <a:pt x="502" y="566"/>
                        <a:pt x="505" y="566"/>
                      </a:cubicBezTo>
                      <a:cubicBezTo>
                        <a:pt x="508" y="566"/>
                        <a:pt x="510" y="565"/>
                        <a:pt x="512" y="564"/>
                      </a:cubicBezTo>
                      <a:cubicBezTo>
                        <a:pt x="516" y="560"/>
                        <a:pt x="516" y="553"/>
                        <a:pt x="512" y="549"/>
                      </a:cubicBezTo>
                      <a:lnTo>
                        <a:pt x="428" y="465"/>
                      </a:lnTo>
                      <a:lnTo>
                        <a:pt x="508" y="436"/>
                      </a:lnTo>
                      <a:cubicBezTo>
                        <a:pt x="513" y="434"/>
                        <a:pt x="516" y="430"/>
                        <a:pt x="516" y="426"/>
                      </a:cubicBezTo>
                      <a:close/>
                      <a:moveTo>
                        <a:pt x="229" y="437"/>
                      </a:moveTo>
                      <a:cubicBezTo>
                        <a:pt x="113" y="437"/>
                        <a:pt x="20" y="344"/>
                        <a:pt x="20" y="229"/>
                      </a:cubicBezTo>
                      <a:cubicBezTo>
                        <a:pt x="20" y="114"/>
                        <a:pt x="113" y="20"/>
                        <a:pt x="229" y="20"/>
                      </a:cubicBezTo>
                      <a:cubicBezTo>
                        <a:pt x="345" y="20"/>
                        <a:pt x="438" y="113"/>
                        <a:pt x="438" y="229"/>
                      </a:cubicBezTo>
                      <a:cubicBezTo>
                        <a:pt x="438" y="285"/>
                        <a:pt x="417" y="336"/>
                        <a:pt x="378" y="376"/>
                      </a:cubicBezTo>
                      <a:lnTo>
                        <a:pt x="320" y="357"/>
                      </a:lnTo>
                      <a:cubicBezTo>
                        <a:pt x="316" y="356"/>
                        <a:pt x="312" y="357"/>
                        <a:pt x="309" y="360"/>
                      </a:cubicBezTo>
                      <a:cubicBezTo>
                        <a:pt x="306" y="362"/>
                        <a:pt x="305" y="366"/>
                        <a:pt x="306" y="370"/>
                      </a:cubicBezTo>
                      <a:lnTo>
                        <a:pt x="321" y="417"/>
                      </a:lnTo>
                      <a:cubicBezTo>
                        <a:pt x="292" y="430"/>
                        <a:pt x="261" y="437"/>
                        <a:pt x="229" y="437"/>
                      </a:cubicBezTo>
                      <a:close/>
                      <a:moveTo>
                        <a:pt x="408" y="452"/>
                      </a:moveTo>
                      <a:lnTo>
                        <a:pt x="408" y="452"/>
                      </a:lnTo>
                      <a:cubicBezTo>
                        <a:pt x="406" y="452"/>
                        <a:pt x="405" y="453"/>
                        <a:pt x="404" y="454"/>
                      </a:cubicBezTo>
                      <a:cubicBezTo>
                        <a:pt x="402" y="456"/>
                        <a:pt x="402" y="457"/>
                        <a:pt x="401" y="458"/>
                      </a:cubicBezTo>
                      <a:lnTo>
                        <a:pt x="401" y="458"/>
                      </a:lnTo>
                      <a:lnTo>
                        <a:pt x="376" y="526"/>
                      </a:lnTo>
                      <a:lnTo>
                        <a:pt x="329" y="381"/>
                      </a:lnTo>
                      <a:lnTo>
                        <a:pt x="474" y="428"/>
                      </a:lnTo>
                      <a:lnTo>
                        <a:pt x="408" y="452"/>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grpSp>
          <p:sp>
            <p:nvSpPr>
              <p:cNvPr id="10" name="MH_SubTitle_3"/>
              <p:cNvSpPr>
                <a:spLocks noChangeArrowheads="1"/>
              </p:cNvSpPr>
              <p:nvPr/>
            </p:nvSpPr>
            <p:spPr bwMode="auto">
              <a:xfrm>
                <a:off x="7958508" y="1863404"/>
                <a:ext cx="848719" cy="848720"/>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grpSp>
      </p:grpSp>
      <p:grpSp>
        <p:nvGrpSpPr>
          <p:cNvPr id="47" name="组合 46"/>
          <p:cNvGrpSpPr/>
          <p:nvPr/>
        </p:nvGrpSpPr>
        <p:grpSpPr>
          <a:xfrm>
            <a:off x="7478128" y="2716123"/>
            <a:ext cx="4136835" cy="1070634"/>
            <a:chOff x="7479031" y="2813352"/>
            <a:chExt cx="4136835" cy="1070634"/>
          </a:xfrm>
        </p:grpSpPr>
        <p:sp>
          <p:nvSpPr>
            <p:cNvPr id="48" name="矩形 47"/>
            <p:cNvSpPr/>
            <p:nvPr/>
          </p:nvSpPr>
          <p:spPr>
            <a:xfrm>
              <a:off x="8286669" y="2813352"/>
              <a:ext cx="954107" cy="400110"/>
            </a:xfrm>
            <a:prstGeom prst="rect">
              <a:avLst/>
            </a:prstGeom>
            <a:noFill/>
          </p:spPr>
          <p:txBody>
            <a:bodyPr wrap="none" rtlCol="0">
              <a:spAutoFit/>
              <a:scene3d>
                <a:camera prst="orthographicFront"/>
                <a:lightRig rig="threePt" dir="t"/>
              </a:scene3d>
            </a:bodyPr>
            <a:lstStyle/>
            <a:p>
              <a:pPr lvl="0" defTabSz="910590">
                <a:defRPr/>
              </a:pPr>
              <a:r>
                <a:rPr lang="zh-CN" altLang="en-US" sz="2000" b="1" dirty="0">
                  <a:solidFill>
                    <a:srgbClr val="84FFFF"/>
                  </a:solidFill>
                  <a:effectLst/>
                  <a:cs typeface="+mn-ea"/>
                  <a:sym typeface="+mn-lt"/>
                </a:rPr>
                <a:t>云计算</a:t>
              </a:r>
            </a:p>
          </p:txBody>
        </p:sp>
        <p:sp>
          <p:nvSpPr>
            <p:cNvPr id="49" name="矩形 48"/>
            <p:cNvSpPr/>
            <p:nvPr/>
          </p:nvSpPr>
          <p:spPr>
            <a:xfrm>
              <a:off x="8324016" y="3237655"/>
              <a:ext cx="329185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chemeClr val="bg1">
                      <a:lumMod val="75000"/>
                    </a:schemeClr>
                  </a:solidFill>
                  <a:effectLst/>
                  <a:uLnTx/>
                  <a:uFillTx/>
                  <a:cs typeface="+mn-ea"/>
                  <a:sym typeface="+mn-lt"/>
                </a:rPr>
                <a:t>DMID</a:t>
              </a:r>
              <a:r>
                <a:rPr kumimoji="0" lang="zh-CN" altLang="en-US" sz="1200" b="0" i="0" u="none" strike="noStrike" kern="1200" cap="none" spc="0" normalizeH="0" baseline="0" noProof="0" dirty="0">
                  <a:ln>
                    <a:noFill/>
                  </a:ln>
                  <a:solidFill>
                    <a:schemeClr val="bg1">
                      <a:lumMod val="75000"/>
                    </a:schemeClr>
                  </a:solidFill>
                  <a:effectLst/>
                  <a:uLnTx/>
                  <a:uFillTx/>
                  <a:cs typeface="+mn-ea"/>
                  <a:sym typeface="+mn-lt"/>
                </a:rPr>
                <a:t>是广告受众区块链账户统一 标识。它被用来管理和统一用户在链上和链下的个人数据。</a:t>
              </a:r>
            </a:p>
          </p:txBody>
        </p:sp>
        <p:grpSp>
          <p:nvGrpSpPr>
            <p:cNvPr id="50" name="组合 49"/>
            <p:cNvGrpSpPr/>
            <p:nvPr/>
          </p:nvGrpSpPr>
          <p:grpSpPr>
            <a:xfrm>
              <a:off x="7479031" y="2908096"/>
              <a:ext cx="701286" cy="701287"/>
              <a:chOff x="7479031" y="2908096"/>
              <a:chExt cx="701286" cy="701287"/>
            </a:xfrm>
          </p:grpSpPr>
          <p:sp>
            <p:nvSpPr>
              <p:cNvPr id="51" name="MH_SubTitle_3"/>
              <p:cNvSpPr>
                <a:spLocks noChangeArrowheads="1"/>
              </p:cNvSpPr>
              <p:nvPr/>
            </p:nvSpPr>
            <p:spPr bwMode="auto">
              <a:xfrm>
                <a:off x="7479031" y="2908096"/>
                <a:ext cx="701286" cy="701287"/>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grpSp>
            <p:nvGrpSpPr>
              <p:cNvPr id="52" name="Group 375"/>
              <p:cNvGrpSpPr/>
              <p:nvPr/>
            </p:nvGrpSpPr>
            <p:grpSpPr>
              <a:xfrm>
                <a:off x="7585383" y="3021664"/>
                <a:ext cx="456264" cy="360265"/>
                <a:chOff x="795337" y="2244726"/>
                <a:chExt cx="671513" cy="530225"/>
              </a:xfrm>
              <a:solidFill>
                <a:schemeClr val="accent1"/>
              </a:solidFill>
              <a:effectLst>
                <a:reflection blurRad="6350" stA="50000" endA="300" endPos="55000" dir="5400000" sy="-100000" algn="bl" rotWithShape="0"/>
              </a:effectLst>
            </p:grpSpPr>
            <p:sp>
              <p:nvSpPr>
                <p:cNvPr id="53" name="Freeform 179"/>
                <p:cNvSpPr>
                  <a:spLocks noEditPoints="1"/>
                </p:cNvSpPr>
                <p:nvPr/>
              </p:nvSpPr>
              <p:spPr bwMode="auto">
                <a:xfrm>
                  <a:off x="795337" y="2244726"/>
                  <a:ext cx="671513" cy="530225"/>
                </a:xfrm>
                <a:custGeom>
                  <a:avLst/>
                  <a:gdLst>
                    <a:gd name="T0" fmla="*/ 816 w 880"/>
                    <a:gd name="T1" fmla="*/ 487 h 692"/>
                    <a:gd name="T2" fmla="*/ 784 w 880"/>
                    <a:gd name="T3" fmla="*/ 361 h 692"/>
                    <a:gd name="T4" fmla="*/ 741 w 880"/>
                    <a:gd name="T5" fmla="*/ 220 h 692"/>
                    <a:gd name="T6" fmla="*/ 593 w 880"/>
                    <a:gd name="T7" fmla="*/ 20 h 692"/>
                    <a:gd name="T8" fmla="*/ 548 w 880"/>
                    <a:gd name="T9" fmla="*/ 4 h 692"/>
                    <a:gd name="T10" fmla="*/ 8 w 880"/>
                    <a:gd name="T11" fmla="*/ 287 h 692"/>
                    <a:gd name="T12" fmla="*/ 144 w 880"/>
                    <a:gd name="T13" fmla="*/ 581 h 692"/>
                    <a:gd name="T14" fmla="*/ 602 w 880"/>
                    <a:gd name="T15" fmla="*/ 612 h 692"/>
                    <a:gd name="T16" fmla="*/ 640 w 880"/>
                    <a:gd name="T17" fmla="*/ 692 h 692"/>
                    <a:gd name="T18" fmla="*/ 880 w 880"/>
                    <a:gd name="T19" fmla="*/ 655 h 692"/>
                    <a:gd name="T20" fmla="*/ 841 w 880"/>
                    <a:gd name="T21" fmla="*/ 487 h 692"/>
                    <a:gd name="T22" fmla="*/ 796 w 880"/>
                    <a:gd name="T23" fmla="*/ 487 h 692"/>
                    <a:gd name="T24" fmla="*/ 682 w 880"/>
                    <a:gd name="T25" fmla="*/ 424 h 692"/>
                    <a:gd name="T26" fmla="*/ 796 w 880"/>
                    <a:gd name="T27" fmla="*/ 424 h 692"/>
                    <a:gd name="T28" fmla="*/ 374 w 880"/>
                    <a:gd name="T29" fmla="*/ 219 h 692"/>
                    <a:gd name="T30" fmla="*/ 661 w 880"/>
                    <a:gd name="T31" fmla="*/ 219 h 692"/>
                    <a:gd name="T32" fmla="*/ 556 w 880"/>
                    <a:gd name="T33" fmla="*/ 21 h 692"/>
                    <a:gd name="T34" fmla="*/ 574 w 880"/>
                    <a:gd name="T35" fmla="*/ 29 h 692"/>
                    <a:gd name="T36" fmla="*/ 326 w 880"/>
                    <a:gd name="T37" fmla="*/ 219 h 692"/>
                    <a:gd name="T38" fmla="*/ 141 w 880"/>
                    <a:gd name="T39" fmla="*/ 261 h 692"/>
                    <a:gd name="T40" fmla="*/ 54 w 880"/>
                    <a:gd name="T41" fmla="*/ 341 h 692"/>
                    <a:gd name="T42" fmla="*/ 33 w 880"/>
                    <a:gd name="T43" fmla="*/ 260 h 692"/>
                    <a:gd name="T44" fmla="*/ 62 w 880"/>
                    <a:gd name="T45" fmla="*/ 360 h 692"/>
                    <a:gd name="T46" fmla="*/ 141 w 880"/>
                    <a:gd name="T47" fmla="*/ 531 h 692"/>
                    <a:gd name="T48" fmla="*/ 601 w 880"/>
                    <a:gd name="T49" fmla="*/ 591 h 692"/>
                    <a:gd name="T50" fmla="*/ 161 w 880"/>
                    <a:gd name="T51" fmla="*/ 568 h 692"/>
                    <a:gd name="T52" fmla="*/ 184 w 880"/>
                    <a:gd name="T53" fmla="*/ 239 h 692"/>
                    <a:gd name="T54" fmla="*/ 764 w 880"/>
                    <a:gd name="T55" fmla="*/ 261 h 692"/>
                    <a:gd name="T56" fmla="*/ 740 w 880"/>
                    <a:gd name="T57" fmla="*/ 347 h 692"/>
                    <a:gd name="T58" fmla="*/ 662 w 880"/>
                    <a:gd name="T59" fmla="*/ 487 h 692"/>
                    <a:gd name="T60" fmla="*/ 601 w 880"/>
                    <a:gd name="T61" fmla="*/ 523 h 692"/>
                    <a:gd name="T62" fmla="*/ 840 w 880"/>
                    <a:gd name="T63" fmla="*/ 672 h 692"/>
                    <a:gd name="T64" fmla="*/ 620 w 880"/>
                    <a:gd name="T65" fmla="*/ 655 h 692"/>
                    <a:gd name="T66" fmla="*/ 637 w 880"/>
                    <a:gd name="T67" fmla="*/ 505 h 692"/>
                    <a:gd name="T68" fmla="*/ 858 w 880"/>
                    <a:gd name="T69" fmla="*/ 523 h 692"/>
                    <a:gd name="T70" fmla="*/ 857 w 880"/>
                    <a:gd name="T71" fmla="*/ 655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0" h="692">
                      <a:moveTo>
                        <a:pt x="841" y="487"/>
                      </a:moveTo>
                      <a:lnTo>
                        <a:pt x="816" y="487"/>
                      </a:lnTo>
                      <a:lnTo>
                        <a:pt x="816" y="424"/>
                      </a:lnTo>
                      <a:cubicBezTo>
                        <a:pt x="816" y="399"/>
                        <a:pt x="802" y="376"/>
                        <a:pt x="784" y="361"/>
                      </a:cubicBezTo>
                      <a:lnTo>
                        <a:pt x="784" y="263"/>
                      </a:lnTo>
                      <a:cubicBezTo>
                        <a:pt x="784" y="239"/>
                        <a:pt x="765" y="220"/>
                        <a:pt x="741" y="220"/>
                      </a:cubicBezTo>
                      <a:lnTo>
                        <a:pt x="684" y="220"/>
                      </a:lnTo>
                      <a:lnTo>
                        <a:pt x="593" y="20"/>
                      </a:lnTo>
                      <a:cubicBezTo>
                        <a:pt x="589" y="12"/>
                        <a:pt x="582" y="5"/>
                        <a:pt x="574" y="3"/>
                      </a:cubicBezTo>
                      <a:cubicBezTo>
                        <a:pt x="566" y="0"/>
                        <a:pt x="557" y="0"/>
                        <a:pt x="548" y="4"/>
                      </a:cubicBezTo>
                      <a:lnTo>
                        <a:pt x="25" y="241"/>
                      </a:lnTo>
                      <a:cubicBezTo>
                        <a:pt x="8" y="249"/>
                        <a:pt x="0" y="269"/>
                        <a:pt x="8" y="287"/>
                      </a:cubicBezTo>
                      <a:lnTo>
                        <a:pt x="142" y="581"/>
                      </a:lnTo>
                      <a:lnTo>
                        <a:pt x="144" y="581"/>
                      </a:lnTo>
                      <a:cubicBezTo>
                        <a:pt x="149" y="599"/>
                        <a:pt x="165" y="612"/>
                        <a:pt x="185" y="612"/>
                      </a:cubicBezTo>
                      <a:lnTo>
                        <a:pt x="602" y="612"/>
                      </a:lnTo>
                      <a:lnTo>
                        <a:pt x="602" y="655"/>
                      </a:lnTo>
                      <a:cubicBezTo>
                        <a:pt x="602" y="675"/>
                        <a:pt x="618" y="692"/>
                        <a:pt x="640" y="692"/>
                      </a:cubicBezTo>
                      <a:lnTo>
                        <a:pt x="844" y="692"/>
                      </a:lnTo>
                      <a:cubicBezTo>
                        <a:pt x="864" y="692"/>
                        <a:pt x="880" y="676"/>
                        <a:pt x="880" y="655"/>
                      </a:cubicBezTo>
                      <a:lnTo>
                        <a:pt x="880" y="523"/>
                      </a:lnTo>
                      <a:cubicBezTo>
                        <a:pt x="877" y="503"/>
                        <a:pt x="861" y="487"/>
                        <a:pt x="841" y="487"/>
                      </a:cubicBezTo>
                      <a:close/>
                      <a:moveTo>
                        <a:pt x="796" y="424"/>
                      </a:moveTo>
                      <a:lnTo>
                        <a:pt x="796" y="487"/>
                      </a:lnTo>
                      <a:lnTo>
                        <a:pt x="682" y="487"/>
                      </a:lnTo>
                      <a:lnTo>
                        <a:pt x="682" y="424"/>
                      </a:lnTo>
                      <a:cubicBezTo>
                        <a:pt x="682" y="392"/>
                        <a:pt x="708" y="367"/>
                        <a:pt x="740" y="367"/>
                      </a:cubicBezTo>
                      <a:cubicBezTo>
                        <a:pt x="770" y="367"/>
                        <a:pt x="796" y="392"/>
                        <a:pt x="796" y="424"/>
                      </a:cubicBezTo>
                      <a:close/>
                      <a:moveTo>
                        <a:pt x="661" y="219"/>
                      </a:moveTo>
                      <a:lnTo>
                        <a:pt x="374" y="219"/>
                      </a:lnTo>
                      <a:lnTo>
                        <a:pt x="612" y="111"/>
                      </a:lnTo>
                      <a:lnTo>
                        <a:pt x="661" y="219"/>
                      </a:lnTo>
                      <a:close/>
                      <a:moveTo>
                        <a:pt x="33" y="260"/>
                      </a:moveTo>
                      <a:lnTo>
                        <a:pt x="556" y="21"/>
                      </a:lnTo>
                      <a:cubicBezTo>
                        <a:pt x="560" y="20"/>
                        <a:pt x="562" y="20"/>
                        <a:pt x="566" y="21"/>
                      </a:cubicBezTo>
                      <a:cubicBezTo>
                        <a:pt x="570" y="23"/>
                        <a:pt x="573" y="25"/>
                        <a:pt x="574" y="29"/>
                      </a:cubicBezTo>
                      <a:lnTo>
                        <a:pt x="604" y="95"/>
                      </a:lnTo>
                      <a:lnTo>
                        <a:pt x="326" y="219"/>
                      </a:lnTo>
                      <a:lnTo>
                        <a:pt x="184" y="219"/>
                      </a:lnTo>
                      <a:cubicBezTo>
                        <a:pt x="160" y="219"/>
                        <a:pt x="141" y="237"/>
                        <a:pt x="141" y="261"/>
                      </a:cubicBezTo>
                      <a:lnTo>
                        <a:pt x="141" y="303"/>
                      </a:lnTo>
                      <a:lnTo>
                        <a:pt x="54" y="341"/>
                      </a:lnTo>
                      <a:lnTo>
                        <a:pt x="25" y="277"/>
                      </a:lnTo>
                      <a:cubicBezTo>
                        <a:pt x="22" y="271"/>
                        <a:pt x="25" y="263"/>
                        <a:pt x="33" y="260"/>
                      </a:cubicBezTo>
                      <a:close/>
                      <a:moveTo>
                        <a:pt x="141" y="531"/>
                      </a:moveTo>
                      <a:lnTo>
                        <a:pt x="62" y="360"/>
                      </a:lnTo>
                      <a:lnTo>
                        <a:pt x="141" y="325"/>
                      </a:lnTo>
                      <a:lnTo>
                        <a:pt x="141" y="531"/>
                      </a:lnTo>
                      <a:close/>
                      <a:moveTo>
                        <a:pt x="601" y="523"/>
                      </a:moveTo>
                      <a:lnTo>
                        <a:pt x="601" y="591"/>
                      </a:lnTo>
                      <a:lnTo>
                        <a:pt x="184" y="591"/>
                      </a:lnTo>
                      <a:cubicBezTo>
                        <a:pt x="172" y="591"/>
                        <a:pt x="161" y="580"/>
                        <a:pt x="161" y="568"/>
                      </a:cubicBezTo>
                      <a:lnTo>
                        <a:pt x="161" y="261"/>
                      </a:lnTo>
                      <a:cubicBezTo>
                        <a:pt x="161" y="249"/>
                        <a:pt x="172" y="239"/>
                        <a:pt x="184" y="239"/>
                      </a:cubicBezTo>
                      <a:lnTo>
                        <a:pt x="741" y="239"/>
                      </a:lnTo>
                      <a:cubicBezTo>
                        <a:pt x="753" y="239"/>
                        <a:pt x="764" y="249"/>
                        <a:pt x="764" y="261"/>
                      </a:cubicBezTo>
                      <a:lnTo>
                        <a:pt x="764" y="351"/>
                      </a:lnTo>
                      <a:cubicBezTo>
                        <a:pt x="756" y="348"/>
                        <a:pt x="748" y="347"/>
                        <a:pt x="740" y="347"/>
                      </a:cubicBezTo>
                      <a:cubicBezTo>
                        <a:pt x="697" y="347"/>
                        <a:pt x="662" y="381"/>
                        <a:pt x="662" y="424"/>
                      </a:cubicBezTo>
                      <a:lnTo>
                        <a:pt x="662" y="487"/>
                      </a:lnTo>
                      <a:lnTo>
                        <a:pt x="637" y="487"/>
                      </a:lnTo>
                      <a:cubicBezTo>
                        <a:pt x="617" y="487"/>
                        <a:pt x="601" y="503"/>
                        <a:pt x="601" y="523"/>
                      </a:cubicBezTo>
                      <a:close/>
                      <a:moveTo>
                        <a:pt x="857" y="655"/>
                      </a:moveTo>
                      <a:cubicBezTo>
                        <a:pt x="857" y="664"/>
                        <a:pt x="849" y="672"/>
                        <a:pt x="840" y="672"/>
                      </a:cubicBezTo>
                      <a:lnTo>
                        <a:pt x="637" y="672"/>
                      </a:lnTo>
                      <a:cubicBezTo>
                        <a:pt x="628" y="672"/>
                        <a:pt x="620" y="664"/>
                        <a:pt x="620" y="655"/>
                      </a:cubicBezTo>
                      <a:lnTo>
                        <a:pt x="620" y="523"/>
                      </a:lnTo>
                      <a:cubicBezTo>
                        <a:pt x="620" y="513"/>
                        <a:pt x="628" y="505"/>
                        <a:pt x="637" y="505"/>
                      </a:cubicBezTo>
                      <a:lnTo>
                        <a:pt x="841" y="505"/>
                      </a:lnTo>
                      <a:cubicBezTo>
                        <a:pt x="850" y="505"/>
                        <a:pt x="858" y="513"/>
                        <a:pt x="858" y="523"/>
                      </a:cubicBezTo>
                      <a:lnTo>
                        <a:pt x="858" y="655"/>
                      </a:lnTo>
                      <a:lnTo>
                        <a:pt x="857" y="655"/>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dirty="0">
                    <a:ln>
                      <a:noFill/>
                    </a:ln>
                    <a:solidFill>
                      <a:prstClr val="black"/>
                    </a:solidFill>
                    <a:effectLst/>
                    <a:uLnTx/>
                    <a:uFillTx/>
                    <a:cs typeface="+mn-ea"/>
                    <a:sym typeface="+mn-lt"/>
                  </a:endParaRPr>
                </a:p>
              </p:txBody>
            </p:sp>
            <p:sp>
              <p:nvSpPr>
                <p:cNvPr id="54" name="Rectangle 180"/>
                <p:cNvSpPr>
                  <a:spLocks noChangeArrowheads="1"/>
                </p:cNvSpPr>
                <p:nvPr/>
              </p:nvSpPr>
              <p:spPr bwMode="auto">
                <a:xfrm>
                  <a:off x="1308100" y="2667001"/>
                  <a:ext cx="101600" cy="14288"/>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55" name="Rectangle 181"/>
                <p:cNvSpPr>
                  <a:spLocks noChangeArrowheads="1"/>
                </p:cNvSpPr>
                <p:nvPr/>
              </p:nvSpPr>
              <p:spPr bwMode="auto">
                <a:xfrm>
                  <a:off x="1308100" y="2708276"/>
                  <a:ext cx="101600" cy="14288"/>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56" name="Rectangle 182"/>
                <p:cNvSpPr>
                  <a:spLocks noChangeArrowheads="1"/>
                </p:cNvSpPr>
                <p:nvPr/>
              </p:nvSpPr>
              <p:spPr bwMode="auto">
                <a:xfrm>
                  <a:off x="982662" y="2636838"/>
                  <a:ext cx="15875"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57" name="Rectangle 183"/>
                <p:cNvSpPr>
                  <a:spLocks noChangeArrowheads="1"/>
                </p:cNvSpPr>
                <p:nvPr/>
              </p:nvSpPr>
              <p:spPr bwMode="auto">
                <a:xfrm>
                  <a:off x="944562" y="2636838"/>
                  <a:ext cx="15875"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58" name="Rectangle 184"/>
                <p:cNvSpPr>
                  <a:spLocks noChangeArrowheads="1"/>
                </p:cNvSpPr>
                <p:nvPr/>
              </p:nvSpPr>
              <p:spPr bwMode="auto">
                <a:xfrm>
                  <a:off x="1171575" y="2636838"/>
                  <a:ext cx="15875"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59" name="Rectangle 185"/>
                <p:cNvSpPr>
                  <a:spLocks noChangeArrowheads="1"/>
                </p:cNvSpPr>
                <p:nvPr/>
              </p:nvSpPr>
              <p:spPr bwMode="auto">
                <a:xfrm>
                  <a:off x="1209675" y="2636838"/>
                  <a:ext cx="14288"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60" name="Rectangle 186"/>
                <p:cNvSpPr>
                  <a:spLocks noChangeArrowheads="1"/>
                </p:cNvSpPr>
                <p:nvPr/>
              </p:nvSpPr>
              <p:spPr bwMode="auto">
                <a:xfrm>
                  <a:off x="1133475" y="2636838"/>
                  <a:ext cx="15875"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61" name="Rectangle 187"/>
                <p:cNvSpPr>
                  <a:spLocks noChangeArrowheads="1"/>
                </p:cNvSpPr>
                <p:nvPr/>
              </p:nvSpPr>
              <p:spPr bwMode="auto">
                <a:xfrm>
                  <a:off x="1095375" y="2636838"/>
                  <a:ext cx="15875"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62" name="Rectangle 188"/>
                <p:cNvSpPr>
                  <a:spLocks noChangeArrowheads="1"/>
                </p:cNvSpPr>
                <p:nvPr/>
              </p:nvSpPr>
              <p:spPr bwMode="auto">
                <a:xfrm>
                  <a:off x="1058862" y="2636838"/>
                  <a:ext cx="14288"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63" name="Rectangle 189"/>
                <p:cNvSpPr>
                  <a:spLocks noChangeArrowheads="1"/>
                </p:cNvSpPr>
                <p:nvPr/>
              </p:nvSpPr>
              <p:spPr bwMode="auto">
                <a:xfrm>
                  <a:off x="1020762" y="2636838"/>
                  <a:ext cx="15875"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64" name="Freeform 190"/>
                <p:cNvSpPr>
                  <a:spLocks noEditPoints="1"/>
                </p:cNvSpPr>
                <p:nvPr/>
              </p:nvSpPr>
              <p:spPr bwMode="auto">
                <a:xfrm>
                  <a:off x="962025" y="2466976"/>
                  <a:ext cx="127000" cy="80963"/>
                </a:xfrm>
                <a:custGeom>
                  <a:avLst/>
                  <a:gdLst>
                    <a:gd name="T0" fmla="*/ 0 w 166"/>
                    <a:gd name="T1" fmla="*/ 107 h 107"/>
                    <a:gd name="T2" fmla="*/ 166 w 166"/>
                    <a:gd name="T3" fmla="*/ 107 h 107"/>
                    <a:gd name="T4" fmla="*/ 166 w 166"/>
                    <a:gd name="T5" fmla="*/ 0 h 107"/>
                    <a:gd name="T6" fmla="*/ 0 w 166"/>
                    <a:gd name="T7" fmla="*/ 0 h 107"/>
                    <a:gd name="T8" fmla="*/ 0 w 166"/>
                    <a:gd name="T9" fmla="*/ 107 h 107"/>
                    <a:gd name="T10" fmla="*/ 20 w 166"/>
                    <a:gd name="T11" fmla="*/ 20 h 107"/>
                    <a:gd name="T12" fmla="*/ 146 w 166"/>
                    <a:gd name="T13" fmla="*/ 20 h 107"/>
                    <a:gd name="T14" fmla="*/ 146 w 166"/>
                    <a:gd name="T15" fmla="*/ 87 h 107"/>
                    <a:gd name="T16" fmla="*/ 20 w 166"/>
                    <a:gd name="T17" fmla="*/ 87 h 107"/>
                    <a:gd name="T18" fmla="*/ 20 w 166"/>
                    <a:gd name="T19" fmla="*/ 2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107">
                      <a:moveTo>
                        <a:pt x="0" y="107"/>
                      </a:moveTo>
                      <a:lnTo>
                        <a:pt x="166" y="107"/>
                      </a:lnTo>
                      <a:lnTo>
                        <a:pt x="166" y="0"/>
                      </a:lnTo>
                      <a:lnTo>
                        <a:pt x="0" y="0"/>
                      </a:lnTo>
                      <a:lnTo>
                        <a:pt x="0" y="107"/>
                      </a:lnTo>
                      <a:close/>
                      <a:moveTo>
                        <a:pt x="20" y="20"/>
                      </a:moveTo>
                      <a:lnTo>
                        <a:pt x="146" y="20"/>
                      </a:lnTo>
                      <a:lnTo>
                        <a:pt x="146" y="87"/>
                      </a:lnTo>
                      <a:lnTo>
                        <a:pt x="20" y="87"/>
                      </a:lnTo>
                      <a:lnTo>
                        <a:pt x="20" y="20"/>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65" name="Rectangle 191"/>
                <p:cNvSpPr>
                  <a:spLocks noChangeArrowheads="1"/>
                </p:cNvSpPr>
                <p:nvPr/>
              </p:nvSpPr>
              <p:spPr bwMode="auto">
                <a:xfrm>
                  <a:off x="1165225" y="2532063"/>
                  <a:ext cx="122238"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66" name="Rectangle 192"/>
                <p:cNvSpPr>
                  <a:spLocks noChangeArrowheads="1"/>
                </p:cNvSpPr>
                <p:nvPr/>
              </p:nvSpPr>
              <p:spPr bwMode="auto">
                <a:xfrm>
                  <a:off x="1222375" y="2486026"/>
                  <a:ext cx="119063" cy="15875"/>
                </a:xfrm>
                <a:prstGeom prst="rect">
                  <a:avLst/>
                </a:pr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grpSp>
        </p:grpSp>
      </p:grpSp>
      <p:grpSp>
        <p:nvGrpSpPr>
          <p:cNvPr id="67" name="组合 66"/>
          <p:cNvGrpSpPr/>
          <p:nvPr/>
        </p:nvGrpSpPr>
        <p:grpSpPr>
          <a:xfrm>
            <a:off x="7478128" y="3726437"/>
            <a:ext cx="4329888" cy="1058014"/>
            <a:chOff x="7479031" y="3710104"/>
            <a:chExt cx="4329888" cy="1058014"/>
          </a:xfrm>
        </p:grpSpPr>
        <p:sp>
          <p:nvSpPr>
            <p:cNvPr id="68" name="矩形 67"/>
            <p:cNvSpPr/>
            <p:nvPr/>
          </p:nvSpPr>
          <p:spPr>
            <a:xfrm>
              <a:off x="8413785" y="3710104"/>
              <a:ext cx="1489510" cy="400110"/>
            </a:xfrm>
            <a:prstGeom prst="rect">
              <a:avLst/>
            </a:prstGeom>
            <a:noFill/>
          </p:spPr>
          <p:txBody>
            <a:bodyPr wrap="none" rtlCol="0">
              <a:spAutoFit/>
              <a:scene3d>
                <a:camera prst="orthographicFront"/>
                <a:lightRig rig="threePt" dir="t"/>
              </a:scene3d>
            </a:bodyPr>
            <a:lstStyle/>
            <a:p>
              <a:pPr lvl="0" defTabSz="910590">
                <a:defRPr/>
              </a:pPr>
              <a:r>
                <a:rPr lang="en-US" altLang="zh-CN" sz="2000" b="1" dirty="0">
                  <a:solidFill>
                    <a:srgbClr val="84FFFF"/>
                  </a:solidFill>
                  <a:effectLst/>
                  <a:cs typeface="+mn-ea"/>
                  <a:sym typeface="+mn-lt"/>
                </a:rPr>
                <a:t>AI</a:t>
              </a:r>
              <a:r>
                <a:rPr lang="zh-CN" altLang="en-US" sz="2000" b="1" dirty="0">
                  <a:solidFill>
                    <a:srgbClr val="84FFFF"/>
                  </a:solidFill>
                  <a:effectLst/>
                  <a:cs typeface="+mn-ea"/>
                  <a:sym typeface="+mn-lt"/>
                </a:rPr>
                <a:t>人工智能</a:t>
              </a:r>
            </a:p>
          </p:txBody>
        </p:sp>
        <p:sp>
          <p:nvSpPr>
            <p:cNvPr id="69" name="矩形 68"/>
            <p:cNvSpPr/>
            <p:nvPr/>
          </p:nvSpPr>
          <p:spPr>
            <a:xfrm>
              <a:off x="8324016" y="4121787"/>
              <a:ext cx="3484903"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200" b="0" i="0" u="none" strike="noStrike" kern="1200" cap="none" spc="0" normalizeH="0" baseline="0" noProof="0" dirty="0">
                  <a:ln>
                    <a:noFill/>
                  </a:ln>
                  <a:solidFill>
                    <a:schemeClr val="bg1">
                      <a:lumMod val="75000"/>
                    </a:schemeClr>
                  </a:solidFill>
                  <a:effectLst/>
                  <a:uLnTx/>
                  <a:uFillTx/>
                  <a:cs typeface="+mn-ea"/>
                  <a:sym typeface="+mn-lt"/>
                </a:rPr>
                <a:t>基于</a:t>
              </a:r>
              <a:r>
                <a:rPr kumimoji="0" lang="en-US" altLang="zh-CN" sz="1200" b="0" i="0" u="none" strike="noStrike" kern="1200" cap="none" spc="0" normalizeH="0" baseline="0" noProof="0" dirty="0" err="1">
                  <a:ln>
                    <a:noFill/>
                  </a:ln>
                  <a:solidFill>
                    <a:schemeClr val="bg1">
                      <a:lumMod val="75000"/>
                    </a:schemeClr>
                  </a:solidFill>
                  <a:effectLst/>
                  <a:uLnTx/>
                  <a:uFillTx/>
                  <a:cs typeface="+mn-ea"/>
                  <a:sym typeface="+mn-lt"/>
                </a:rPr>
                <a:t>Cardano</a:t>
              </a:r>
              <a:r>
                <a:rPr kumimoji="0" lang="zh-CN" altLang="en-US" sz="1200" b="0" i="0" u="none" strike="noStrike" kern="1200" cap="none" spc="0" normalizeH="0" baseline="0" noProof="0" dirty="0">
                  <a:ln>
                    <a:noFill/>
                  </a:ln>
                  <a:solidFill>
                    <a:schemeClr val="bg1">
                      <a:lumMod val="75000"/>
                    </a:schemeClr>
                  </a:solidFill>
                  <a:effectLst/>
                  <a:uLnTx/>
                  <a:uFillTx/>
                  <a:cs typeface="+mn-ea"/>
                  <a:sym typeface="+mn-lt"/>
                </a:rPr>
                <a:t>设计开发的区块链网络，让媒体主（</a:t>
              </a:r>
              <a:r>
                <a:rPr kumimoji="0" lang="en-US" altLang="zh-CN" sz="1200" b="0" i="0" u="none" strike="noStrike" kern="1200" cap="none" spc="0" normalizeH="0" baseline="0" noProof="0" dirty="0">
                  <a:ln>
                    <a:noFill/>
                  </a:ln>
                  <a:solidFill>
                    <a:schemeClr val="bg1">
                      <a:lumMod val="75000"/>
                    </a:schemeClr>
                  </a:solidFill>
                  <a:effectLst/>
                  <a:uLnTx/>
                  <a:uFillTx/>
                  <a:cs typeface="+mn-ea"/>
                  <a:sym typeface="+mn-lt"/>
                </a:rPr>
                <a:t>Publishers</a:t>
              </a:r>
              <a:r>
                <a:rPr kumimoji="0" lang="zh-CN" altLang="en-US" sz="1200" b="0" i="0" u="none" strike="noStrike" kern="1200" cap="none" spc="0" normalizeH="0" baseline="0" noProof="0" dirty="0">
                  <a:ln>
                    <a:noFill/>
                  </a:ln>
                  <a:solidFill>
                    <a:schemeClr val="bg1">
                      <a:lumMod val="75000"/>
                    </a:schemeClr>
                  </a:solidFill>
                  <a:effectLst/>
                  <a:uLnTx/>
                  <a:uFillTx/>
                  <a:cs typeface="+mn-ea"/>
                  <a:sym typeface="+mn-lt"/>
                </a:rPr>
                <a:t>）可以把广告位上链，每次的展示、每个点击的公开透明可信。</a:t>
              </a:r>
            </a:p>
          </p:txBody>
        </p:sp>
        <p:grpSp>
          <p:nvGrpSpPr>
            <p:cNvPr id="70" name="组合 69"/>
            <p:cNvGrpSpPr/>
            <p:nvPr/>
          </p:nvGrpSpPr>
          <p:grpSpPr>
            <a:xfrm>
              <a:off x="7479031" y="3888261"/>
              <a:ext cx="701286" cy="701287"/>
              <a:chOff x="7479031" y="3888261"/>
              <a:chExt cx="701286" cy="701287"/>
            </a:xfrm>
          </p:grpSpPr>
          <p:sp>
            <p:nvSpPr>
              <p:cNvPr id="71" name="MH_SubTitle_3"/>
              <p:cNvSpPr>
                <a:spLocks noChangeArrowheads="1"/>
              </p:cNvSpPr>
              <p:nvPr/>
            </p:nvSpPr>
            <p:spPr bwMode="auto">
              <a:xfrm>
                <a:off x="7479031" y="3888261"/>
                <a:ext cx="701286" cy="701287"/>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grpSp>
            <p:nvGrpSpPr>
              <p:cNvPr id="72" name="组合 71"/>
              <p:cNvGrpSpPr/>
              <p:nvPr/>
            </p:nvGrpSpPr>
            <p:grpSpPr>
              <a:xfrm>
                <a:off x="7643687" y="4047346"/>
                <a:ext cx="400123" cy="383115"/>
                <a:chOff x="6647777" y="5566814"/>
                <a:chExt cx="584465" cy="559622"/>
              </a:xfrm>
              <a:solidFill>
                <a:srgbClr val="FF7C34"/>
              </a:solidFill>
              <a:effectLst>
                <a:reflection blurRad="6350" stA="50000" endA="300" endPos="55000" dir="5400000" sy="-100000" algn="bl" rotWithShape="0"/>
              </a:effectLst>
            </p:grpSpPr>
            <p:sp>
              <p:nvSpPr>
                <p:cNvPr id="73" name="Freeform 149"/>
                <p:cNvSpPr/>
                <p:nvPr/>
              </p:nvSpPr>
              <p:spPr bwMode="auto">
                <a:xfrm>
                  <a:off x="6663467" y="5566814"/>
                  <a:ext cx="568775" cy="355648"/>
                </a:xfrm>
                <a:custGeom>
                  <a:avLst/>
                  <a:gdLst>
                    <a:gd name="T0" fmla="*/ 177 w 184"/>
                    <a:gd name="T1" fmla="*/ 91 h 115"/>
                    <a:gd name="T2" fmla="*/ 177 w 184"/>
                    <a:gd name="T3" fmla="*/ 86 h 115"/>
                    <a:gd name="T4" fmla="*/ 87 w 184"/>
                    <a:gd name="T5" fmla="*/ 0 h 115"/>
                    <a:gd name="T6" fmla="*/ 30 w 184"/>
                    <a:gd name="T7" fmla="*/ 20 h 115"/>
                    <a:gd name="T8" fmla="*/ 0 w 184"/>
                    <a:gd name="T9" fmla="*/ 64 h 115"/>
                    <a:gd name="T10" fmla="*/ 20 w 184"/>
                    <a:gd name="T11" fmla="*/ 64 h 115"/>
                    <a:gd name="T12" fmla="*/ 87 w 184"/>
                    <a:gd name="T13" fmla="*/ 18 h 115"/>
                    <a:gd name="T14" fmla="*/ 159 w 184"/>
                    <a:gd name="T15" fmla="*/ 85 h 115"/>
                    <a:gd name="T16" fmla="*/ 159 w 184"/>
                    <a:gd name="T17" fmla="*/ 91 h 115"/>
                    <a:gd name="T18" fmla="*/ 150 w 184"/>
                    <a:gd name="T19" fmla="*/ 91 h 115"/>
                    <a:gd name="T20" fmla="*/ 168 w 184"/>
                    <a:gd name="T21" fmla="*/ 115 h 115"/>
                    <a:gd name="T22" fmla="*/ 184 w 184"/>
                    <a:gd name="T23" fmla="*/ 91 h 115"/>
                    <a:gd name="T24" fmla="*/ 177 w 184"/>
                    <a:gd name="T25" fmla="*/ 9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115">
                      <a:moveTo>
                        <a:pt x="177" y="91"/>
                      </a:moveTo>
                      <a:cubicBezTo>
                        <a:pt x="177" y="86"/>
                        <a:pt x="177" y="86"/>
                        <a:pt x="177" y="86"/>
                      </a:cubicBezTo>
                      <a:cubicBezTo>
                        <a:pt x="175" y="38"/>
                        <a:pt x="135" y="0"/>
                        <a:pt x="87" y="0"/>
                      </a:cubicBezTo>
                      <a:cubicBezTo>
                        <a:pt x="66" y="0"/>
                        <a:pt x="46" y="7"/>
                        <a:pt x="30" y="20"/>
                      </a:cubicBezTo>
                      <a:cubicBezTo>
                        <a:pt x="16" y="31"/>
                        <a:pt x="6" y="47"/>
                        <a:pt x="0" y="64"/>
                      </a:cubicBezTo>
                      <a:cubicBezTo>
                        <a:pt x="20" y="64"/>
                        <a:pt x="20" y="64"/>
                        <a:pt x="20" y="64"/>
                      </a:cubicBezTo>
                      <a:cubicBezTo>
                        <a:pt x="30" y="36"/>
                        <a:pt x="57" y="18"/>
                        <a:pt x="87" y="18"/>
                      </a:cubicBezTo>
                      <a:cubicBezTo>
                        <a:pt x="125" y="18"/>
                        <a:pt x="156" y="47"/>
                        <a:pt x="159" y="85"/>
                      </a:cubicBezTo>
                      <a:cubicBezTo>
                        <a:pt x="159" y="91"/>
                        <a:pt x="159" y="91"/>
                        <a:pt x="159" y="91"/>
                      </a:cubicBezTo>
                      <a:cubicBezTo>
                        <a:pt x="150" y="91"/>
                        <a:pt x="150" y="91"/>
                        <a:pt x="150" y="91"/>
                      </a:cubicBezTo>
                      <a:cubicBezTo>
                        <a:pt x="168" y="115"/>
                        <a:pt x="168" y="115"/>
                        <a:pt x="168" y="115"/>
                      </a:cubicBezTo>
                      <a:cubicBezTo>
                        <a:pt x="184" y="91"/>
                        <a:pt x="184" y="91"/>
                        <a:pt x="184" y="91"/>
                      </a:cubicBezTo>
                      <a:lnTo>
                        <a:pt x="177" y="91"/>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74" name="Freeform 150"/>
                <p:cNvSpPr/>
                <p:nvPr/>
              </p:nvSpPr>
              <p:spPr bwMode="auto">
                <a:xfrm>
                  <a:off x="6647777" y="5859700"/>
                  <a:ext cx="512551" cy="266736"/>
                </a:xfrm>
                <a:custGeom>
                  <a:avLst/>
                  <a:gdLst>
                    <a:gd name="T0" fmla="*/ 92 w 166"/>
                    <a:gd name="T1" fmla="*/ 68 h 86"/>
                    <a:gd name="T2" fmla="*/ 30 w 166"/>
                    <a:gd name="T3" fmla="*/ 33 h 86"/>
                    <a:gd name="T4" fmla="*/ 25 w 166"/>
                    <a:gd name="T5" fmla="*/ 24 h 86"/>
                    <a:gd name="T6" fmla="*/ 34 w 166"/>
                    <a:gd name="T7" fmla="*/ 24 h 86"/>
                    <a:gd name="T8" fmla="*/ 17 w 166"/>
                    <a:gd name="T9" fmla="*/ 0 h 86"/>
                    <a:gd name="T10" fmla="*/ 0 w 166"/>
                    <a:gd name="T11" fmla="*/ 24 h 86"/>
                    <a:gd name="T12" fmla="*/ 6 w 166"/>
                    <a:gd name="T13" fmla="*/ 24 h 86"/>
                    <a:gd name="T14" fmla="*/ 7 w 166"/>
                    <a:gd name="T15" fmla="*/ 28 h 86"/>
                    <a:gd name="T16" fmla="*/ 92 w 166"/>
                    <a:gd name="T17" fmla="*/ 86 h 86"/>
                    <a:gd name="T18" fmla="*/ 166 w 166"/>
                    <a:gd name="T19" fmla="*/ 47 h 86"/>
                    <a:gd name="T20" fmla="*/ 142 w 166"/>
                    <a:gd name="T21" fmla="*/ 47 h 86"/>
                    <a:gd name="T22" fmla="*/ 92 w 166"/>
                    <a:gd name="T23" fmla="*/ 6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6" h="86">
                      <a:moveTo>
                        <a:pt x="92" y="68"/>
                      </a:moveTo>
                      <a:cubicBezTo>
                        <a:pt x="66" y="68"/>
                        <a:pt x="43" y="55"/>
                        <a:pt x="30" y="33"/>
                      </a:cubicBezTo>
                      <a:cubicBezTo>
                        <a:pt x="25" y="24"/>
                        <a:pt x="25" y="24"/>
                        <a:pt x="25" y="24"/>
                      </a:cubicBezTo>
                      <a:cubicBezTo>
                        <a:pt x="34" y="24"/>
                        <a:pt x="34" y="24"/>
                        <a:pt x="34" y="24"/>
                      </a:cubicBezTo>
                      <a:cubicBezTo>
                        <a:pt x="17" y="0"/>
                        <a:pt x="17" y="0"/>
                        <a:pt x="17" y="0"/>
                      </a:cubicBezTo>
                      <a:cubicBezTo>
                        <a:pt x="0" y="24"/>
                        <a:pt x="0" y="24"/>
                        <a:pt x="0" y="24"/>
                      </a:cubicBezTo>
                      <a:cubicBezTo>
                        <a:pt x="6" y="24"/>
                        <a:pt x="6" y="24"/>
                        <a:pt x="6" y="24"/>
                      </a:cubicBezTo>
                      <a:cubicBezTo>
                        <a:pt x="7" y="28"/>
                        <a:pt x="7" y="28"/>
                        <a:pt x="7" y="28"/>
                      </a:cubicBezTo>
                      <a:cubicBezTo>
                        <a:pt x="21" y="62"/>
                        <a:pt x="55" y="86"/>
                        <a:pt x="92" y="86"/>
                      </a:cubicBezTo>
                      <a:cubicBezTo>
                        <a:pt x="122" y="86"/>
                        <a:pt x="149" y="71"/>
                        <a:pt x="166" y="47"/>
                      </a:cubicBezTo>
                      <a:cubicBezTo>
                        <a:pt x="142" y="47"/>
                        <a:pt x="142" y="47"/>
                        <a:pt x="142" y="47"/>
                      </a:cubicBezTo>
                      <a:cubicBezTo>
                        <a:pt x="129" y="60"/>
                        <a:pt x="111" y="68"/>
                        <a:pt x="92" y="68"/>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75" name="Freeform 151"/>
                <p:cNvSpPr>
                  <a:spLocks noEditPoints="1"/>
                </p:cNvSpPr>
                <p:nvPr/>
              </p:nvSpPr>
              <p:spPr bwMode="auto">
                <a:xfrm>
                  <a:off x="6774607" y="5693645"/>
                  <a:ext cx="308577" cy="312500"/>
                </a:xfrm>
                <a:custGeom>
                  <a:avLst/>
                  <a:gdLst>
                    <a:gd name="T0" fmla="*/ 50 w 100"/>
                    <a:gd name="T1" fmla="*/ 101 h 101"/>
                    <a:gd name="T2" fmla="*/ 100 w 100"/>
                    <a:gd name="T3" fmla="*/ 50 h 101"/>
                    <a:gd name="T4" fmla="*/ 50 w 100"/>
                    <a:gd name="T5" fmla="*/ 0 h 101"/>
                    <a:gd name="T6" fmla="*/ 0 w 100"/>
                    <a:gd name="T7" fmla="*/ 50 h 101"/>
                    <a:gd name="T8" fmla="*/ 50 w 100"/>
                    <a:gd name="T9" fmla="*/ 101 h 101"/>
                    <a:gd name="T10" fmla="*/ 50 w 100"/>
                    <a:gd name="T11" fmla="*/ 9 h 101"/>
                    <a:gd name="T12" fmla="*/ 92 w 100"/>
                    <a:gd name="T13" fmla="*/ 50 h 101"/>
                    <a:gd name="T14" fmla="*/ 50 w 100"/>
                    <a:gd name="T15" fmla="*/ 92 h 101"/>
                    <a:gd name="T16" fmla="*/ 9 w 100"/>
                    <a:gd name="T17" fmla="*/ 50 h 101"/>
                    <a:gd name="T18" fmla="*/ 50 w 100"/>
                    <a:gd name="T19" fmla="*/ 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50" y="101"/>
                      </a:moveTo>
                      <a:cubicBezTo>
                        <a:pt x="78" y="101"/>
                        <a:pt x="100" y="78"/>
                        <a:pt x="100" y="50"/>
                      </a:cubicBezTo>
                      <a:cubicBezTo>
                        <a:pt x="100" y="23"/>
                        <a:pt x="78" y="0"/>
                        <a:pt x="50" y="0"/>
                      </a:cubicBezTo>
                      <a:cubicBezTo>
                        <a:pt x="23" y="0"/>
                        <a:pt x="0" y="23"/>
                        <a:pt x="0" y="50"/>
                      </a:cubicBezTo>
                      <a:cubicBezTo>
                        <a:pt x="0" y="78"/>
                        <a:pt x="23" y="101"/>
                        <a:pt x="50" y="101"/>
                      </a:cubicBezTo>
                      <a:close/>
                      <a:moveTo>
                        <a:pt x="50" y="9"/>
                      </a:moveTo>
                      <a:cubicBezTo>
                        <a:pt x="73" y="9"/>
                        <a:pt x="92" y="28"/>
                        <a:pt x="92" y="50"/>
                      </a:cubicBezTo>
                      <a:cubicBezTo>
                        <a:pt x="92" y="73"/>
                        <a:pt x="73" y="92"/>
                        <a:pt x="50" y="92"/>
                      </a:cubicBezTo>
                      <a:cubicBezTo>
                        <a:pt x="27" y="92"/>
                        <a:pt x="9" y="73"/>
                        <a:pt x="9" y="50"/>
                      </a:cubicBezTo>
                      <a:cubicBezTo>
                        <a:pt x="9" y="28"/>
                        <a:pt x="27" y="9"/>
                        <a:pt x="50" y="9"/>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76" name="Freeform 152"/>
                <p:cNvSpPr>
                  <a:spLocks noEditPoints="1"/>
                </p:cNvSpPr>
                <p:nvPr/>
              </p:nvSpPr>
              <p:spPr bwMode="auto">
                <a:xfrm>
                  <a:off x="6829523" y="5748561"/>
                  <a:ext cx="201359" cy="201359"/>
                </a:xfrm>
                <a:custGeom>
                  <a:avLst/>
                  <a:gdLst>
                    <a:gd name="T0" fmla="*/ 32 w 65"/>
                    <a:gd name="T1" fmla="*/ 65 h 65"/>
                    <a:gd name="T2" fmla="*/ 65 w 65"/>
                    <a:gd name="T3" fmla="*/ 32 h 65"/>
                    <a:gd name="T4" fmla="*/ 32 w 65"/>
                    <a:gd name="T5" fmla="*/ 0 h 65"/>
                    <a:gd name="T6" fmla="*/ 0 w 65"/>
                    <a:gd name="T7" fmla="*/ 32 h 65"/>
                    <a:gd name="T8" fmla="*/ 32 w 65"/>
                    <a:gd name="T9" fmla="*/ 65 h 65"/>
                    <a:gd name="T10" fmla="*/ 30 w 65"/>
                    <a:gd name="T11" fmla="*/ 36 h 65"/>
                    <a:gd name="T12" fmla="*/ 18 w 65"/>
                    <a:gd name="T13" fmla="*/ 23 h 65"/>
                    <a:gd name="T14" fmla="*/ 29 w 65"/>
                    <a:gd name="T15" fmla="*/ 11 h 65"/>
                    <a:gd name="T16" fmla="*/ 29 w 65"/>
                    <a:gd name="T17" fmla="*/ 5 h 65"/>
                    <a:gd name="T18" fmla="*/ 36 w 65"/>
                    <a:gd name="T19" fmla="*/ 5 h 65"/>
                    <a:gd name="T20" fmla="*/ 36 w 65"/>
                    <a:gd name="T21" fmla="*/ 11 h 65"/>
                    <a:gd name="T22" fmla="*/ 46 w 65"/>
                    <a:gd name="T23" fmla="*/ 13 h 65"/>
                    <a:gd name="T24" fmla="*/ 44 w 65"/>
                    <a:gd name="T25" fmla="*/ 21 h 65"/>
                    <a:gd name="T26" fmla="*/ 34 w 65"/>
                    <a:gd name="T27" fmla="*/ 18 h 65"/>
                    <a:gd name="T28" fmla="*/ 28 w 65"/>
                    <a:gd name="T29" fmla="*/ 22 h 65"/>
                    <a:gd name="T30" fmla="*/ 36 w 65"/>
                    <a:gd name="T31" fmla="*/ 28 h 65"/>
                    <a:gd name="T32" fmla="*/ 47 w 65"/>
                    <a:gd name="T33" fmla="*/ 41 h 65"/>
                    <a:gd name="T34" fmla="*/ 36 w 65"/>
                    <a:gd name="T35" fmla="*/ 53 h 65"/>
                    <a:gd name="T36" fmla="*/ 36 w 65"/>
                    <a:gd name="T37" fmla="*/ 60 h 65"/>
                    <a:gd name="T38" fmla="*/ 29 w 65"/>
                    <a:gd name="T39" fmla="*/ 60 h 65"/>
                    <a:gd name="T40" fmla="*/ 29 w 65"/>
                    <a:gd name="T41" fmla="*/ 54 h 65"/>
                    <a:gd name="T42" fmla="*/ 17 w 65"/>
                    <a:gd name="T43" fmla="*/ 51 h 65"/>
                    <a:gd name="T44" fmla="*/ 19 w 65"/>
                    <a:gd name="T45" fmla="*/ 43 h 65"/>
                    <a:gd name="T46" fmla="*/ 31 w 65"/>
                    <a:gd name="T47" fmla="*/ 46 h 65"/>
                    <a:gd name="T48" fmla="*/ 37 w 65"/>
                    <a:gd name="T49" fmla="*/ 42 h 65"/>
                    <a:gd name="T50" fmla="*/ 30 w 65"/>
                    <a:gd name="T51" fmla="*/ 3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5" h="65">
                      <a:moveTo>
                        <a:pt x="32" y="65"/>
                      </a:moveTo>
                      <a:cubicBezTo>
                        <a:pt x="50" y="65"/>
                        <a:pt x="65" y="50"/>
                        <a:pt x="65" y="32"/>
                      </a:cubicBezTo>
                      <a:cubicBezTo>
                        <a:pt x="65" y="15"/>
                        <a:pt x="50" y="0"/>
                        <a:pt x="32" y="0"/>
                      </a:cubicBezTo>
                      <a:cubicBezTo>
                        <a:pt x="14" y="0"/>
                        <a:pt x="0" y="15"/>
                        <a:pt x="0" y="32"/>
                      </a:cubicBezTo>
                      <a:cubicBezTo>
                        <a:pt x="0" y="50"/>
                        <a:pt x="14" y="65"/>
                        <a:pt x="32" y="65"/>
                      </a:cubicBezTo>
                      <a:close/>
                      <a:moveTo>
                        <a:pt x="30" y="36"/>
                      </a:moveTo>
                      <a:cubicBezTo>
                        <a:pt x="23" y="33"/>
                        <a:pt x="18" y="30"/>
                        <a:pt x="18" y="23"/>
                      </a:cubicBezTo>
                      <a:cubicBezTo>
                        <a:pt x="18" y="17"/>
                        <a:pt x="22" y="13"/>
                        <a:pt x="29" y="11"/>
                      </a:cubicBezTo>
                      <a:cubicBezTo>
                        <a:pt x="29" y="5"/>
                        <a:pt x="29" y="5"/>
                        <a:pt x="29" y="5"/>
                      </a:cubicBezTo>
                      <a:cubicBezTo>
                        <a:pt x="36" y="5"/>
                        <a:pt x="36" y="5"/>
                        <a:pt x="36" y="5"/>
                      </a:cubicBezTo>
                      <a:cubicBezTo>
                        <a:pt x="36" y="11"/>
                        <a:pt x="36" y="11"/>
                        <a:pt x="36" y="11"/>
                      </a:cubicBezTo>
                      <a:cubicBezTo>
                        <a:pt x="40" y="11"/>
                        <a:pt x="43" y="12"/>
                        <a:pt x="46" y="13"/>
                      </a:cubicBezTo>
                      <a:cubicBezTo>
                        <a:pt x="44" y="21"/>
                        <a:pt x="44" y="21"/>
                        <a:pt x="44" y="21"/>
                      </a:cubicBezTo>
                      <a:cubicBezTo>
                        <a:pt x="42" y="20"/>
                        <a:pt x="39" y="18"/>
                        <a:pt x="34" y="18"/>
                      </a:cubicBezTo>
                      <a:cubicBezTo>
                        <a:pt x="30" y="18"/>
                        <a:pt x="28" y="20"/>
                        <a:pt x="28" y="22"/>
                      </a:cubicBezTo>
                      <a:cubicBezTo>
                        <a:pt x="28" y="24"/>
                        <a:pt x="30" y="26"/>
                        <a:pt x="36" y="28"/>
                      </a:cubicBezTo>
                      <a:cubicBezTo>
                        <a:pt x="44" y="31"/>
                        <a:pt x="47" y="35"/>
                        <a:pt x="47" y="41"/>
                      </a:cubicBezTo>
                      <a:cubicBezTo>
                        <a:pt x="47" y="47"/>
                        <a:pt x="43" y="52"/>
                        <a:pt x="36" y="53"/>
                      </a:cubicBezTo>
                      <a:cubicBezTo>
                        <a:pt x="36" y="60"/>
                        <a:pt x="36" y="60"/>
                        <a:pt x="36" y="60"/>
                      </a:cubicBezTo>
                      <a:cubicBezTo>
                        <a:pt x="29" y="60"/>
                        <a:pt x="29" y="60"/>
                        <a:pt x="29" y="60"/>
                      </a:cubicBezTo>
                      <a:cubicBezTo>
                        <a:pt x="29" y="54"/>
                        <a:pt x="29" y="54"/>
                        <a:pt x="29" y="54"/>
                      </a:cubicBezTo>
                      <a:cubicBezTo>
                        <a:pt x="24" y="53"/>
                        <a:pt x="20" y="52"/>
                        <a:pt x="17" y="51"/>
                      </a:cubicBezTo>
                      <a:cubicBezTo>
                        <a:pt x="19" y="43"/>
                        <a:pt x="19" y="43"/>
                        <a:pt x="19" y="43"/>
                      </a:cubicBezTo>
                      <a:cubicBezTo>
                        <a:pt x="22" y="44"/>
                        <a:pt x="26" y="46"/>
                        <a:pt x="31" y="46"/>
                      </a:cubicBezTo>
                      <a:cubicBezTo>
                        <a:pt x="35" y="46"/>
                        <a:pt x="37" y="44"/>
                        <a:pt x="37" y="42"/>
                      </a:cubicBezTo>
                      <a:cubicBezTo>
                        <a:pt x="37" y="39"/>
                        <a:pt x="35" y="37"/>
                        <a:pt x="30" y="36"/>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grpSp>
        </p:grpSp>
      </p:grpSp>
      <p:grpSp>
        <p:nvGrpSpPr>
          <p:cNvPr id="77" name="组合 76"/>
          <p:cNvGrpSpPr/>
          <p:nvPr/>
        </p:nvGrpSpPr>
        <p:grpSpPr>
          <a:xfrm>
            <a:off x="7478128" y="4906948"/>
            <a:ext cx="4271974" cy="1066931"/>
            <a:chOff x="7479031" y="4998922"/>
            <a:chExt cx="4271974" cy="1066931"/>
          </a:xfrm>
        </p:grpSpPr>
        <p:sp>
          <p:nvSpPr>
            <p:cNvPr id="78" name="矩形 77"/>
            <p:cNvSpPr/>
            <p:nvPr/>
          </p:nvSpPr>
          <p:spPr>
            <a:xfrm>
              <a:off x="8350032" y="4998922"/>
              <a:ext cx="954107" cy="400110"/>
            </a:xfrm>
            <a:prstGeom prst="rect">
              <a:avLst/>
            </a:prstGeom>
            <a:noFill/>
          </p:spPr>
          <p:txBody>
            <a:bodyPr wrap="none" rtlCol="0">
              <a:spAutoFit/>
              <a:scene3d>
                <a:camera prst="orthographicFront"/>
                <a:lightRig rig="threePt" dir="t"/>
              </a:scene3d>
            </a:bodyPr>
            <a:lstStyle/>
            <a:p>
              <a:pPr lvl="0" defTabSz="910590">
                <a:defRPr/>
              </a:pPr>
              <a:r>
                <a:rPr lang="zh-CN" altLang="en-US" sz="2000" b="1" dirty="0">
                  <a:solidFill>
                    <a:srgbClr val="84FFFF"/>
                  </a:solidFill>
                  <a:effectLst/>
                  <a:cs typeface="+mn-ea"/>
                  <a:sym typeface="+mn-lt"/>
                </a:rPr>
                <a:t>媒体主</a:t>
              </a:r>
            </a:p>
          </p:txBody>
        </p:sp>
        <p:sp>
          <p:nvSpPr>
            <p:cNvPr id="79" name="矩形 78"/>
            <p:cNvSpPr/>
            <p:nvPr/>
          </p:nvSpPr>
          <p:spPr>
            <a:xfrm>
              <a:off x="8324016" y="5419522"/>
              <a:ext cx="342698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chemeClr val="bg1">
                      <a:lumMod val="75000"/>
                    </a:schemeClr>
                  </a:solidFill>
                  <a:effectLst/>
                  <a:uLnTx/>
                  <a:uFillTx/>
                  <a:cs typeface="+mn-ea"/>
                  <a:sym typeface="+mn-lt"/>
                </a:rPr>
                <a:t>DMChain</a:t>
              </a:r>
              <a:r>
                <a:rPr kumimoji="0" lang="zh-CN" altLang="en-US" sz="1200" b="0" i="0" u="none" strike="noStrike" kern="1200" cap="none" spc="0" normalizeH="0" baseline="0" noProof="0" dirty="0">
                  <a:ln>
                    <a:noFill/>
                  </a:ln>
                  <a:solidFill>
                    <a:schemeClr val="bg1">
                      <a:lumMod val="75000"/>
                    </a:schemeClr>
                  </a:solidFill>
                  <a:effectLst/>
                  <a:uLnTx/>
                  <a:uFillTx/>
                  <a:cs typeface="+mn-ea"/>
                  <a:sym typeface="+mn-lt"/>
                </a:rPr>
                <a:t>主链上的去中心化广告 交易系统：媒体主们把通过</a:t>
              </a:r>
              <a:r>
                <a:rPr kumimoji="0" lang="en-US" altLang="zh-CN" sz="1200" b="0" i="0" u="none" strike="noStrike" kern="1200" cap="none" spc="0" normalizeH="0" baseline="0" noProof="0" dirty="0">
                  <a:ln>
                    <a:noFill/>
                  </a:ln>
                  <a:solidFill>
                    <a:schemeClr val="bg1">
                      <a:lumMod val="75000"/>
                    </a:schemeClr>
                  </a:solidFill>
                  <a:effectLst/>
                  <a:uLnTx/>
                  <a:uFillTx/>
                  <a:cs typeface="+mn-ea"/>
                  <a:sym typeface="+mn-lt"/>
                </a:rPr>
                <a:t>SDK</a:t>
              </a:r>
              <a:r>
                <a:rPr kumimoji="0" lang="zh-CN" altLang="en-US" sz="1200" b="0" i="0" u="none" strike="noStrike" kern="1200" cap="none" spc="0" normalizeH="0" baseline="0" noProof="0" dirty="0">
                  <a:ln>
                    <a:noFill/>
                  </a:ln>
                  <a:solidFill>
                    <a:schemeClr val="bg1">
                      <a:lumMod val="75000"/>
                    </a:schemeClr>
                  </a:solidFill>
                  <a:effectLst/>
                  <a:uLnTx/>
                  <a:uFillTx/>
                  <a:cs typeface="+mn-ea"/>
                  <a:sym typeface="+mn-lt"/>
                </a:rPr>
                <a:t>上 链的广告位（流量资源）写在智能 合约中，广告主与广告商按需采购。</a:t>
              </a:r>
            </a:p>
          </p:txBody>
        </p:sp>
        <p:grpSp>
          <p:nvGrpSpPr>
            <p:cNvPr id="80" name="组合 79"/>
            <p:cNvGrpSpPr/>
            <p:nvPr/>
          </p:nvGrpSpPr>
          <p:grpSpPr>
            <a:xfrm>
              <a:off x="7479031" y="5141845"/>
              <a:ext cx="701286" cy="701287"/>
              <a:chOff x="7479031" y="5141845"/>
              <a:chExt cx="701286" cy="701287"/>
            </a:xfrm>
          </p:grpSpPr>
          <p:sp>
            <p:nvSpPr>
              <p:cNvPr id="81" name="MH_SubTitle_3"/>
              <p:cNvSpPr>
                <a:spLocks noChangeArrowheads="1"/>
              </p:cNvSpPr>
              <p:nvPr/>
            </p:nvSpPr>
            <p:spPr bwMode="auto">
              <a:xfrm>
                <a:off x="7479031" y="5141845"/>
                <a:ext cx="701286" cy="701287"/>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grpSp>
            <p:nvGrpSpPr>
              <p:cNvPr id="82" name="组合 81"/>
              <p:cNvGrpSpPr/>
              <p:nvPr/>
            </p:nvGrpSpPr>
            <p:grpSpPr>
              <a:xfrm>
                <a:off x="7657134" y="5290699"/>
                <a:ext cx="357230" cy="343476"/>
                <a:chOff x="3620725" y="5138333"/>
                <a:chExt cx="702937" cy="675873"/>
              </a:xfrm>
              <a:solidFill>
                <a:srgbClr val="FF7C34"/>
              </a:solidFill>
              <a:effectLst>
                <a:reflection blurRad="6350" stA="50000" endA="300" endPos="55000" dir="5400000" sy="-100000" algn="bl" rotWithShape="0"/>
              </a:effectLst>
            </p:grpSpPr>
            <p:sp>
              <p:nvSpPr>
                <p:cNvPr id="83" name="Freeform 18"/>
                <p:cNvSpPr/>
                <p:nvPr/>
              </p:nvSpPr>
              <p:spPr bwMode="auto">
                <a:xfrm>
                  <a:off x="3620725" y="5360332"/>
                  <a:ext cx="702937" cy="280151"/>
                </a:xfrm>
                <a:custGeom>
                  <a:avLst/>
                  <a:gdLst>
                    <a:gd name="T0" fmla="*/ 699 w 813"/>
                    <a:gd name="T1" fmla="*/ 96 h 324"/>
                    <a:gd name="T2" fmla="*/ 661 w 813"/>
                    <a:gd name="T3" fmla="*/ 96 h 324"/>
                    <a:gd name="T4" fmla="*/ 661 w 813"/>
                    <a:gd name="T5" fmla="*/ 178 h 324"/>
                    <a:gd name="T6" fmla="*/ 632 w 813"/>
                    <a:gd name="T7" fmla="*/ 207 h 324"/>
                    <a:gd name="T8" fmla="*/ 317 w 813"/>
                    <a:gd name="T9" fmla="*/ 207 h 324"/>
                    <a:gd name="T10" fmla="*/ 317 w 813"/>
                    <a:gd name="T11" fmla="*/ 296 h 324"/>
                    <a:gd name="T12" fmla="*/ 289 w 813"/>
                    <a:gd name="T13" fmla="*/ 324 h 324"/>
                    <a:gd name="T14" fmla="*/ 120 w 813"/>
                    <a:gd name="T15" fmla="*/ 324 h 324"/>
                    <a:gd name="T16" fmla="*/ 92 w 813"/>
                    <a:gd name="T17" fmla="*/ 296 h 324"/>
                    <a:gd name="T18" fmla="*/ 92 w 813"/>
                    <a:gd name="T19" fmla="*/ 204 h 324"/>
                    <a:gd name="T20" fmla="*/ 0 w 813"/>
                    <a:gd name="T21" fmla="*/ 204 h 324"/>
                    <a:gd name="T22" fmla="*/ 0 w 813"/>
                    <a:gd name="T23" fmla="*/ 147 h 324"/>
                    <a:gd name="T24" fmla="*/ 120 w 813"/>
                    <a:gd name="T25" fmla="*/ 147 h 324"/>
                    <a:gd name="T26" fmla="*/ 149 w 813"/>
                    <a:gd name="T27" fmla="*/ 175 h 324"/>
                    <a:gd name="T28" fmla="*/ 149 w 813"/>
                    <a:gd name="T29" fmla="*/ 267 h 324"/>
                    <a:gd name="T30" fmla="*/ 260 w 813"/>
                    <a:gd name="T31" fmla="*/ 267 h 324"/>
                    <a:gd name="T32" fmla="*/ 260 w 813"/>
                    <a:gd name="T33" fmla="*/ 178 h 324"/>
                    <a:gd name="T34" fmla="*/ 289 w 813"/>
                    <a:gd name="T35" fmla="*/ 150 h 324"/>
                    <a:gd name="T36" fmla="*/ 603 w 813"/>
                    <a:gd name="T37" fmla="*/ 150 h 324"/>
                    <a:gd name="T38" fmla="*/ 603 w 813"/>
                    <a:gd name="T39" fmla="*/ 67 h 324"/>
                    <a:gd name="T40" fmla="*/ 632 w 813"/>
                    <a:gd name="T41" fmla="*/ 39 h 324"/>
                    <a:gd name="T42" fmla="*/ 699 w 813"/>
                    <a:gd name="T43" fmla="*/ 39 h 324"/>
                    <a:gd name="T44" fmla="*/ 699 w 813"/>
                    <a:gd name="T45" fmla="*/ 0 h 324"/>
                    <a:gd name="T46" fmla="*/ 813 w 813"/>
                    <a:gd name="T47" fmla="*/ 67 h 324"/>
                    <a:gd name="T48" fmla="*/ 699 w 813"/>
                    <a:gd name="T49" fmla="*/ 134 h 324"/>
                    <a:gd name="T50" fmla="*/ 699 w 813"/>
                    <a:gd name="T51" fmla="*/ 96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3" h="324">
                      <a:moveTo>
                        <a:pt x="699" y="96"/>
                      </a:moveTo>
                      <a:cubicBezTo>
                        <a:pt x="661" y="96"/>
                        <a:pt x="661" y="96"/>
                        <a:pt x="661" y="96"/>
                      </a:cubicBezTo>
                      <a:cubicBezTo>
                        <a:pt x="661" y="123"/>
                        <a:pt x="661" y="151"/>
                        <a:pt x="661" y="178"/>
                      </a:cubicBezTo>
                      <a:cubicBezTo>
                        <a:pt x="661" y="194"/>
                        <a:pt x="648" y="207"/>
                        <a:pt x="632" y="207"/>
                      </a:cubicBezTo>
                      <a:cubicBezTo>
                        <a:pt x="317" y="207"/>
                        <a:pt x="317" y="207"/>
                        <a:pt x="317" y="207"/>
                      </a:cubicBezTo>
                      <a:cubicBezTo>
                        <a:pt x="317" y="296"/>
                        <a:pt x="317" y="296"/>
                        <a:pt x="317" y="296"/>
                      </a:cubicBezTo>
                      <a:cubicBezTo>
                        <a:pt x="317" y="312"/>
                        <a:pt x="305" y="324"/>
                        <a:pt x="289" y="324"/>
                      </a:cubicBezTo>
                      <a:cubicBezTo>
                        <a:pt x="120" y="324"/>
                        <a:pt x="120" y="324"/>
                        <a:pt x="120" y="324"/>
                      </a:cubicBezTo>
                      <a:cubicBezTo>
                        <a:pt x="105" y="324"/>
                        <a:pt x="92" y="312"/>
                        <a:pt x="92" y="296"/>
                      </a:cubicBezTo>
                      <a:cubicBezTo>
                        <a:pt x="92" y="204"/>
                        <a:pt x="92" y="204"/>
                        <a:pt x="92" y="204"/>
                      </a:cubicBezTo>
                      <a:cubicBezTo>
                        <a:pt x="0" y="204"/>
                        <a:pt x="0" y="204"/>
                        <a:pt x="0" y="204"/>
                      </a:cubicBezTo>
                      <a:cubicBezTo>
                        <a:pt x="0" y="147"/>
                        <a:pt x="0" y="147"/>
                        <a:pt x="0" y="147"/>
                      </a:cubicBezTo>
                      <a:cubicBezTo>
                        <a:pt x="28" y="147"/>
                        <a:pt x="92" y="147"/>
                        <a:pt x="120" y="147"/>
                      </a:cubicBezTo>
                      <a:cubicBezTo>
                        <a:pt x="136" y="147"/>
                        <a:pt x="149" y="159"/>
                        <a:pt x="149" y="175"/>
                      </a:cubicBezTo>
                      <a:cubicBezTo>
                        <a:pt x="149" y="267"/>
                        <a:pt x="149" y="267"/>
                        <a:pt x="149" y="267"/>
                      </a:cubicBezTo>
                      <a:cubicBezTo>
                        <a:pt x="260" y="267"/>
                        <a:pt x="260" y="267"/>
                        <a:pt x="260" y="267"/>
                      </a:cubicBezTo>
                      <a:cubicBezTo>
                        <a:pt x="260" y="178"/>
                        <a:pt x="260" y="178"/>
                        <a:pt x="260" y="178"/>
                      </a:cubicBezTo>
                      <a:cubicBezTo>
                        <a:pt x="260" y="162"/>
                        <a:pt x="273" y="150"/>
                        <a:pt x="289" y="150"/>
                      </a:cubicBezTo>
                      <a:cubicBezTo>
                        <a:pt x="603" y="150"/>
                        <a:pt x="603" y="150"/>
                        <a:pt x="603" y="150"/>
                      </a:cubicBezTo>
                      <a:cubicBezTo>
                        <a:pt x="603" y="67"/>
                        <a:pt x="603" y="67"/>
                        <a:pt x="603" y="67"/>
                      </a:cubicBezTo>
                      <a:cubicBezTo>
                        <a:pt x="603" y="51"/>
                        <a:pt x="616" y="39"/>
                        <a:pt x="632" y="39"/>
                      </a:cubicBezTo>
                      <a:cubicBezTo>
                        <a:pt x="699" y="39"/>
                        <a:pt x="699" y="39"/>
                        <a:pt x="699" y="39"/>
                      </a:cubicBezTo>
                      <a:cubicBezTo>
                        <a:pt x="699" y="0"/>
                        <a:pt x="699" y="0"/>
                        <a:pt x="699" y="0"/>
                      </a:cubicBezTo>
                      <a:cubicBezTo>
                        <a:pt x="813" y="67"/>
                        <a:pt x="813" y="67"/>
                        <a:pt x="813" y="67"/>
                      </a:cubicBezTo>
                      <a:cubicBezTo>
                        <a:pt x="699" y="134"/>
                        <a:pt x="699" y="134"/>
                        <a:pt x="699" y="134"/>
                      </a:cubicBezTo>
                      <a:cubicBezTo>
                        <a:pt x="699" y="96"/>
                        <a:pt x="699" y="96"/>
                        <a:pt x="699" y="96"/>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84" name="Freeform 19"/>
                <p:cNvSpPr>
                  <a:spLocks noEditPoints="1"/>
                </p:cNvSpPr>
                <p:nvPr/>
              </p:nvSpPr>
              <p:spPr bwMode="auto">
                <a:xfrm>
                  <a:off x="3620725" y="5138333"/>
                  <a:ext cx="653563" cy="675873"/>
                </a:xfrm>
                <a:custGeom>
                  <a:avLst/>
                  <a:gdLst>
                    <a:gd name="T0" fmla="*/ 502 w 756"/>
                    <a:gd name="T1" fmla="*/ 57 h 782"/>
                    <a:gd name="T2" fmla="*/ 569 w 756"/>
                    <a:gd name="T3" fmla="*/ 331 h 782"/>
                    <a:gd name="T4" fmla="*/ 464 w 756"/>
                    <a:gd name="T5" fmla="*/ 369 h 782"/>
                    <a:gd name="T6" fmla="*/ 381 w 756"/>
                    <a:gd name="T7" fmla="*/ 57 h 782"/>
                    <a:gd name="T8" fmla="*/ 343 w 756"/>
                    <a:gd name="T9" fmla="*/ 146 h 782"/>
                    <a:gd name="T10" fmla="*/ 165 w 756"/>
                    <a:gd name="T11" fmla="*/ 57 h 782"/>
                    <a:gd name="T12" fmla="*/ 127 w 756"/>
                    <a:gd name="T13" fmla="*/ 146 h 782"/>
                    <a:gd name="T14" fmla="*/ 57 w 756"/>
                    <a:gd name="T15" fmla="*/ 57 h 782"/>
                    <a:gd name="T16" fmla="*/ 235 w 756"/>
                    <a:gd name="T17" fmla="*/ 222 h 782"/>
                    <a:gd name="T18" fmla="*/ 273 w 756"/>
                    <a:gd name="T19" fmla="*/ 102 h 782"/>
                    <a:gd name="T20" fmla="*/ 381 w 756"/>
                    <a:gd name="T21" fmla="*/ 222 h 782"/>
                    <a:gd name="T22" fmla="*/ 225 w 756"/>
                    <a:gd name="T23" fmla="*/ 369 h 782"/>
                    <a:gd name="T24" fmla="*/ 187 w 756"/>
                    <a:gd name="T25" fmla="*/ 486 h 782"/>
                    <a:gd name="T26" fmla="*/ 343 w 756"/>
                    <a:gd name="T27" fmla="*/ 331 h 782"/>
                    <a:gd name="T28" fmla="*/ 57 w 756"/>
                    <a:gd name="T29" fmla="*/ 260 h 782"/>
                    <a:gd name="T30" fmla="*/ 0 w 756"/>
                    <a:gd name="T31" fmla="*/ 365 h 782"/>
                    <a:gd name="T32" fmla="*/ 28 w 756"/>
                    <a:gd name="T33" fmla="*/ 0 h 782"/>
                    <a:gd name="T34" fmla="*/ 756 w 756"/>
                    <a:gd name="T35" fmla="*/ 29 h 782"/>
                    <a:gd name="T36" fmla="*/ 699 w 756"/>
                    <a:gd name="T37" fmla="*/ 213 h 782"/>
                    <a:gd name="T38" fmla="*/ 616 w 756"/>
                    <a:gd name="T39" fmla="*/ 146 h 782"/>
                    <a:gd name="T40" fmla="*/ 578 w 756"/>
                    <a:gd name="T41" fmla="*/ 261 h 782"/>
                    <a:gd name="T42" fmla="*/ 699 w 756"/>
                    <a:gd name="T43" fmla="*/ 108 h 782"/>
                    <a:gd name="T44" fmla="*/ 168 w 756"/>
                    <a:gd name="T45" fmla="*/ 655 h 782"/>
                    <a:gd name="T46" fmla="*/ 149 w 756"/>
                    <a:gd name="T47" fmla="*/ 616 h 782"/>
                    <a:gd name="T48" fmla="*/ 352 w 756"/>
                    <a:gd name="T49" fmla="*/ 502 h 782"/>
                    <a:gd name="T50" fmla="*/ 391 w 756"/>
                    <a:gd name="T51" fmla="*/ 655 h 782"/>
                    <a:gd name="T52" fmla="*/ 273 w 756"/>
                    <a:gd name="T53" fmla="*/ 725 h 782"/>
                    <a:gd name="T54" fmla="*/ 464 w 756"/>
                    <a:gd name="T55" fmla="*/ 616 h 782"/>
                    <a:gd name="T56" fmla="*/ 578 w 756"/>
                    <a:gd name="T57" fmla="*/ 540 h 782"/>
                    <a:gd name="T58" fmla="*/ 464 w 756"/>
                    <a:gd name="T59" fmla="*/ 502 h 782"/>
                    <a:gd name="T60" fmla="*/ 616 w 756"/>
                    <a:gd name="T61" fmla="*/ 655 h 782"/>
                    <a:gd name="T62" fmla="*/ 502 w 756"/>
                    <a:gd name="T63" fmla="*/ 725 h 782"/>
                    <a:gd name="T64" fmla="*/ 699 w 756"/>
                    <a:gd name="T65" fmla="*/ 435 h 782"/>
                    <a:gd name="T66" fmla="*/ 756 w 756"/>
                    <a:gd name="T67" fmla="*/ 753 h 782"/>
                    <a:gd name="T68" fmla="*/ 28 w 756"/>
                    <a:gd name="T69" fmla="*/ 782 h 782"/>
                    <a:gd name="T70" fmla="*/ 0 w 756"/>
                    <a:gd name="T71" fmla="*/ 499 h 782"/>
                    <a:gd name="T72" fmla="*/ 57 w 756"/>
                    <a:gd name="T73" fmla="*/ 725 h 782"/>
                    <a:gd name="T74" fmla="*/ 235 w 756"/>
                    <a:gd name="T75" fmla="*/ 655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56" h="782">
                      <a:moveTo>
                        <a:pt x="699" y="57"/>
                      </a:moveTo>
                      <a:cubicBezTo>
                        <a:pt x="502" y="57"/>
                        <a:pt x="502" y="57"/>
                        <a:pt x="502" y="57"/>
                      </a:cubicBezTo>
                      <a:cubicBezTo>
                        <a:pt x="502" y="331"/>
                        <a:pt x="502" y="331"/>
                        <a:pt x="502" y="331"/>
                      </a:cubicBezTo>
                      <a:cubicBezTo>
                        <a:pt x="569" y="331"/>
                        <a:pt x="569" y="331"/>
                        <a:pt x="569" y="331"/>
                      </a:cubicBezTo>
                      <a:cubicBezTo>
                        <a:pt x="569" y="369"/>
                        <a:pt x="569" y="369"/>
                        <a:pt x="569" y="369"/>
                      </a:cubicBezTo>
                      <a:cubicBezTo>
                        <a:pt x="464" y="369"/>
                        <a:pt x="464" y="369"/>
                        <a:pt x="464" y="369"/>
                      </a:cubicBezTo>
                      <a:cubicBezTo>
                        <a:pt x="464" y="57"/>
                        <a:pt x="464" y="57"/>
                        <a:pt x="464" y="57"/>
                      </a:cubicBezTo>
                      <a:cubicBezTo>
                        <a:pt x="381" y="57"/>
                        <a:pt x="381" y="57"/>
                        <a:pt x="381" y="57"/>
                      </a:cubicBezTo>
                      <a:cubicBezTo>
                        <a:pt x="381" y="146"/>
                        <a:pt x="381" y="146"/>
                        <a:pt x="381" y="146"/>
                      </a:cubicBezTo>
                      <a:cubicBezTo>
                        <a:pt x="343" y="146"/>
                        <a:pt x="343" y="146"/>
                        <a:pt x="343" y="146"/>
                      </a:cubicBezTo>
                      <a:cubicBezTo>
                        <a:pt x="343" y="57"/>
                        <a:pt x="343" y="57"/>
                        <a:pt x="343" y="57"/>
                      </a:cubicBezTo>
                      <a:cubicBezTo>
                        <a:pt x="165" y="57"/>
                        <a:pt x="165" y="57"/>
                        <a:pt x="165" y="57"/>
                      </a:cubicBezTo>
                      <a:cubicBezTo>
                        <a:pt x="165" y="146"/>
                        <a:pt x="165" y="146"/>
                        <a:pt x="165" y="146"/>
                      </a:cubicBezTo>
                      <a:cubicBezTo>
                        <a:pt x="127" y="146"/>
                        <a:pt x="127" y="146"/>
                        <a:pt x="127" y="146"/>
                      </a:cubicBezTo>
                      <a:cubicBezTo>
                        <a:pt x="127" y="57"/>
                        <a:pt x="127" y="57"/>
                        <a:pt x="127" y="57"/>
                      </a:cubicBezTo>
                      <a:cubicBezTo>
                        <a:pt x="57" y="57"/>
                        <a:pt x="57" y="57"/>
                        <a:pt x="57" y="57"/>
                      </a:cubicBezTo>
                      <a:cubicBezTo>
                        <a:pt x="57" y="222"/>
                        <a:pt x="57" y="222"/>
                        <a:pt x="57" y="222"/>
                      </a:cubicBezTo>
                      <a:cubicBezTo>
                        <a:pt x="235" y="222"/>
                        <a:pt x="235" y="222"/>
                        <a:pt x="235" y="222"/>
                      </a:cubicBezTo>
                      <a:cubicBezTo>
                        <a:pt x="235" y="102"/>
                        <a:pt x="235" y="102"/>
                        <a:pt x="235" y="102"/>
                      </a:cubicBezTo>
                      <a:cubicBezTo>
                        <a:pt x="273" y="102"/>
                        <a:pt x="273" y="102"/>
                        <a:pt x="273" y="102"/>
                      </a:cubicBezTo>
                      <a:cubicBezTo>
                        <a:pt x="273" y="222"/>
                        <a:pt x="273" y="222"/>
                        <a:pt x="273" y="222"/>
                      </a:cubicBezTo>
                      <a:cubicBezTo>
                        <a:pt x="381" y="222"/>
                        <a:pt x="381" y="222"/>
                        <a:pt x="381" y="222"/>
                      </a:cubicBezTo>
                      <a:cubicBezTo>
                        <a:pt x="381" y="369"/>
                        <a:pt x="381" y="369"/>
                        <a:pt x="381" y="369"/>
                      </a:cubicBezTo>
                      <a:cubicBezTo>
                        <a:pt x="225" y="369"/>
                        <a:pt x="225" y="369"/>
                        <a:pt x="225" y="369"/>
                      </a:cubicBezTo>
                      <a:cubicBezTo>
                        <a:pt x="225" y="486"/>
                        <a:pt x="225" y="486"/>
                        <a:pt x="225" y="486"/>
                      </a:cubicBezTo>
                      <a:cubicBezTo>
                        <a:pt x="187" y="486"/>
                        <a:pt x="187" y="486"/>
                        <a:pt x="187" y="486"/>
                      </a:cubicBezTo>
                      <a:cubicBezTo>
                        <a:pt x="187" y="331"/>
                        <a:pt x="187" y="331"/>
                        <a:pt x="187" y="331"/>
                      </a:cubicBezTo>
                      <a:cubicBezTo>
                        <a:pt x="343" y="331"/>
                        <a:pt x="343" y="331"/>
                        <a:pt x="343" y="331"/>
                      </a:cubicBezTo>
                      <a:cubicBezTo>
                        <a:pt x="343" y="260"/>
                        <a:pt x="343" y="260"/>
                        <a:pt x="343" y="260"/>
                      </a:cubicBezTo>
                      <a:cubicBezTo>
                        <a:pt x="57" y="260"/>
                        <a:pt x="57" y="260"/>
                        <a:pt x="57" y="260"/>
                      </a:cubicBezTo>
                      <a:cubicBezTo>
                        <a:pt x="57" y="365"/>
                        <a:pt x="57" y="365"/>
                        <a:pt x="57" y="365"/>
                      </a:cubicBezTo>
                      <a:cubicBezTo>
                        <a:pt x="0" y="365"/>
                        <a:pt x="0" y="365"/>
                        <a:pt x="0" y="365"/>
                      </a:cubicBezTo>
                      <a:cubicBezTo>
                        <a:pt x="0" y="29"/>
                        <a:pt x="0" y="29"/>
                        <a:pt x="0" y="29"/>
                      </a:cubicBezTo>
                      <a:cubicBezTo>
                        <a:pt x="0" y="13"/>
                        <a:pt x="12" y="0"/>
                        <a:pt x="28" y="0"/>
                      </a:cubicBezTo>
                      <a:cubicBezTo>
                        <a:pt x="727" y="0"/>
                        <a:pt x="727" y="0"/>
                        <a:pt x="727" y="0"/>
                      </a:cubicBezTo>
                      <a:cubicBezTo>
                        <a:pt x="743" y="0"/>
                        <a:pt x="756" y="13"/>
                        <a:pt x="756" y="29"/>
                      </a:cubicBezTo>
                      <a:cubicBezTo>
                        <a:pt x="756" y="247"/>
                        <a:pt x="756" y="247"/>
                        <a:pt x="756" y="247"/>
                      </a:cubicBezTo>
                      <a:cubicBezTo>
                        <a:pt x="699" y="213"/>
                        <a:pt x="699" y="213"/>
                        <a:pt x="699" y="213"/>
                      </a:cubicBezTo>
                      <a:cubicBezTo>
                        <a:pt x="699" y="146"/>
                        <a:pt x="699" y="146"/>
                        <a:pt x="699" y="146"/>
                      </a:cubicBezTo>
                      <a:cubicBezTo>
                        <a:pt x="616" y="146"/>
                        <a:pt x="616" y="146"/>
                        <a:pt x="616" y="146"/>
                      </a:cubicBezTo>
                      <a:cubicBezTo>
                        <a:pt x="616" y="261"/>
                        <a:pt x="616" y="261"/>
                        <a:pt x="616" y="261"/>
                      </a:cubicBezTo>
                      <a:cubicBezTo>
                        <a:pt x="578" y="261"/>
                        <a:pt x="578" y="261"/>
                        <a:pt x="578" y="261"/>
                      </a:cubicBezTo>
                      <a:cubicBezTo>
                        <a:pt x="578" y="108"/>
                        <a:pt x="578" y="108"/>
                        <a:pt x="578" y="108"/>
                      </a:cubicBezTo>
                      <a:cubicBezTo>
                        <a:pt x="618" y="108"/>
                        <a:pt x="658" y="108"/>
                        <a:pt x="699" y="108"/>
                      </a:cubicBezTo>
                      <a:cubicBezTo>
                        <a:pt x="699" y="57"/>
                        <a:pt x="699" y="57"/>
                        <a:pt x="699" y="57"/>
                      </a:cubicBezTo>
                      <a:close/>
                      <a:moveTo>
                        <a:pt x="168" y="655"/>
                      </a:moveTo>
                      <a:cubicBezTo>
                        <a:pt x="149" y="655"/>
                        <a:pt x="149" y="655"/>
                        <a:pt x="149" y="655"/>
                      </a:cubicBezTo>
                      <a:cubicBezTo>
                        <a:pt x="149" y="616"/>
                        <a:pt x="149" y="616"/>
                        <a:pt x="149" y="616"/>
                      </a:cubicBezTo>
                      <a:cubicBezTo>
                        <a:pt x="352" y="616"/>
                        <a:pt x="352" y="616"/>
                        <a:pt x="352" y="616"/>
                      </a:cubicBezTo>
                      <a:cubicBezTo>
                        <a:pt x="352" y="502"/>
                        <a:pt x="352" y="502"/>
                        <a:pt x="352" y="502"/>
                      </a:cubicBezTo>
                      <a:cubicBezTo>
                        <a:pt x="391" y="502"/>
                        <a:pt x="391" y="502"/>
                        <a:pt x="391" y="502"/>
                      </a:cubicBezTo>
                      <a:cubicBezTo>
                        <a:pt x="391" y="655"/>
                        <a:pt x="391" y="655"/>
                        <a:pt x="391" y="655"/>
                      </a:cubicBezTo>
                      <a:cubicBezTo>
                        <a:pt x="273" y="655"/>
                        <a:pt x="273" y="655"/>
                        <a:pt x="273" y="655"/>
                      </a:cubicBezTo>
                      <a:cubicBezTo>
                        <a:pt x="273" y="725"/>
                        <a:pt x="273" y="725"/>
                        <a:pt x="273" y="725"/>
                      </a:cubicBezTo>
                      <a:cubicBezTo>
                        <a:pt x="464" y="725"/>
                        <a:pt x="464" y="725"/>
                        <a:pt x="464" y="725"/>
                      </a:cubicBezTo>
                      <a:cubicBezTo>
                        <a:pt x="464" y="616"/>
                        <a:pt x="464" y="616"/>
                        <a:pt x="464" y="616"/>
                      </a:cubicBezTo>
                      <a:cubicBezTo>
                        <a:pt x="578" y="616"/>
                        <a:pt x="578" y="616"/>
                        <a:pt x="578" y="616"/>
                      </a:cubicBezTo>
                      <a:cubicBezTo>
                        <a:pt x="578" y="540"/>
                        <a:pt x="578" y="540"/>
                        <a:pt x="578" y="540"/>
                      </a:cubicBezTo>
                      <a:cubicBezTo>
                        <a:pt x="464" y="540"/>
                        <a:pt x="464" y="540"/>
                        <a:pt x="464" y="540"/>
                      </a:cubicBezTo>
                      <a:cubicBezTo>
                        <a:pt x="464" y="502"/>
                        <a:pt x="464" y="502"/>
                        <a:pt x="464" y="502"/>
                      </a:cubicBezTo>
                      <a:cubicBezTo>
                        <a:pt x="616" y="502"/>
                        <a:pt x="616" y="502"/>
                        <a:pt x="616" y="502"/>
                      </a:cubicBezTo>
                      <a:cubicBezTo>
                        <a:pt x="616" y="655"/>
                        <a:pt x="616" y="655"/>
                        <a:pt x="616" y="655"/>
                      </a:cubicBezTo>
                      <a:cubicBezTo>
                        <a:pt x="502" y="655"/>
                        <a:pt x="502" y="655"/>
                        <a:pt x="502" y="655"/>
                      </a:cubicBezTo>
                      <a:cubicBezTo>
                        <a:pt x="502" y="725"/>
                        <a:pt x="502" y="725"/>
                        <a:pt x="502" y="725"/>
                      </a:cubicBezTo>
                      <a:cubicBezTo>
                        <a:pt x="699" y="725"/>
                        <a:pt x="699" y="725"/>
                        <a:pt x="699" y="725"/>
                      </a:cubicBezTo>
                      <a:cubicBezTo>
                        <a:pt x="699" y="435"/>
                        <a:pt x="699" y="435"/>
                        <a:pt x="699" y="435"/>
                      </a:cubicBezTo>
                      <a:cubicBezTo>
                        <a:pt x="756" y="402"/>
                        <a:pt x="756" y="402"/>
                        <a:pt x="756" y="402"/>
                      </a:cubicBezTo>
                      <a:cubicBezTo>
                        <a:pt x="756" y="753"/>
                        <a:pt x="756" y="753"/>
                        <a:pt x="756" y="753"/>
                      </a:cubicBezTo>
                      <a:cubicBezTo>
                        <a:pt x="756" y="769"/>
                        <a:pt x="743" y="782"/>
                        <a:pt x="727" y="782"/>
                      </a:cubicBezTo>
                      <a:cubicBezTo>
                        <a:pt x="28" y="782"/>
                        <a:pt x="28" y="782"/>
                        <a:pt x="28" y="782"/>
                      </a:cubicBezTo>
                      <a:cubicBezTo>
                        <a:pt x="12" y="782"/>
                        <a:pt x="0" y="769"/>
                        <a:pt x="0" y="753"/>
                      </a:cubicBezTo>
                      <a:cubicBezTo>
                        <a:pt x="0" y="499"/>
                        <a:pt x="0" y="499"/>
                        <a:pt x="0" y="499"/>
                      </a:cubicBezTo>
                      <a:cubicBezTo>
                        <a:pt x="57" y="499"/>
                        <a:pt x="57" y="499"/>
                        <a:pt x="57" y="499"/>
                      </a:cubicBezTo>
                      <a:cubicBezTo>
                        <a:pt x="57" y="725"/>
                        <a:pt x="57" y="725"/>
                        <a:pt x="57" y="725"/>
                      </a:cubicBezTo>
                      <a:cubicBezTo>
                        <a:pt x="235" y="725"/>
                        <a:pt x="235" y="725"/>
                        <a:pt x="235" y="725"/>
                      </a:cubicBezTo>
                      <a:cubicBezTo>
                        <a:pt x="235" y="655"/>
                        <a:pt x="235" y="655"/>
                        <a:pt x="235" y="655"/>
                      </a:cubicBezTo>
                      <a:cubicBezTo>
                        <a:pt x="168" y="655"/>
                        <a:pt x="168" y="655"/>
                        <a:pt x="168" y="655"/>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grpSp>
        </p:grpSp>
      </p:grpSp>
      <p:grpSp>
        <p:nvGrpSpPr>
          <p:cNvPr id="85" name="组合 84"/>
          <p:cNvGrpSpPr/>
          <p:nvPr/>
        </p:nvGrpSpPr>
        <p:grpSpPr>
          <a:xfrm>
            <a:off x="5760008" y="1876527"/>
            <a:ext cx="1428213" cy="935840"/>
            <a:chOff x="5677458" y="1770799"/>
            <a:chExt cx="1428213" cy="935840"/>
          </a:xfrm>
        </p:grpSpPr>
        <p:grpSp>
          <p:nvGrpSpPr>
            <p:cNvPr id="86" name="组合 85"/>
            <p:cNvGrpSpPr/>
            <p:nvPr/>
          </p:nvGrpSpPr>
          <p:grpSpPr>
            <a:xfrm>
              <a:off x="6341854" y="1770799"/>
              <a:ext cx="640070" cy="550853"/>
              <a:chOff x="6911327" y="5595428"/>
              <a:chExt cx="622731" cy="535931"/>
            </a:xfrm>
            <a:effectLst>
              <a:reflection blurRad="6350" stA="50000" endA="300" endPos="27000" dir="5400000" sy="-100000" algn="bl" rotWithShape="0"/>
            </a:effectLst>
          </p:grpSpPr>
          <p:sp>
            <p:nvSpPr>
              <p:cNvPr id="89" name="Freeform 220"/>
              <p:cNvSpPr/>
              <p:nvPr/>
            </p:nvSpPr>
            <p:spPr bwMode="auto">
              <a:xfrm>
                <a:off x="7243964" y="5595428"/>
                <a:ext cx="224709" cy="247836"/>
              </a:xfrm>
              <a:custGeom>
                <a:avLst/>
                <a:gdLst>
                  <a:gd name="T0" fmla="*/ 46 w 333"/>
                  <a:gd name="T1" fmla="*/ 243 h 367"/>
                  <a:gd name="T2" fmla="*/ 170 w 333"/>
                  <a:gd name="T3" fmla="*/ 367 h 367"/>
                  <a:gd name="T4" fmla="*/ 289 w 333"/>
                  <a:gd name="T5" fmla="*/ 243 h 367"/>
                  <a:gd name="T6" fmla="*/ 326 w 333"/>
                  <a:gd name="T7" fmla="*/ 202 h 367"/>
                  <a:gd name="T8" fmla="*/ 307 w 333"/>
                  <a:gd name="T9" fmla="*/ 142 h 367"/>
                  <a:gd name="T10" fmla="*/ 167 w 333"/>
                  <a:gd name="T11" fmla="*/ 0 h 367"/>
                  <a:gd name="T12" fmla="*/ 27 w 333"/>
                  <a:gd name="T13" fmla="*/ 142 h 367"/>
                  <a:gd name="T14" fmla="*/ 7 w 333"/>
                  <a:gd name="T15" fmla="*/ 202 h 367"/>
                  <a:gd name="T16" fmla="*/ 46 w 333"/>
                  <a:gd name="T17" fmla="*/ 24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67">
                    <a:moveTo>
                      <a:pt x="46" y="243"/>
                    </a:moveTo>
                    <a:cubicBezTo>
                      <a:pt x="71" y="307"/>
                      <a:pt x="118" y="367"/>
                      <a:pt x="170" y="367"/>
                    </a:cubicBezTo>
                    <a:cubicBezTo>
                      <a:pt x="222" y="367"/>
                      <a:pt x="266" y="307"/>
                      <a:pt x="289" y="243"/>
                    </a:cubicBezTo>
                    <a:cubicBezTo>
                      <a:pt x="305" y="241"/>
                      <a:pt x="320" y="225"/>
                      <a:pt x="326" y="202"/>
                    </a:cubicBezTo>
                    <a:cubicBezTo>
                      <a:pt x="333" y="175"/>
                      <a:pt x="325" y="148"/>
                      <a:pt x="307" y="142"/>
                    </a:cubicBezTo>
                    <a:cubicBezTo>
                      <a:pt x="302" y="63"/>
                      <a:pt x="241" y="0"/>
                      <a:pt x="167" y="0"/>
                    </a:cubicBezTo>
                    <a:cubicBezTo>
                      <a:pt x="92" y="0"/>
                      <a:pt x="31" y="63"/>
                      <a:pt x="27" y="142"/>
                    </a:cubicBezTo>
                    <a:cubicBezTo>
                      <a:pt x="9" y="148"/>
                      <a:pt x="0" y="175"/>
                      <a:pt x="7" y="202"/>
                    </a:cubicBezTo>
                    <a:cubicBezTo>
                      <a:pt x="13" y="226"/>
                      <a:pt x="30" y="242"/>
                      <a:pt x="46" y="243"/>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90" name="Freeform 221"/>
              <p:cNvSpPr/>
              <p:nvPr/>
            </p:nvSpPr>
            <p:spPr bwMode="auto">
              <a:xfrm>
                <a:off x="6976712" y="5595428"/>
                <a:ext cx="224709" cy="247836"/>
              </a:xfrm>
              <a:custGeom>
                <a:avLst/>
                <a:gdLst>
                  <a:gd name="T0" fmla="*/ 46 w 333"/>
                  <a:gd name="T1" fmla="*/ 243 h 367"/>
                  <a:gd name="T2" fmla="*/ 170 w 333"/>
                  <a:gd name="T3" fmla="*/ 367 h 367"/>
                  <a:gd name="T4" fmla="*/ 290 w 333"/>
                  <a:gd name="T5" fmla="*/ 243 h 367"/>
                  <a:gd name="T6" fmla="*/ 326 w 333"/>
                  <a:gd name="T7" fmla="*/ 202 h 367"/>
                  <a:gd name="T8" fmla="*/ 307 w 333"/>
                  <a:gd name="T9" fmla="*/ 142 h 367"/>
                  <a:gd name="T10" fmla="*/ 167 w 333"/>
                  <a:gd name="T11" fmla="*/ 0 h 367"/>
                  <a:gd name="T12" fmla="*/ 27 w 333"/>
                  <a:gd name="T13" fmla="*/ 142 h 367"/>
                  <a:gd name="T14" fmla="*/ 7 w 333"/>
                  <a:gd name="T15" fmla="*/ 202 h 367"/>
                  <a:gd name="T16" fmla="*/ 46 w 333"/>
                  <a:gd name="T17" fmla="*/ 24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67">
                    <a:moveTo>
                      <a:pt x="46" y="243"/>
                    </a:moveTo>
                    <a:cubicBezTo>
                      <a:pt x="71" y="307"/>
                      <a:pt x="118" y="367"/>
                      <a:pt x="170" y="367"/>
                    </a:cubicBezTo>
                    <a:cubicBezTo>
                      <a:pt x="223" y="367"/>
                      <a:pt x="267" y="307"/>
                      <a:pt x="290" y="243"/>
                    </a:cubicBezTo>
                    <a:cubicBezTo>
                      <a:pt x="305" y="241"/>
                      <a:pt x="320" y="225"/>
                      <a:pt x="326" y="202"/>
                    </a:cubicBezTo>
                    <a:cubicBezTo>
                      <a:pt x="333" y="175"/>
                      <a:pt x="325" y="148"/>
                      <a:pt x="307" y="142"/>
                    </a:cubicBezTo>
                    <a:cubicBezTo>
                      <a:pt x="302" y="63"/>
                      <a:pt x="241" y="0"/>
                      <a:pt x="167" y="0"/>
                    </a:cubicBezTo>
                    <a:cubicBezTo>
                      <a:pt x="92" y="0"/>
                      <a:pt x="31" y="63"/>
                      <a:pt x="27" y="142"/>
                    </a:cubicBezTo>
                    <a:cubicBezTo>
                      <a:pt x="9" y="148"/>
                      <a:pt x="0" y="175"/>
                      <a:pt x="7" y="202"/>
                    </a:cubicBezTo>
                    <a:cubicBezTo>
                      <a:pt x="13" y="226"/>
                      <a:pt x="30" y="242"/>
                      <a:pt x="46" y="243"/>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91" name="Freeform 222"/>
              <p:cNvSpPr/>
              <p:nvPr/>
            </p:nvSpPr>
            <p:spPr bwMode="auto">
              <a:xfrm>
                <a:off x="7239110" y="5831557"/>
                <a:ext cx="294948" cy="299802"/>
              </a:xfrm>
              <a:custGeom>
                <a:avLst/>
                <a:gdLst>
                  <a:gd name="T0" fmla="*/ 435 w 437"/>
                  <a:gd name="T1" fmla="*/ 125 h 444"/>
                  <a:gd name="T2" fmla="*/ 317 w 437"/>
                  <a:gd name="T3" fmla="*/ 0 h 444"/>
                  <a:gd name="T4" fmla="*/ 204 w 437"/>
                  <a:gd name="T5" fmla="*/ 191 h 444"/>
                  <a:gd name="T6" fmla="*/ 190 w 437"/>
                  <a:gd name="T7" fmla="*/ 105 h 444"/>
                  <a:gd name="T8" fmla="*/ 206 w 437"/>
                  <a:gd name="T9" fmla="*/ 77 h 444"/>
                  <a:gd name="T10" fmla="*/ 173 w 437"/>
                  <a:gd name="T11" fmla="*/ 45 h 444"/>
                  <a:gd name="T12" fmla="*/ 141 w 437"/>
                  <a:gd name="T13" fmla="*/ 77 h 444"/>
                  <a:gd name="T14" fmla="*/ 156 w 437"/>
                  <a:gd name="T15" fmla="*/ 105 h 444"/>
                  <a:gd name="T16" fmla="*/ 142 w 437"/>
                  <a:gd name="T17" fmla="*/ 189 h 444"/>
                  <a:gd name="T18" fmla="*/ 30 w 437"/>
                  <a:gd name="T19" fmla="*/ 0 h 444"/>
                  <a:gd name="T20" fmla="*/ 0 w 437"/>
                  <a:gd name="T21" fmla="*/ 15 h 444"/>
                  <a:gd name="T22" fmla="*/ 67 w 437"/>
                  <a:gd name="T23" fmla="*/ 120 h 444"/>
                  <a:gd name="T24" fmla="*/ 67 w 437"/>
                  <a:gd name="T25" fmla="*/ 123 h 444"/>
                  <a:gd name="T26" fmla="*/ 69 w 437"/>
                  <a:gd name="T27" fmla="*/ 430 h 444"/>
                  <a:gd name="T28" fmla="*/ 174 w 437"/>
                  <a:gd name="T29" fmla="*/ 444 h 444"/>
                  <a:gd name="T30" fmla="*/ 436 w 437"/>
                  <a:gd name="T31" fmla="*/ 402 h 444"/>
                  <a:gd name="T32" fmla="*/ 437 w 437"/>
                  <a:gd name="T33" fmla="*/ 402 h 444"/>
                  <a:gd name="T34" fmla="*/ 437 w 437"/>
                  <a:gd name="T35" fmla="*/ 125 h 444"/>
                  <a:gd name="T36" fmla="*/ 435 w 437"/>
                  <a:gd name="T37" fmla="*/ 125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7" h="444">
                    <a:moveTo>
                      <a:pt x="435" y="125"/>
                    </a:moveTo>
                    <a:cubicBezTo>
                      <a:pt x="425" y="73"/>
                      <a:pt x="381" y="28"/>
                      <a:pt x="317" y="0"/>
                    </a:cubicBezTo>
                    <a:cubicBezTo>
                      <a:pt x="204" y="191"/>
                      <a:pt x="204" y="191"/>
                      <a:pt x="204" y="191"/>
                    </a:cubicBezTo>
                    <a:cubicBezTo>
                      <a:pt x="190" y="105"/>
                      <a:pt x="190" y="105"/>
                      <a:pt x="190" y="105"/>
                    </a:cubicBezTo>
                    <a:cubicBezTo>
                      <a:pt x="199" y="100"/>
                      <a:pt x="206" y="89"/>
                      <a:pt x="206" y="77"/>
                    </a:cubicBezTo>
                    <a:cubicBezTo>
                      <a:pt x="206" y="60"/>
                      <a:pt x="191" y="45"/>
                      <a:pt x="173" y="45"/>
                    </a:cubicBezTo>
                    <a:cubicBezTo>
                      <a:pt x="155" y="45"/>
                      <a:pt x="141" y="60"/>
                      <a:pt x="141" y="77"/>
                    </a:cubicBezTo>
                    <a:cubicBezTo>
                      <a:pt x="141" y="89"/>
                      <a:pt x="147" y="100"/>
                      <a:pt x="156" y="105"/>
                    </a:cubicBezTo>
                    <a:cubicBezTo>
                      <a:pt x="142" y="189"/>
                      <a:pt x="142" y="189"/>
                      <a:pt x="142" y="189"/>
                    </a:cubicBezTo>
                    <a:cubicBezTo>
                      <a:pt x="30" y="0"/>
                      <a:pt x="30" y="0"/>
                      <a:pt x="30" y="0"/>
                    </a:cubicBezTo>
                    <a:cubicBezTo>
                      <a:pt x="20" y="5"/>
                      <a:pt x="10" y="10"/>
                      <a:pt x="0" y="15"/>
                    </a:cubicBezTo>
                    <a:cubicBezTo>
                      <a:pt x="36" y="45"/>
                      <a:pt x="59" y="81"/>
                      <a:pt x="67" y="120"/>
                    </a:cubicBezTo>
                    <a:cubicBezTo>
                      <a:pt x="67" y="123"/>
                      <a:pt x="67" y="123"/>
                      <a:pt x="67" y="123"/>
                    </a:cubicBezTo>
                    <a:cubicBezTo>
                      <a:pt x="69" y="430"/>
                      <a:pt x="69" y="430"/>
                      <a:pt x="69" y="430"/>
                    </a:cubicBezTo>
                    <a:cubicBezTo>
                      <a:pt x="69" y="430"/>
                      <a:pt x="125" y="444"/>
                      <a:pt x="174" y="444"/>
                    </a:cubicBezTo>
                    <a:cubicBezTo>
                      <a:pt x="311" y="444"/>
                      <a:pt x="424" y="426"/>
                      <a:pt x="436" y="402"/>
                    </a:cubicBezTo>
                    <a:cubicBezTo>
                      <a:pt x="437" y="402"/>
                      <a:pt x="437" y="402"/>
                      <a:pt x="437" y="402"/>
                    </a:cubicBezTo>
                    <a:cubicBezTo>
                      <a:pt x="437" y="125"/>
                      <a:pt x="437" y="125"/>
                      <a:pt x="437" y="125"/>
                    </a:cubicBezTo>
                    <a:lnTo>
                      <a:pt x="435" y="125"/>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black"/>
                  </a:solidFill>
                  <a:effectLst/>
                  <a:uLnTx/>
                  <a:uFillTx/>
                  <a:cs typeface="+mn-ea"/>
                  <a:sym typeface="+mn-lt"/>
                </a:endParaRPr>
              </a:p>
            </p:txBody>
          </p:sp>
          <p:sp>
            <p:nvSpPr>
              <p:cNvPr id="92" name="Freeform 223"/>
              <p:cNvSpPr/>
              <p:nvPr/>
            </p:nvSpPr>
            <p:spPr bwMode="auto">
              <a:xfrm>
                <a:off x="6911327" y="5831557"/>
                <a:ext cx="355480" cy="299802"/>
              </a:xfrm>
              <a:custGeom>
                <a:avLst/>
                <a:gdLst>
                  <a:gd name="T0" fmla="*/ 407 w 527"/>
                  <a:gd name="T1" fmla="*/ 0 h 444"/>
                  <a:gd name="T2" fmla="*/ 294 w 527"/>
                  <a:gd name="T3" fmla="*/ 191 h 444"/>
                  <a:gd name="T4" fmla="*/ 280 w 527"/>
                  <a:gd name="T5" fmla="*/ 105 h 444"/>
                  <a:gd name="T6" fmla="*/ 296 w 527"/>
                  <a:gd name="T7" fmla="*/ 77 h 444"/>
                  <a:gd name="T8" fmla="*/ 263 w 527"/>
                  <a:gd name="T9" fmla="*/ 45 h 444"/>
                  <a:gd name="T10" fmla="*/ 231 w 527"/>
                  <a:gd name="T11" fmla="*/ 77 h 444"/>
                  <a:gd name="T12" fmla="*/ 246 w 527"/>
                  <a:gd name="T13" fmla="*/ 105 h 444"/>
                  <a:gd name="T14" fmla="*/ 233 w 527"/>
                  <a:gd name="T15" fmla="*/ 189 h 444"/>
                  <a:gd name="T16" fmla="*/ 120 w 527"/>
                  <a:gd name="T17" fmla="*/ 0 h 444"/>
                  <a:gd name="T18" fmla="*/ 2 w 527"/>
                  <a:gd name="T19" fmla="*/ 125 h 444"/>
                  <a:gd name="T20" fmla="*/ 0 w 527"/>
                  <a:gd name="T21" fmla="*/ 125 h 444"/>
                  <a:gd name="T22" fmla="*/ 0 w 527"/>
                  <a:gd name="T23" fmla="*/ 402 h 444"/>
                  <a:gd name="T24" fmla="*/ 2 w 527"/>
                  <a:gd name="T25" fmla="*/ 402 h 444"/>
                  <a:gd name="T26" fmla="*/ 264 w 527"/>
                  <a:gd name="T27" fmla="*/ 444 h 444"/>
                  <a:gd name="T28" fmla="*/ 526 w 527"/>
                  <a:gd name="T29" fmla="*/ 402 h 444"/>
                  <a:gd name="T30" fmla="*/ 527 w 527"/>
                  <a:gd name="T31" fmla="*/ 402 h 444"/>
                  <a:gd name="T32" fmla="*/ 525 w 527"/>
                  <a:gd name="T33" fmla="*/ 125 h 444"/>
                  <a:gd name="T34" fmla="*/ 407 w 527"/>
                  <a:gd name="T35" fmla="*/ 0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27" h="444">
                    <a:moveTo>
                      <a:pt x="407" y="0"/>
                    </a:moveTo>
                    <a:cubicBezTo>
                      <a:pt x="294" y="191"/>
                      <a:pt x="294" y="191"/>
                      <a:pt x="294" y="191"/>
                    </a:cubicBezTo>
                    <a:cubicBezTo>
                      <a:pt x="280" y="105"/>
                      <a:pt x="280" y="105"/>
                      <a:pt x="280" y="105"/>
                    </a:cubicBezTo>
                    <a:cubicBezTo>
                      <a:pt x="290" y="100"/>
                      <a:pt x="296" y="89"/>
                      <a:pt x="296" y="77"/>
                    </a:cubicBezTo>
                    <a:cubicBezTo>
                      <a:pt x="296" y="60"/>
                      <a:pt x="281" y="45"/>
                      <a:pt x="263" y="45"/>
                    </a:cubicBezTo>
                    <a:cubicBezTo>
                      <a:pt x="245" y="45"/>
                      <a:pt x="231" y="60"/>
                      <a:pt x="231" y="77"/>
                    </a:cubicBezTo>
                    <a:cubicBezTo>
                      <a:pt x="231" y="89"/>
                      <a:pt x="237" y="100"/>
                      <a:pt x="246" y="105"/>
                    </a:cubicBezTo>
                    <a:cubicBezTo>
                      <a:pt x="233" y="189"/>
                      <a:pt x="233" y="189"/>
                      <a:pt x="233" y="189"/>
                    </a:cubicBezTo>
                    <a:cubicBezTo>
                      <a:pt x="120" y="0"/>
                      <a:pt x="120" y="0"/>
                      <a:pt x="120" y="0"/>
                    </a:cubicBezTo>
                    <a:cubicBezTo>
                      <a:pt x="57" y="28"/>
                      <a:pt x="12" y="73"/>
                      <a:pt x="2" y="125"/>
                    </a:cubicBezTo>
                    <a:cubicBezTo>
                      <a:pt x="0" y="125"/>
                      <a:pt x="0" y="125"/>
                      <a:pt x="0" y="125"/>
                    </a:cubicBezTo>
                    <a:cubicBezTo>
                      <a:pt x="0" y="402"/>
                      <a:pt x="0" y="402"/>
                      <a:pt x="0" y="402"/>
                    </a:cubicBezTo>
                    <a:cubicBezTo>
                      <a:pt x="2" y="402"/>
                      <a:pt x="2" y="402"/>
                      <a:pt x="2" y="402"/>
                    </a:cubicBezTo>
                    <a:cubicBezTo>
                      <a:pt x="14" y="426"/>
                      <a:pt x="127" y="444"/>
                      <a:pt x="264" y="444"/>
                    </a:cubicBezTo>
                    <a:cubicBezTo>
                      <a:pt x="401" y="444"/>
                      <a:pt x="514" y="426"/>
                      <a:pt x="526" y="402"/>
                    </a:cubicBezTo>
                    <a:cubicBezTo>
                      <a:pt x="527" y="402"/>
                      <a:pt x="527" y="402"/>
                      <a:pt x="527" y="402"/>
                    </a:cubicBezTo>
                    <a:cubicBezTo>
                      <a:pt x="525" y="125"/>
                      <a:pt x="525" y="125"/>
                      <a:pt x="525" y="125"/>
                    </a:cubicBezTo>
                    <a:cubicBezTo>
                      <a:pt x="516" y="73"/>
                      <a:pt x="471" y="28"/>
                      <a:pt x="407" y="0"/>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grpSp>
        <p:cxnSp>
          <p:nvCxnSpPr>
            <p:cNvPr id="87" name="直接连接符 86"/>
            <p:cNvCxnSpPr/>
            <p:nvPr/>
          </p:nvCxnSpPr>
          <p:spPr>
            <a:xfrm>
              <a:off x="5677458" y="2175578"/>
              <a:ext cx="501401" cy="0"/>
            </a:xfrm>
            <a:prstGeom prst="line">
              <a:avLst/>
            </a:prstGeom>
            <a:noFill/>
            <a:ln w="9525" cap="flat" cmpd="sng" algn="ctr">
              <a:solidFill>
                <a:srgbClr val="4472C4">
                  <a:lumMod val="60000"/>
                  <a:lumOff val="40000"/>
                  <a:alpha val="60000"/>
                </a:srgbClr>
              </a:solidFill>
              <a:prstDash val="dash"/>
              <a:miter lim="800000"/>
            </a:ln>
            <a:effectLst/>
          </p:spPr>
        </p:cxnSp>
        <p:sp>
          <p:nvSpPr>
            <p:cNvPr id="88" name="矩形 87"/>
            <p:cNvSpPr/>
            <p:nvPr/>
          </p:nvSpPr>
          <p:spPr>
            <a:xfrm>
              <a:off x="6305452" y="2368085"/>
              <a:ext cx="800219" cy="338554"/>
            </a:xfrm>
            <a:prstGeom prst="rect">
              <a:avLst/>
            </a:prstGeom>
            <a:noFill/>
          </p:spPr>
          <p:txBody>
            <a:bodyPr wrap="non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84FFFF"/>
                  </a:solidFill>
                  <a:effectLst/>
                  <a:uLnTx/>
                  <a:uFillTx/>
                  <a:cs typeface="+mn-ea"/>
                  <a:sym typeface="+mn-lt"/>
                </a:rPr>
                <a:t>广告商</a:t>
              </a:r>
              <a:endParaRPr kumimoji="0" lang="en-US" altLang="zh-CN" sz="1600" b="1" i="0" u="none" strike="noStrike" kern="1200" cap="none" spc="0" normalizeH="0" baseline="0" noProof="0" dirty="0">
                <a:ln>
                  <a:noFill/>
                </a:ln>
                <a:solidFill>
                  <a:srgbClr val="84FFFF"/>
                </a:solidFill>
                <a:effectLst/>
                <a:uLnTx/>
                <a:uFillTx/>
                <a:cs typeface="+mn-ea"/>
                <a:sym typeface="+mn-lt"/>
              </a:endParaRPr>
            </a:p>
          </p:txBody>
        </p:sp>
      </p:grpSp>
      <p:grpSp>
        <p:nvGrpSpPr>
          <p:cNvPr id="93" name="组合 92"/>
          <p:cNvGrpSpPr/>
          <p:nvPr/>
        </p:nvGrpSpPr>
        <p:grpSpPr>
          <a:xfrm>
            <a:off x="883176" y="1937241"/>
            <a:ext cx="1420085" cy="886349"/>
            <a:chOff x="800626" y="1831513"/>
            <a:chExt cx="1420085" cy="886349"/>
          </a:xfrm>
        </p:grpSpPr>
        <p:sp>
          <p:nvSpPr>
            <p:cNvPr id="94" name="Freeform 433"/>
            <p:cNvSpPr>
              <a:spLocks noEditPoints="1"/>
            </p:cNvSpPr>
            <p:nvPr/>
          </p:nvSpPr>
          <p:spPr bwMode="auto">
            <a:xfrm>
              <a:off x="1030855" y="1980173"/>
              <a:ext cx="65910" cy="66781"/>
            </a:xfrm>
            <a:custGeom>
              <a:avLst/>
              <a:gdLst>
                <a:gd name="T0" fmla="*/ 96 w 96"/>
                <a:gd name="T1" fmla="*/ 48 h 97"/>
                <a:gd name="T2" fmla="*/ 48 w 96"/>
                <a:gd name="T3" fmla="*/ 0 h 97"/>
                <a:gd name="T4" fmla="*/ 0 w 96"/>
                <a:gd name="T5" fmla="*/ 48 h 97"/>
                <a:gd name="T6" fmla="*/ 48 w 96"/>
                <a:gd name="T7" fmla="*/ 97 h 97"/>
                <a:gd name="T8" fmla="*/ 96 w 96"/>
                <a:gd name="T9" fmla="*/ 48 h 97"/>
                <a:gd name="T10" fmla="*/ 28 w 96"/>
                <a:gd name="T11" fmla="*/ 71 h 97"/>
                <a:gd name="T12" fmla="*/ 31 w 96"/>
                <a:gd name="T13" fmla="*/ 61 h 97"/>
                <a:gd name="T14" fmla="*/ 45 w 96"/>
                <a:gd name="T15" fmla="*/ 65 h 97"/>
                <a:gd name="T16" fmla="*/ 53 w 96"/>
                <a:gd name="T17" fmla="*/ 60 h 97"/>
                <a:gd name="T18" fmla="*/ 44 w 96"/>
                <a:gd name="T19" fmla="*/ 52 h 97"/>
                <a:gd name="T20" fmla="*/ 29 w 96"/>
                <a:gd name="T21" fmla="*/ 37 h 97"/>
                <a:gd name="T22" fmla="*/ 43 w 96"/>
                <a:gd name="T23" fmla="*/ 21 h 97"/>
                <a:gd name="T24" fmla="*/ 43 w 96"/>
                <a:gd name="T25" fmla="*/ 13 h 97"/>
                <a:gd name="T26" fmla="*/ 52 w 96"/>
                <a:gd name="T27" fmla="*/ 13 h 97"/>
                <a:gd name="T28" fmla="*/ 52 w 96"/>
                <a:gd name="T29" fmla="*/ 21 h 97"/>
                <a:gd name="T30" fmla="*/ 64 w 96"/>
                <a:gd name="T31" fmla="*/ 24 h 97"/>
                <a:gd name="T32" fmla="*/ 62 w 96"/>
                <a:gd name="T33" fmla="*/ 33 h 97"/>
                <a:gd name="T34" fmla="*/ 49 w 96"/>
                <a:gd name="T35" fmla="*/ 30 h 97"/>
                <a:gd name="T36" fmla="*/ 42 w 96"/>
                <a:gd name="T37" fmla="*/ 35 h 97"/>
                <a:gd name="T38" fmla="*/ 52 w 96"/>
                <a:gd name="T39" fmla="*/ 42 h 97"/>
                <a:gd name="T40" fmla="*/ 66 w 96"/>
                <a:gd name="T41" fmla="*/ 58 h 97"/>
                <a:gd name="T42" fmla="*/ 51 w 96"/>
                <a:gd name="T43" fmla="*/ 74 h 97"/>
                <a:gd name="T44" fmla="*/ 51 w 96"/>
                <a:gd name="T45" fmla="*/ 83 h 97"/>
                <a:gd name="T46" fmla="*/ 43 w 96"/>
                <a:gd name="T47" fmla="*/ 83 h 97"/>
                <a:gd name="T48" fmla="*/ 43 w 96"/>
                <a:gd name="T49" fmla="*/ 75 h 97"/>
                <a:gd name="T50" fmla="*/ 28 w 96"/>
                <a:gd name="T51" fmla="*/ 7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 h="97">
                  <a:moveTo>
                    <a:pt x="96" y="48"/>
                  </a:moveTo>
                  <a:cubicBezTo>
                    <a:pt x="96" y="21"/>
                    <a:pt x="75" y="0"/>
                    <a:pt x="48" y="0"/>
                  </a:cubicBezTo>
                  <a:cubicBezTo>
                    <a:pt x="22" y="0"/>
                    <a:pt x="0" y="21"/>
                    <a:pt x="0" y="48"/>
                  </a:cubicBezTo>
                  <a:cubicBezTo>
                    <a:pt x="0" y="75"/>
                    <a:pt x="22" y="97"/>
                    <a:pt x="48" y="97"/>
                  </a:cubicBezTo>
                  <a:cubicBezTo>
                    <a:pt x="75" y="97"/>
                    <a:pt x="96" y="75"/>
                    <a:pt x="96" y="48"/>
                  </a:cubicBezTo>
                  <a:close/>
                  <a:moveTo>
                    <a:pt x="28" y="71"/>
                  </a:moveTo>
                  <a:cubicBezTo>
                    <a:pt x="31" y="61"/>
                    <a:pt x="31" y="61"/>
                    <a:pt x="31" y="61"/>
                  </a:cubicBezTo>
                  <a:cubicBezTo>
                    <a:pt x="34" y="63"/>
                    <a:pt x="39" y="65"/>
                    <a:pt x="45" y="65"/>
                  </a:cubicBezTo>
                  <a:cubicBezTo>
                    <a:pt x="50" y="65"/>
                    <a:pt x="53" y="63"/>
                    <a:pt x="53" y="60"/>
                  </a:cubicBezTo>
                  <a:cubicBezTo>
                    <a:pt x="53" y="56"/>
                    <a:pt x="51" y="54"/>
                    <a:pt x="44" y="52"/>
                  </a:cubicBezTo>
                  <a:cubicBezTo>
                    <a:pt x="35" y="49"/>
                    <a:pt x="29" y="45"/>
                    <a:pt x="29" y="37"/>
                  </a:cubicBezTo>
                  <a:cubicBezTo>
                    <a:pt x="29" y="29"/>
                    <a:pt x="34" y="23"/>
                    <a:pt x="43" y="21"/>
                  </a:cubicBezTo>
                  <a:cubicBezTo>
                    <a:pt x="43" y="13"/>
                    <a:pt x="43" y="13"/>
                    <a:pt x="43" y="13"/>
                  </a:cubicBezTo>
                  <a:cubicBezTo>
                    <a:pt x="52" y="13"/>
                    <a:pt x="52" y="13"/>
                    <a:pt x="52" y="13"/>
                  </a:cubicBezTo>
                  <a:cubicBezTo>
                    <a:pt x="52" y="21"/>
                    <a:pt x="52" y="21"/>
                    <a:pt x="52" y="21"/>
                  </a:cubicBezTo>
                  <a:cubicBezTo>
                    <a:pt x="57" y="21"/>
                    <a:pt x="61" y="22"/>
                    <a:pt x="64" y="24"/>
                  </a:cubicBezTo>
                  <a:cubicBezTo>
                    <a:pt x="62" y="33"/>
                    <a:pt x="62" y="33"/>
                    <a:pt x="62" y="33"/>
                  </a:cubicBezTo>
                  <a:cubicBezTo>
                    <a:pt x="59" y="32"/>
                    <a:pt x="55" y="30"/>
                    <a:pt x="49" y="30"/>
                  </a:cubicBezTo>
                  <a:cubicBezTo>
                    <a:pt x="44" y="30"/>
                    <a:pt x="42" y="33"/>
                    <a:pt x="42" y="35"/>
                  </a:cubicBezTo>
                  <a:cubicBezTo>
                    <a:pt x="42" y="38"/>
                    <a:pt x="45" y="40"/>
                    <a:pt x="52" y="42"/>
                  </a:cubicBezTo>
                  <a:cubicBezTo>
                    <a:pt x="62" y="46"/>
                    <a:pt x="66" y="51"/>
                    <a:pt x="66" y="58"/>
                  </a:cubicBezTo>
                  <a:cubicBezTo>
                    <a:pt x="66" y="66"/>
                    <a:pt x="61" y="73"/>
                    <a:pt x="51" y="74"/>
                  </a:cubicBezTo>
                  <a:cubicBezTo>
                    <a:pt x="51" y="83"/>
                    <a:pt x="51" y="83"/>
                    <a:pt x="51" y="83"/>
                  </a:cubicBezTo>
                  <a:cubicBezTo>
                    <a:pt x="43" y="83"/>
                    <a:pt x="43" y="83"/>
                    <a:pt x="43" y="83"/>
                  </a:cubicBezTo>
                  <a:cubicBezTo>
                    <a:pt x="43" y="75"/>
                    <a:pt x="43" y="75"/>
                    <a:pt x="43" y="75"/>
                  </a:cubicBezTo>
                  <a:cubicBezTo>
                    <a:pt x="37" y="75"/>
                    <a:pt x="32" y="73"/>
                    <a:pt x="28" y="71"/>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95" name="Freeform 434"/>
            <p:cNvSpPr>
              <a:spLocks noEditPoints="1"/>
            </p:cNvSpPr>
            <p:nvPr/>
          </p:nvSpPr>
          <p:spPr bwMode="auto">
            <a:xfrm>
              <a:off x="1137125" y="1919200"/>
              <a:ext cx="142854" cy="144015"/>
            </a:xfrm>
            <a:custGeom>
              <a:avLst/>
              <a:gdLst>
                <a:gd name="T0" fmla="*/ 104 w 208"/>
                <a:gd name="T1" fmla="*/ 0 h 210"/>
                <a:gd name="T2" fmla="*/ 0 w 208"/>
                <a:gd name="T3" fmla="*/ 105 h 210"/>
                <a:gd name="T4" fmla="*/ 104 w 208"/>
                <a:gd name="T5" fmla="*/ 210 h 210"/>
                <a:gd name="T6" fmla="*/ 208 w 208"/>
                <a:gd name="T7" fmla="*/ 105 h 210"/>
                <a:gd name="T8" fmla="*/ 104 w 208"/>
                <a:gd name="T9" fmla="*/ 0 h 210"/>
                <a:gd name="T10" fmla="*/ 111 w 208"/>
                <a:gd name="T11" fmla="*/ 161 h 210"/>
                <a:gd name="T12" fmla="*/ 111 w 208"/>
                <a:gd name="T13" fmla="*/ 180 h 210"/>
                <a:gd name="T14" fmla="*/ 92 w 208"/>
                <a:gd name="T15" fmla="*/ 180 h 210"/>
                <a:gd name="T16" fmla="*/ 92 w 208"/>
                <a:gd name="T17" fmla="*/ 163 h 210"/>
                <a:gd name="T18" fmla="*/ 61 w 208"/>
                <a:gd name="T19" fmla="*/ 155 h 210"/>
                <a:gd name="T20" fmla="*/ 66 w 208"/>
                <a:gd name="T21" fmla="*/ 133 h 210"/>
                <a:gd name="T22" fmla="*/ 97 w 208"/>
                <a:gd name="T23" fmla="*/ 141 h 210"/>
                <a:gd name="T24" fmla="*/ 115 w 208"/>
                <a:gd name="T25" fmla="*/ 130 h 210"/>
                <a:gd name="T26" fmla="*/ 95 w 208"/>
                <a:gd name="T27" fmla="*/ 114 h 210"/>
                <a:gd name="T28" fmla="*/ 62 w 208"/>
                <a:gd name="T29" fmla="*/ 80 h 210"/>
                <a:gd name="T30" fmla="*/ 93 w 208"/>
                <a:gd name="T31" fmla="*/ 47 h 210"/>
                <a:gd name="T32" fmla="*/ 93 w 208"/>
                <a:gd name="T33" fmla="*/ 30 h 210"/>
                <a:gd name="T34" fmla="*/ 111 w 208"/>
                <a:gd name="T35" fmla="*/ 30 h 210"/>
                <a:gd name="T36" fmla="*/ 111 w 208"/>
                <a:gd name="T37" fmla="*/ 46 h 210"/>
                <a:gd name="T38" fmla="*/ 138 w 208"/>
                <a:gd name="T39" fmla="*/ 52 h 210"/>
                <a:gd name="T40" fmla="*/ 133 w 208"/>
                <a:gd name="T41" fmla="*/ 73 h 210"/>
                <a:gd name="T42" fmla="*/ 106 w 208"/>
                <a:gd name="T43" fmla="*/ 66 h 210"/>
                <a:gd name="T44" fmla="*/ 90 w 208"/>
                <a:gd name="T45" fmla="*/ 77 h 210"/>
                <a:gd name="T46" fmla="*/ 113 w 208"/>
                <a:gd name="T47" fmla="*/ 93 h 210"/>
                <a:gd name="T48" fmla="*/ 143 w 208"/>
                <a:gd name="T49" fmla="*/ 127 h 210"/>
                <a:gd name="T50" fmla="*/ 111 w 208"/>
                <a:gd name="T51" fmla="*/ 161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8" h="210">
                  <a:moveTo>
                    <a:pt x="104" y="0"/>
                  </a:moveTo>
                  <a:cubicBezTo>
                    <a:pt x="47" y="0"/>
                    <a:pt x="0" y="47"/>
                    <a:pt x="0" y="105"/>
                  </a:cubicBezTo>
                  <a:cubicBezTo>
                    <a:pt x="0" y="163"/>
                    <a:pt x="47" y="210"/>
                    <a:pt x="104" y="210"/>
                  </a:cubicBezTo>
                  <a:cubicBezTo>
                    <a:pt x="162" y="210"/>
                    <a:pt x="208" y="163"/>
                    <a:pt x="208" y="105"/>
                  </a:cubicBezTo>
                  <a:cubicBezTo>
                    <a:pt x="208" y="47"/>
                    <a:pt x="162" y="0"/>
                    <a:pt x="104" y="0"/>
                  </a:cubicBezTo>
                  <a:close/>
                  <a:moveTo>
                    <a:pt x="111" y="161"/>
                  </a:moveTo>
                  <a:cubicBezTo>
                    <a:pt x="111" y="180"/>
                    <a:pt x="111" y="180"/>
                    <a:pt x="111" y="180"/>
                  </a:cubicBezTo>
                  <a:cubicBezTo>
                    <a:pt x="92" y="180"/>
                    <a:pt x="92" y="180"/>
                    <a:pt x="92" y="180"/>
                  </a:cubicBezTo>
                  <a:cubicBezTo>
                    <a:pt x="92" y="163"/>
                    <a:pt x="92" y="163"/>
                    <a:pt x="92" y="163"/>
                  </a:cubicBezTo>
                  <a:cubicBezTo>
                    <a:pt x="80" y="162"/>
                    <a:pt x="68" y="159"/>
                    <a:pt x="61" y="155"/>
                  </a:cubicBezTo>
                  <a:cubicBezTo>
                    <a:pt x="66" y="133"/>
                    <a:pt x="66" y="133"/>
                    <a:pt x="66" y="133"/>
                  </a:cubicBezTo>
                  <a:cubicBezTo>
                    <a:pt x="74" y="138"/>
                    <a:pt x="85" y="141"/>
                    <a:pt x="97" y="141"/>
                  </a:cubicBezTo>
                  <a:cubicBezTo>
                    <a:pt x="108" y="141"/>
                    <a:pt x="115" y="137"/>
                    <a:pt x="115" y="130"/>
                  </a:cubicBezTo>
                  <a:cubicBezTo>
                    <a:pt x="115" y="123"/>
                    <a:pt x="109" y="118"/>
                    <a:pt x="95" y="114"/>
                  </a:cubicBezTo>
                  <a:cubicBezTo>
                    <a:pt x="76" y="107"/>
                    <a:pt x="62" y="98"/>
                    <a:pt x="62" y="80"/>
                  </a:cubicBezTo>
                  <a:cubicBezTo>
                    <a:pt x="62" y="64"/>
                    <a:pt x="74" y="51"/>
                    <a:pt x="93" y="47"/>
                  </a:cubicBezTo>
                  <a:cubicBezTo>
                    <a:pt x="93" y="30"/>
                    <a:pt x="93" y="30"/>
                    <a:pt x="93" y="30"/>
                  </a:cubicBezTo>
                  <a:cubicBezTo>
                    <a:pt x="111" y="30"/>
                    <a:pt x="111" y="30"/>
                    <a:pt x="111" y="30"/>
                  </a:cubicBezTo>
                  <a:cubicBezTo>
                    <a:pt x="111" y="46"/>
                    <a:pt x="111" y="46"/>
                    <a:pt x="111" y="46"/>
                  </a:cubicBezTo>
                  <a:cubicBezTo>
                    <a:pt x="124" y="46"/>
                    <a:pt x="132" y="49"/>
                    <a:pt x="138" y="52"/>
                  </a:cubicBezTo>
                  <a:cubicBezTo>
                    <a:pt x="133" y="73"/>
                    <a:pt x="133" y="73"/>
                    <a:pt x="133" y="73"/>
                  </a:cubicBezTo>
                  <a:cubicBezTo>
                    <a:pt x="128" y="71"/>
                    <a:pt x="120" y="66"/>
                    <a:pt x="106" y="66"/>
                  </a:cubicBezTo>
                  <a:cubicBezTo>
                    <a:pt x="94" y="66"/>
                    <a:pt x="90" y="72"/>
                    <a:pt x="90" y="77"/>
                  </a:cubicBezTo>
                  <a:cubicBezTo>
                    <a:pt x="90" y="83"/>
                    <a:pt x="97" y="87"/>
                    <a:pt x="113" y="93"/>
                  </a:cubicBezTo>
                  <a:cubicBezTo>
                    <a:pt x="135" y="100"/>
                    <a:pt x="143" y="111"/>
                    <a:pt x="143" y="127"/>
                  </a:cubicBezTo>
                  <a:cubicBezTo>
                    <a:pt x="143" y="144"/>
                    <a:pt x="132" y="158"/>
                    <a:pt x="111" y="161"/>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96" name="Freeform 435"/>
            <p:cNvSpPr>
              <a:spLocks noEditPoints="1"/>
            </p:cNvSpPr>
            <p:nvPr/>
          </p:nvSpPr>
          <p:spPr bwMode="auto">
            <a:xfrm>
              <a:off x="1050599" y="2077152"/>
              <a:ext cx="91461" cy="92623"/>
            </a:xfrm>
            <a:custGeom>
              <a:avLst/>
              <a:gdLst>
                <a:gd name="T0" fmla="*/ 67 w 133"/>
                <a:gd name="T1" fmla="*/ 0 h 135"/>
                <a:gd name="T2" fmla="*/ 0 w 133"/>
                <a:gd name="T3" fmla="*/ 68 h 135"/>
                <a:gd name="T4" fmla="*/ 67 w 133"/>
                <a:gd name="T5" fmla="*/ 135 h 135"/>
                <a:gd name="T6" fmla="*/ 133 w 133"/>
                <a:gd name="T7" fmla="*/ 68 h 135"/>
                <a:gd name="T8" fmla="*/ 67 w 133"/>
                <a:gd name="T9" fmla="*/ 0 h 135"/>
                <a:gd name="T10" fmla="*/ 71 w 133"/>
                <a:gd name="T11" fmla="*/ 104 h 135"/>
                <a:gd name="T12" fmla="*/ 71 w 133"/>
                <a:gd name="T13" fmla="*/ 116 h 135"/>
                <a:gd name="T14" fmla="*/ 59 w 133"/>
                <a:gd name="T15" fmla="*/ 116 h 135"/>
                <a:gd name="T16" fmla="*/ 59 w 133"/>
                <a:gd name="T17" fmla="*/ 105 h 135"/>
                <a:gd name="T18" fmla="*/ 39 w 133"/>
                <a:gd name="T19" fmla="*/ 100 h 135"/>
                <a:gd name="T20" fmla="*/ 43 w 133"/>
                <a:gd name="T21" fmla="*/ 86 h 135"/>
                <a:gd name="T22" fmla="*/ 62 w 133"/>
                <a:gd name="T23" fmla="*/ 91 h 135"/>
                <a:gd name="T24" fmla="*/ 74 w 133"/>
                <a:gd name="T25" fmla="*/ 84 h 135"/>
                <a:gd name="T26" fmla="*/ 61 w 133"/>
                <a:gd name="T27" fmla="*/ 73 h 135"/>
                <a:gd name="T28" fmla="*/ 40 w 133"/>
                <a:gd name="T29" fmla="*/ 52 h 135"/>
                <a:gd name="T30" fmla="*/ 60 w 133"/>
                <a:gd name="T31" fmla="*/ 31 h 135"/>
                <a:gd name="T32" fmla="*/ 60 w 133"/>
                <a:gd name="T33" fmla="*/ 20 h 135"/>
                <a:gd name="T34" fmla="*/ 72 w 133"/>
                <a:gd name="T35" fmla="*/ 20 h 135"/>
                <a:gd name="T36" fmla="*/ 72 w 133"/>
                <a:gd name="T37" fmla="*/ 30 h 135"/>
                <a:gd name="T38" fmla="*/ 89 w 133"/>
                <a:gd name="T39" fmla="*/ 34 h 135"/>
                <a:gd name="T40" fmla="*/ 85 w 133"/>
                <a:gd name="T41" fmla="*/ 47 h 135"/>
                <a:gd name="T42" fmla="*/ 68 w 133"/>
                <a:gd name="T43" fmla="*/ 43 h 135"/>
                <a:gd name="T44" fmla="*/ 58 w 133"/>
                <a:gd name="T45" fmla="*/ 50 h 135"/>
                <a:gd name="T46" fmla="*/ 72 w 133"/>
                <a:gd name="T47" fmla="*/ 60 h 135"/>
                <a:gd name="T48" fmla="*/ 92 w 133"/>
                <a:gd name="T49" fmla="*/ 82 h 135"/>
                <a:gd name="T50" fmla="*/ 71 w 133"/>
                <a:gd name="T51" fmla="*/ 104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3" h="135">
                  <a:moveTo>
                    <a:pt x="67" y="0"/>
                  </a:moveTo>
                  <a:cubicBezTo>
                    <a:pt x="30" y="0"/>
                    <a:pt x="0" y="31"/>
                    <a:pt x="0" y="68"/>
                  </a:cubicBezTo>
                  <a:cubicBezTo>
                    <a:pt x="0" y="105"/>
                    <a:pt x="30" y="135"/>
                    <a:pt x="67" y="135"/>
                  </a:cubicBezTo>
                  <a:cubicBezTo>
                    <a:pt x="104" y="135"/>
                    <a:pt x="133" y="105"/>
                    <a:pt x="133" y="68"/>
                  </a:cubicBezTo>
                  <a:cubicBezTo>
                    <a:pt x="133" y="31"/>
                    <a:pt x="104" y="0"/>
                    <a:pt x="67" y="0"/>
                  </a:cubicBezTo>
                  <a:close/>
                  <a:moveTo>
                    <a:pt x="71" y="104"/>
                  </a:moveTo>
                  <a:cubicBezTo>
                    <a:pt x="71" y="116"/>
                    <a:pt x="71" y="116"/>
                    <a:pt x="71" y="116"/>
                  </a:cubicBezTo>
                  <a:cubicBezTo>
                    <a:pt x="59" y="116"/>
                    <a:pt x="59" y="116"/>
                    <a:pt x="59" y="116"/>
                  </a:cubicBezTo>
                  <a:cubicBezTo>
                    <a:pt x="59" y="105"/>
                    <a:pt x="59" y="105"/>
                    <a:pt x="59" y="105"/>
                  </a:cubicBezTo>
                  <a:cubicBezTo>
                    <a:pt x="51" y="104"/>
                    <a:pt x="44" y="102"/>
                    <a:pt x="39" y="100"/>
                  </a:cubicBezTo>
                  <a:cubicBezTo>
                    <a:pt x="43" y="86"/>
                    <a:pt x="43" y="86"/>
                    <a:pt x="43" y="86"/>
                  </a:cubicBezTo>
                  <a:cubicBezTo>
                    <a:pt x="48" y="88"/>
                    <a:pt x="55" y="91"/>
                    <a:pt x="62" y="91"/>
                  </a:cubicBezTo>
                  <a:cubicBezTo>
                    <a:pt x="69" y="91"/>
                    <a:pt x="74" y="88"/>
                    <a:pt x="74" y="84"/>
                  </a:cubicBezTo>
                  <a:cubicBezTo>
                    <a:pt x="74" y="79"/>
                    <a:pt x="70" y="76"/>
                    <a:pt x="61" y="73"/>
                  </a:cubicBezTo>
                  <a:cubicBezTo>
                    <a:pt x="49" y="69"/>
                    <a:pt x="40" y="63"/>
                    <a:pt x="40" y="52"/>
                  </a:cubicBezTo>
                  <a:cubicBezTo>
                    <a:pt x="40" y="41"/>
                    <a:pt x="47" y="33"/>
                    <a:pt x="60" y="31"/>
                  </a:cubicBezTo>
                  <a:cubicBezTo>
                    <a:pt x="60" y="20"/>
                    <a:pt x="60" y="20"/>
                    <a:pt x="60" y="20"/>
                  </a:cubicBezTo>
                  <a:cubicBezTo>
                    <a:pt x="72" y="20"/>
                    <a:pt x="72" y="20"/>
                    <a:pt x="72" y="20"/>
                  </a:cubicBezTo>
                  <a:cubicBezTo>
                    <a:pt x="72" y="30"/>
                    <a:pt x="72" y="30"/>
                    <a:pt x="72" y="30"/>
                  </a:cubicBezTo>
                  <a:cubicBezTo>
                    <a:pt x="79" y="30"/>
                    <a:pt x="85" y="32"/>
                    <a:pt x="89" y="34"/>
                  </a:cubicBezTo>
                  <a:cubicBezTo>
                    <a:pt x="85" y="47"/>
                    <a:pt x="85" y="47"/>
                    <a:pt x="85" y="47"/>
                  </a:cubicBezTo>
                  <a:cubicBezTo>
                    <a:pt x="82" y="46"/>
                    <a:pt x="77" y="43"/>
                    <a:pt x="68" y="43"/>
                  </a:cubicBezTo>
                  <a:cubicBezTo>
                    <a:pt x="61" y="43"/>
                    <a:pt x="58" y="46"/>
                    <a:pt x="58" y="50"/>
                  </a:cubicBezTo>
                  <a:cubicBezTo>
                    <a:pt x="58" y="54"/>
                    <a:pt x="62" y="56"/>
                    <a:pt x="72" y="60"/>
                  </a:cubicBezTo>
                  <a:cubicBezTo>
                    <a:pt x="86" y="65"/>
                    <a:pt x="92" y="71"/>
                    <a:pt x="92" y="82"/>
                  </a:cubicBezTo>
                  <a:cubicBezTo>
                    <a:pt x="92" y="93"/>
                    <a:pt x="85" y="101"/>
                    <a:pt x="71" y="104"/>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97" name="Freeform 436"/>
            <p:cNvSpPr>
              <a:spLocks noEditPoints="1"/>
            </p:cNvSpPr>
            <p:nvPr/>
          </p:nvSpPr>
          <p:spPr bwMode="auto">
            <a:xfrm>
              <a:off x="966978" y="1831513"/>
              <a:ext cx="478211" cy="536572"/>
            </a:xfrm>
            <a:custGeom>
              <a:avLst/>
              <a:gdLst>
                <a:gd name="T0" fmla="*/ 652 w 697"/>
                <a:gd name="T1" fmla="*/ 426 h 782"/>
                <a:gd name="T2" fmla="*/ 601 w 697"/>
                <a:gd name="T3" fmla="*/ 366 h 782"/>
                <a:gd name="T4" fmla="*/ 603 w 697"/>
                <a:gd name="T5" fmla="*/ 267 h 782"/>
                <a:gd name="T6" fmla="*/ 585 w 697"/>
                <a:gd name="T7" fmla="*/ 182 h 782"/>
                <a:gd name="T8" fmla="*/ 509 w 697"/>
                <a:gd name="T9" fmla="*/ 80 h 782"/>
                <a:gd name="T10" fmla="*/ 298 w 697"/>
                <a:gd name="T11" fmla="*/ 0 h 782"/>
                <a:gd name="T12" fmla="*/ 0 w 697"/>
                <a:gd name="T13" fmla="*/ 273 h 782"/>
                <a:gd name="T14" fmla="*/ 2 w 697"/>
                <a:gd name="T15" fmla="*/ 302 h 782"/>
                <a:gd name="T16" fmla="*/ 82 w 697"/>
                <a:gd name="T17" fmla="*/ 533 h 782"/>
                <a:gd name="T18" fmla="*/ 0 w 697"/>
                <a:gd name="T19" fmla="*/ 781 h 782"/>
                <a:gd name="T20" fmla="*/ 362 w 697"/>
                <a:gd name="T21" fmla="*/ 782 h 782"/>
                <a:gd name="T22" fmla="*/ 433 w 697"/>
                <a:gd name="T23" fmla="*/ 674 h 782"/>
                <a:gd name="T24" fmla="*/ 545 w 697"/>
                <a:gd name="T25" fmla="*/ 675 h 782"/>
                <a:gd name="T26" fmla="*/ 563 w 697"/>
                <a:gd name="T27" fmla="*/ 673 h 782"/>
                <a:gd name="T28" fmla="*/ 564 w 697"/>
                <a:gd name="T29" fmla="*/ 673 h 782"/>
                <a:gd name="T30" fmla="*/ 564 w 697"/>
                <a:gd name="T31" fmla="*/ 673 h 782"/>
                <a:gd name="T32" fmla="*/ 571 w 697"/>
                <a:gd name="T33" fmla="*/ 601 h 782"/>
                <a:gd name="T34" fmla="*/ 595 w 697"/>
                <a:gd name="T35" fmla="*/ 577 h 782"/>
                <a:gd name="T36" fmla="*/ 595 w 697"/>
                <a:gd name="T37" fmla="*/ 575 h 782"/>
                <a:gd name="T38" fmla="*/ 561 w 697"/>
                <a:gd name="T39" fmla="*/ 554 h 782"/>
                <a:gd name="T40" fmla="*/ 570 w 697"/>
                <a:gd name="T41" fmla="*/ 554 h 782"/>
                <a:gd name="T42" fmla="*/ 598 w 697"/>
                <a:gd name="T43" fmla="*/ 536 h 782"/>
                <a:gd name="T44" fmla="*/ 598 w 697"/>
                <a:gd name="T45" fmla="*/ 535 h 782"/>
                <a:gd name="T46" fmla="*/ 595 w 697"/>
                <a:gd name="T47" fmla="*/ 527 h 782"/>
                <a:gd name="T48" fmla="*/ 611 w 697"/>
                <a:gd name="T49" fmla="*/ 461 h 782"/>
                <a:gd name="T50" fmla="*/ 652 w 697"/>
                <a:gd name="T51" fmla="*/ 426 h 782"/>
                <a:gd name="T52" fmla="*/ 78 w 697"/>
                <a:gd name="T53" fmla="*/ 265 h 782"/>
                <a:gd name="T54" fmla="*/ 141 w 697"/>
                <a:gd name="T55" fmla="*/ 201 h 782"/>
                <a:gd name="T56" fmla="*/ 205 w 697"/>
                <a:gd name="T57" fmla="*/ 265 h 782"/>
                <a:gd name="T58" fmla="*/ 141 w 697"/>
                <a:gd name="T59" fmla="*/ 329 h 782"/>
                <a:gd name="T60" fmla="*/ 78 w 697"/>
                <a:gd name="T61" fmla="*/ 265 h 782"/>
                <a:gd name="T62" fmla="*/ 189 w 697"/>
                <a:gd name="T63" fmla="*/ 514 h 782"/>
                <a:gd name="T64" fmla="*/ 101 w 697"/>
                <a:gd name="T65" fmla="*/ 426 h 782"/>
                <a:gd name="T66" fmla="*/ 189 w 697"/>
                <a:gd name="T67" fmla="*/ 337 h 782"/>
                <a:gd name="T68" fmla="*/ 276 w 697"/>
                <a:gd name="T69" fmla="*/ 426 h 782"/>
                <a:gd name="T70" fmla="*/ 189 w 697"/>
                <a:gd name="T71" fmla="*/ 514 h 782"/>
                <a:gd name="T72" fmla="*/ 352 w 697"/>
                <a:gd name="T73" fmla="*/ 371 h 782"/>
                <a:gd name="T74" fmla="*/ 215 w 697"/>
                <a:gd name="T75" fmla="*/ 233 h 782"/>
                <a:gd name="T76" fmla="*/ 352 w 697"/>
                <a:gd name="T77" fmla="*/ 95 h 782"/>
                <a:gd name="T78" fmla="*/ 489 w 697"/>
                <a:gd name="T79" fmla="*/ 233 h 782"/>
                <a:gd name="T80" fmla="*/ 352 w 697"/>
                <a:gd name="T81" fmla="*/ 371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7" h="782">
                  <a:moveTo>
                    <a:pt x="652" y="426"/>
                  </a:moveTo>
                  <a:cubicBezTo>
                    <a:pt x="636" y="408"/>
                    <a:pt x="611" y="388"/>
                    <a:pt x="601" y="366"/>
                  </a:cubicBezTo>
                  <a:cubicBezTo>
                    <a:pt x="587" y="333"/>
                    <a:pt x="603" y="301"/>
                    <a:pt x="603" y="267"/>
                  </a:cubicBezTo>
                  <a:cubicBezTo>
                    <a:pt x="602" y="240"/>
                    <a:pt x="594" y="207"/>
                    <a:pt x="585" y="182"/>
                  </a:cubicBezTo>
                  <a:cubicBezTo>
                    <a:pt x="570" y="141"/>
                    <a:pt x="543" y="107"/>
                    <a:pt x="509" y="80"/>
                  </a:cubicBezTo>
                  <a:cubicBezTo>
                    <a:pt x="456" y="31"/>
                    <a:pt x="381" y="0"/>
                    <a:pt x="298" y="0"/>
                  </a:cubicBezTo>
                  <a:cubicBezTo>
                    <a:pt x="133" y="0"/>
                    <a:pt x="0" y="122"/>
                    <a:pt x="0" y="273"/>
                  </a:cubicBezTo>
                  <a:cubicBezTo>
                    <a:pt x="0" y="283"/>
                    <a:pt x="1" y="293"/>
                    <a:pt x="2" y="302"/>
                  </a:cubicBezTo>
                  <a:cubicBezTo>
                    <a:pt x="3" y="368"/>
                    <a:pt x="23" y="446"/>
                    <a:pt x="82" y="533"/>
                  </a:cubicBezTo>
                  <a:cubicBezTo>
                    <a:pt x="82" y="533"/>
                    <a:pt x="164" y="697"/>
                    <a:pt x="0" y="781"/>
                  </a:cubicBezTo>
                  <a:cubicBezTo>
                    <a:pt x="362" y="782"/>
                    <a:pt x="362" y="782"/>
                    <a:pt x="362" y="782"/>
                  </a:cubicBezTo>
                  <a:cubicBezTo>
                    <a:pt x="362" y="782"/>
                    <a:pt x="389" y="674"/>
                    <a:pt x="433" y="674"/>
                  </a:cubicBezTo>
                  <a:cubicBezTo>
                    <a:pt x="470" y="674"/>
                    <a:pt x="508" y="677"/>
                    <a:pt x="545" y="675"/>
                  </a:cubicBezTo>
                  <a:cubicBezTo>
                    <a:pt x="553" y="676"/>
                    <a:pt x="558" y="675"/>
                    <a:pt x="563" y="673"/>
                  </a:cubicBezTo>
                  <a:cubicBezTo>
                    <a:pt x="564" y="673"/>
                    <a:pt x="564" y="673"/>
                    <a:pt x="564" y="673"/>
                  </a:cubicBezTo>
                  <a:cubicBezTo>
                    <a:pt x="564" y="673"/>
                    <a:pt x="564" y="673"/>
                    <a:pt x="564" y="673"/>
                  </a:cubicBezTo>
                  <a:cubicBezTo>
                    <a:pt x="589" y="660"/>
                    <a:pt x="571" y="601"/>
                    <a:pt x="571" y="601"/>
                  </a:cubicBezTo>
                  <a:cubicBezTo>
                    <a:pt x="586" y="595"/>
                    <a:pt x="595" y="585"/>
                    <a:pt x="595" y="577"/>
                  </a:cubicBezTo>
                  <a:cubicBezTo>
                    <a:pt x="595" y="575"/>
                    <a:pt x="595" y="575"/>
                    <a:pt x="595" y="575"/>
                  </a:cubicBezTo>
                  <a:cubicBezTo>
                    <a:pt x="595" y="565"/>
                    <a:pt x="581" y="557"/>
                    <a:pt x="561" y="554"/>
                  </a:cubicBezTo>
                  <a:cubicBezTo>
                    <a:pt x="570" y="554"/>
                    <a:pt x="570" y="554"/>
                    <a:pt x="570" y="554"/>
                  </a:cubicBezTo>
                  <a:cubicBezTo>
                    <a:pt x="585" y="554"/>
                    <a:pt x="598" y="546"/>
                    <a:pt x="598" y="536"/>
                  </a:cubicBezTo>
                  <a:cubicBezTo>
                    <a:pt x="598" y="535"/>
                    <a:pt x="598" y="535"/>
                    <a:pt x="598" y="535"/>
                  </a:cubicBezTo>
                  <a:cubicBezTo>
                    <a:pt x="598" y="532"/>
                    <a:pt x="597" y="529"/>
                    <a:pt x="595" y="527"/>
                  </a:cubicBezTo>
                  <a:cubicBezTo>
                    <a:pt x="598" y="514"/>
                    <a:pt x="609" y="461"/>
                    <a:pt x="611" y="461"/>
                  </a:cubicBezTo>
                  <a:cubicBezTo>
                    <a:pt x="697" y="457"/>
                    <a:pt x="652" y="426"/>
                    <a:pt x="652" y="426"/>
                  </a:cubicBezTo>
                  <a:close/>
                  <a:moveTo>
                    <a:pt x="78" y="265"/>
                  </a:moveTo>
                  <a:cubicBezTo>
                    <a:pt x="78" y="230"/>
                    <a:pt x="106" y="201"/>
                    <a:pt x="141" y="201"/>
                  </a:cubicBezTo>
                  <a:cubicBezTo>
                    <a:pt x="176" y="201"/>
                    <a:pt x="205" y="230"/>
                    <a:pt x="205" y="265"/>
                  </a:cubicBezTo>
                  <a:cubicBezTo>
                    <a:pt x="205" y="300"/>
                    <a:pt x="176" y="329"/>
                    <a:pt x="141" y="329"/>
                  </a:cubicBezTo>
                  <a:cubicBezTo>
                    <a:pt x="106" y="329"/>
                    <a:pt x="78" y="300"/>
                    <a:pt x="78" y="265"/>
                  </a:cubicBezTo>
                  <a:close/>
                  <a:moveTo>
                    <a:pt x="189" y="514"/>
                  </a:moveTo>
                  <a:cubicBezTo>
                    <a:pt x="141" y="514"/>
                    <a:pt x="101" y="474"/>
                    <a:pt x="101" y="426"/>
                  </a:cubicBezTo>
                  <a:cubicBezTo>
                    <a:pt x="101" y="377"/>
                    <a:pt x="141" y="337"/>
                    <a:pt x="189" y="337"/>
                  </a:cubicBezTo>
                  <a:cubicBezTo>
                    <a:pt x="237" y="337"/>
                    <a:pt x="276" y="377"/>
                    <a:pt x="276" y="426"/>
                  </a:cubicBezTo>
                  <a:cubicBezTo>
                    <a:pt x="276" y="474"/>
                    <a:pt x="237" y="514"/>
                    <a:pt x="189" y="514"/>
                  </a:cubicBezTo>
                  <a:close/>
                  <a:moveTo>
                    <a:pt x="352" y="371"/>
                  </a:moveTo>
                  <a:cubicBezTo>
                    <a:pt x="276" y="371"/>
                    <a:pt x="215" y="309"/>
                    <a:pt x="215" y="233"/>
                  </a:cubicBezTo>
                  <a:cubicBezTo>
                    <a:pt x="215" y="157"/>
                    <a:pt x="276" y="95"/>
                    <a:pt x="352" y="95"/>
                  </a:cubicBezTo>
                  <a:cubicBezTo>
                    <a:pt x="428" y="95"/>
                    <a:pt x="489" y="157"/>
                    <a:pt x="489" y="233"/>
                  </a:cubicBezTo>
                  <a:cubicBezTo>
                    <a:pt x="489" y="309"/>
                    <a:pt x="428" y="371"/>
                    <a:pt x="352" y="371"/>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98" name="矩形 97"/>
            <p:cNvSpPr/>
            <p:nvPr/>
          </p:nvSpPr>
          <p:spPr>
            <a:xfrm>
              <a:off x="800626" y="2379308"/>
              <a:ext cx="800219" cy="338554"/>
            </a:xfrm>
            <a:prstGeom prst="rect">
              <a:avLst/>
            </a:prstGeom>
            <a:noFill/>
          </p:spPr>
          <p:txBody>
            <a:bodyPr wrap="non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84FFFF"/>
                  </a:solidFill>
                  <a:effectLst/>
                  <a:uLnTx/>
                  <a:uFillTx/>
                  <a:cs typeface="+mn-ea"/>
                  <a:sym typeface="+mn-lt"/>
                </a:rPr>
                <a:t>广告主</a:t>
              </a:r>
              <a:endParaRPr kumimoji="0" lang="en-US" altLang="zh-CN" sz="1600" b="1" i="0" u="none" strike="noStrike" kern="1200" cap="none" spc="0" normalizeH="0" baseline="0" noProof="0" dirty="0">
                <a:ln>
                  <a:noFill/>
                </a:ln>
                <a:solidFill>
                  <a:srgbClr val="84FFFF"/>
                </a:solidFill>
                <a:effectLst/>
                <a:uLnTx/>
                <a:uFillTx/>
                <a:cs typeface="+mn-ea"/>
                <a:sym typeface="+mn-lt"/>
              </a:endParaRPr>
            </a:p>
          </p:txBody>
        </p:sp>
        <p:cxnSp>
          <p:nvCxnSpPr>
            <p:cNvPr id="99" name="直接连接符 98"/>
            <p:cNvCxnSpPr/>
            <p:nvPr/>
          </p:nvCxnSpPr>
          <p:spPr>
            <a:xfrm>
              <a:off x="1542675" y="2202029"/>
              <a:ext cx="678036" cy="0"/>
            </a:xfrm>
            <a:prstGeom prst="line">
              <a:avLst/>
            </a:prstGeom>
            <a:noFill/>
            <a:ln w="9525" cap="flat" cmpd="sng" algn="ctr">
              <a:solidFill>
                <a:srgbClr val="4472C4">
                  <a:lumMod val="60000"/>
                  <a:lumOff val="40000"/>
                  <a:alpha val="60000"/>
                </a:srgbClr>
              </a:solidFill>
              <a:prstDash val="dash"/>
              <a:miter lim="800000"/>
            </a:ln>
            <a:effectLst/>
          </p:spPr>
        </p:cxnSp>
      </p:grpSp>
      <p:grpSp>
        <p:nvGrpSpPr>
          <p:cNvPr id="100" name="组合 99"/>
          <p:cNvGrpSpPr/>
          <p:nvPr/>
        </p:nvGrpSpPr>
        <p:grpSpPr>
          <a:xfrm>
            <a:off x="737927" y="4206536"/>
            <a:ext cx="1856238" cy="1316705"/>
            <a:chOff x="655377" y="4100808"/>
            <a:chExt cx="1856238" cy="1316705"/>
          </a:xfrm>
        </p:grpSpPr>
        <p:grpSp>
          <p:nvGrpSpPr>
            <p:cNvPr id="101" name="Group 853"/>
            <p:cNvGrpSpPr/>
            <p:nvPr/>
          </p:nvGrpSpPr>
          <p:grpSpPr>
            <a:xfrm>
              <a:off x="962047" y="4100808"/>
              <a:ext cx="526135" cy="523611"/>
              <a:chOff x="-5184775" y="-1550988"/>
              <a:chExt cx="661988" cy="658813"/>
            </a:xfrm>
            <a:solidFill>
              <a:schemeClr val="accent1"/>
            </a:solidFill>
            <a:effectLst>
              <a:reflection blurRad="6350" stA="50000" endA="300" endPos="55000" dir="5400000" sy="-100000" algn="bl" rotWithShape="0"/>
            </a:effectLst>
          </p:grpSpPr>
          <p:sp>
            <p:nvSpPr>
              <p:cNvPr id="104" name="Freeform 84"/>
              <p:cNvSpPr>
                <a:spLocks noEditPoints="1"/>
              </p:cNvSpPr>
              <p:nvPr/>
            </p:nvSpPr>
            <p:spPr bwMode="auto">
              <a:xfrm>
                <a:off x="-4641850" y="-1377950"/>
                <a:ext cx="95250" cy="336550"/>
              </a:xfrm>
              <a:custGeom>
                <a:avLst/>
                <a:gdLst>
                  <a:gd name="T0" fmla="*/ 0 w 125"/>
                  <a:gd name="T1" fmla="*/ 440 h 440"/>
                  <a:gd name="T2" fmla="*/ 125 w 125"/>
                  <a:gd name="T3" fmla="*/ 440 h 440"/>
                  <a:gd name="T4" fmla="*/ 125 w 125"/>
                  <a:gd name="T5" fmla="*/ 0 h 440"/>
                  <a:gd name="T6" fmla="*/ 0 w 125"/>
                  <a:gd name="T7" fmla="*/ 0 h 440"/>
                  <a:gd name="T8" fmla="*/ 0 w 125"/>
                  <a:gd name="T9" fmla="*/ 440 h 440"/>
                  <a:gd name="T10" fmla="*/ 20 w 125"/>
                  <a:gd name="T11" fmla="*/ 20 h 440"/>
                  <a:gd name="T12" fmla="*/ 105 w 125"/>
                  <a:gd name="T13" fmla="*/ 20 h 440"/>
                  <a:gd name="T14" fmla="*/ 105 w 125"/>
                  <a:gd name="T15" fmla="*/ 420 h 440"/>
                  <a:gd name="T16" fmla="*/ 20 w 125"/>
                  <a:gd name="T17" fmla="*/ 420 h 440"/>
                  <a:gd name="T18" fmla="*/ 20 w 125"/>
                  <a:gd name="T19" fmla="*/ 20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440">
                    <a:moveTo>
                      <a:pt x="0" y="440"/>
                    </a:moveTo>
                    <a:lnTo>
                      <a:pt x="125" y="440"/>
                    </a:lnTo>
                    <a:lnTo>
                      <a:pt x="125" y="0"/>
                    </a:lnTo>
                    <a:lnTo>
                      <a:pt x="0" y="0"/>
                    </a:lnTo>
                    <a:lnTo>
                      <a:pt x="0" y="440"/>
                    </a:lnTo>
                    <a:close/>
                    <a:moveTo>
                      <a:pt x="20" y="20"/>
                    </a:moveTo>
                    <a:lnTo>
                      <a:pt x="105" y="20"/>
                    </a:lnTo>
                    <a:lnTo>
                      <a:pt x="105" y="420"/>
                    </a:lnTo>
                    <a:lnTo>
                      <a:pt x="20" y="420"/>
                    </a:lnTo>
                    <a:lnTo>
                      <a:pt x="20" y="20"/>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05" name="Freeform 85"/>
              <p:cNvSpPr>
                <a:spLocks noEditPoints="1"/>
              </p:cNvSpPr>
              <p:nvPr/>
            </p:nvSpPr>
            <p:spPr bwMode="auto">
              <a:xfrm>
                <a:off x="-4770438" y="-1271588"/>
                <a:ext cx="95250" cy="230188"/>
              </a:xfrm>
              <a:custGeom>
                <a:avLst/>
                <a:gdLst>
                  <a:gd name="T0" fmla="*/ 0 w 125"/>
                  <a:gd name="T1" fmla="*/ 300 h 300"/>
                  <a:gd name="T2" fmla="*/ 125 w 125"/>
                  <a:gd name="T3" fmla="*/ 300 h 300"/>
                  <a:gd name="T4" fmla="*/ 125 w 125"/>
                  <a:gd name="T5" fmla="*/ 0 h 300"/>
                  <a:gd name="T6" fmla="*/ 0 w 125"/>
                  <a:gd name="T7" fmla="*/ 0 h 300"/>
                  <a:gd name="T8" fmla="*/ 0 w 125"/>
                  <a:gd name="T9" fmla="*/ 300 h 300"/>
                  <a:gd name="T10" fmla="*/ 20 w 125"/>
                  <a:gd name="T11" fmla="*/ 20 h 300"/>
                  <a:gd name="T12" fmla="*/ 105 w 125"/>
                  <a:gd name="T13" fmla="*/ 20 h 300"/>
                  <a:gd name="T14" fmla="*/ 105 w 125"/>
                  <a:gd name="T15" fmla="*/ 280 h 300"/>
                  <a:gd name="T16" fmla="*/ 20 w 125"/>
                  <a:gd name="T17" fmla="*/ 280 h 300"/>
                  <a:gd name="T18" fmla="*/ 20 w 125"/>
                  <a:gd name="T19" fmla="*/ 2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300">
                    <a:moveTo>
                      <a:pt x="0" y="300"/>
                    </a:moveTo>
                    <a:lnTo>
                      <a:pt x="125" y="300"/>
                    </a:lnTo>
                    <a:lnTo>
                      <a:pt x="125" y="0"/>
                    </a:lnTo>
                    <a:lnTo>
                      <a:pt x="0" y="0"/>
                    </a:lnTo>
                    <a:lnTo>
                      <a:pt x="0" y="300"/>
                    </a:lnTo>
                    <a:close/>
                    <a:moveTo>
                      <a:pt x="20" y="20"/>
                    </a:moveTo>
                    <a:lnTo>
                      <a:pt x="105" y="20"/>
                    </a:lnTo>
                    <a:lnTo>
                      <a:pt x="105" y="280"/>
                    </a:lnTo>
                    <a:lnTo>
                      <a:pt x="20" y="280"/>
                    </a:lnTo>
                    <a:lnTo>
                      <a:pt x="20" y="20"/>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06" name="Freeform 86"/>
              <p:cNvSpPr>
                <a:spLocks noEditPoints="1"/>
              </p:cNvSpPr>
              <p:nvPr/>
            </p:nvSpPr>
            <p:spPr bwMode="auto">
              <a:xfrm>
                <a:off x="-4897438" y="-1228725"/>
                <a:ext cx="95250" cy="188913"/>
              </a:xfrm>
              <a:custGeom>
                <a:avLst/>
                <a:gdLst>
                  <a:gd name="T0" fmla="*/ 125 w 125"/>
                  <a:gd name="T1" fmla="*/ 244 h 246"/>
                  <a:gd name="T2" fmla="*/ 125 w 125"/>
                  <a:gd name="T3" fmla="*/ 0 h 246"/>
                  <a:gd name="T4" fmla="*/ 0 w 125"/>
                  <a:gd name="T5" fmla="*/ 0 h 246"/>
                  <a:gd name="T6" fmla="*/ 0 w 125"/>
                  <a:gd name="T7" fmla="*/ 246 h 246"/>
                  <a:gd name="T8" fmla="*/ 125 w 125"/>
                  <a:gd name="T9" fmla="*/ 246 h 246"/>
                  <a:gd name="T10" fmla="*/ 125 w 125"/>
                  <a:gd name="T11" fmla="*/ 244 h 246"/>
                  <a:gd name="T12" fmla="*/ 19 w 125"/>
                  <a:gd name="T13" fmla="*/ 20 h 246"/>
                  <a:gd name="T14" fmla="*/ 104 w 125"/>
                  <a:gd name="T15" fmla="*/ 20 h 246"/>
                  <a:gd name="T16" fmla="*/ 104 w 125"/>
                  <a:gd name="T17" fmla="*/ 224 h 246"/>
                  <a:gd name="T18" fmla="*/ 19 w 125"/>
                  <a:gd name="T19" fmla="*/ 224 h 246"/>
                  <a:gd name="T20" fmla="*/ 19 w 125"/>
                  <a:gd name="T21" fmla="*/ 2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246">
                    <a:moveTo>
                      <a:pt x="125" y="244"/>
                    </a:moveTo>
                    <a:lnTo>
                      <a:pt x="125" y="0"/>
                    </a:lnTo>
                    <a:lnTo>
                      <a:pt x="0" y="0"/>
                    </a:lnTo>
                    <a:lnTo>
                      <a:pt x="0" y="246"/>
                    </a:lnTo>
                    <a:lnTo>
                      <a:pt x="125" y="246"/>
                    </a:lnTo>
                    <a:lnTo>
                      <a:pt x="125" y="244"/>
                    </a:lnTo>
                    <a:close/>
                    <a:moveTo>
                      <a:pt x="19" y="20"/>
                    </a:moveTo>
                    <a:lnTo>
                      <a:pt x="104" y="20"/>
                    </a:lnTo>
                    <a:lnTo>
                      <a:pt x="104" y="224"/>
                    </a:lnTo>
                    <a:lnTo>
                      <a:pt x="19" y="224"/>
                    </a:lnTo>
                    <a:lnTo>
                      <a:pt x="19" y="20"/>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07" name="Freeform 87"/>
              <p:cNvSpPr>
                <a:spLocks noEditPoints="1"/>
              </p:cNvSpPr>
              <p:nvPr/>
            </p:nvSpPr>
            <p:spPr bwMode="auto">
              <a:xfrm>
                <a:off x="-5026025" y="-1176338"/>
                <a:ext cx="95250" cy="136525"/>
              </a:xfrm>
              <a:custGeom>
                <a:avLst/>
                <a:gdLst>
                  <a:gd name="T0" fmla="*/ 125 w 125"/>
                  <a:gd name="T1" fmla="*/ 0 h 179"/>
                  <a:gd name="T2" fmla="*/ 0 w 125"/>
                  <a:gd name="T3" fmla="*/ 0 h 179"/>
                  <a:gd name="T4" fmla="*/ 0 w 125"/>
                  <a:gd name="T5" fmla="*/ 179 h 179"/>
                  <a:gd name="T6" fmla="*/ 125 w 125"/>
                  <a:gd name="T7" fmla="*/ 179 h 179"/>
                  <a:gd name="T8" fmla="*/ 125 w 125"/>
                  <a:gd name="T9" fmla="*/ 0 h 179"/>
                  <a:gd name="T10" fmla="*/ 105 w 125"/>
                  <a:gd name="T11" fmla="*/ 157 h 179"/>
                  <a:gd name="T12" fmla="*/ 20 w 125"/>
                  <a:gd name="T13" fmla="*/ 157 h 179"/>
                  <a:gd name="T14" fmla="*/ 20 w 125"/>
                  <a:gd name="T15" fmla="*/ 20 h 179"/>
                  <a:gd name="T16" fmla="*/ 105 w 125"/>
                  <a:gd name="T17" fmla="*/ 20 h 179"/>
                  <a:gd name="T18" fmla="*/ 105 w 125"/>
                  <a:gd name="T19" fmla="*/ 15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79">
                    <a:moveTo>
                      <a:pt x="125" y="0"/>
                    </a:moveTo>
                    <a:lnTo>
                      <a:pt x="0" y="0"/>
                    </a:lnTo>
                    <a:lnTo>
                      <a:pt x="0" y="179"/>
                    </a:lnTo>
                    <a:lnTo>
                      <a:pt x="125" y="179"/>
                    </a:lnTo>
                    <a:lnTo>
                      <a:pt x="125" y="0"/>
                    </a:lnTo>
                    <a:close/>
                    <a:moveTo>
                      <a:pt x="105" y="157"/>
                    </a:moveTo>
                    <a:lnTo>
                      <a:pt x="20" y="157"/>
                    </a:lnTo>
                    <a:lnTo>
                      <a:pt x="20" y="20"/>
                    </a:lnTo>
                    <a:lnTo>
                      <a:pt x="105" y="20"/>
                    </a:lnTo>
                    <a:lnTo>
                      <a:pt x="105" y="157"/>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08" name="Freeform 88"/>
              <p:cNvSpPr/>
              <p:nvPr/>
            </p:nvSpPr>
            <p:spPr bwMode="auto">
              <a:xfrm>
                <a:off x="-5002213" y="-1501775"/>
                <a:ext cx="376238" cy="246063"/>
              </a:xfrm>
              <a:custGeom>
                <a:avLst/>
                <a:gdLst>
                  <a:gd name="T0" fmla="*/ 449 w 492"/>
                  <a:gd name="T1" fmla="*/ 38 h 322"/>
                  <a:gd name="T2" fmla="*/ 475 w 492"/>
                  <a:gd name="T3" fmla="*/ 86 h 322"/>
                  <a:gd name="T4" fmla="*/ 492 w 492"/>
                  <a:gd name="T5" fmla="*/ 77 h 322"/>
                  <a:gd name="T6" fmla="*/ 451 w 492"/>
                  <a:gd name="T7" fmla="*/ 0 h 322"/>
                  <a:gd name="T8" fmla="*/ 373 w 492"/>
                  <a:gd name="T9" fmla="*/ 41 h 322"/>
                  <a:gd name="T10" fmla="*/ 383 w 492"/>
                  <a:gd name="T11" fmla="*/ 58 h 322"/>
                  <a:gd name="T12" fmla="*/ 429 w 492"/>
                  <a:gd name="T13" fmla="*/ 33 h 322"/>
                  <a:gd name="T14" fmla="*/ 1 w 492"/>
                  <a:gd name="T15" fmla="*/ 301 h 322"/>
                  <a:gd name="T16" fmla="*/ 0 w 492"/>
                  <a:gd name="T17" fmla="*/ 321 h 322"/>
                  <a:gd name="T18" fmla="*/ 5 w 492"/>
                  <a:gd name="T19" fmla="*/ 321 h 322"/>
                  <a:gd name="T20" fmla="*/ 449 w 492"/>
                  <a:gd name="T21" fmla="*/ 38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2" h="322">
                    <a:moveTo>
                      <a:pt x="449" y="38"/>
                    </a:moveTo>
                    <a:lnTo>
                      <a:pt x="475" y="86"/>
                    </a:lnTo>
                    <a:lnTo>
                      <a:pt x="492" y="77"/>
                    </a:lnTo>
                    <a:lnTo>
                      <a:pt x="451" y="0"/>
                    </a:lnTo>
                    <a:lnTo>
                      <a:pt x="373" y="41"/>
                    </a:lnTo>
                    <a:lnTo>
                      <a:pt x="383" y="58"/>
                    </a:lnTo>
                    <a:lnTo>
                      <a:pt x="429" y="33"/>
                    </a:lnTo>
                    <a:cubicBezTo>
                      <a:pt x="329" y="310"/>
                      <a:pt x="5" y="301"/>
                      <a:pt x="1" y="301"/>
                    </a:cubicBezTo>
                    <a:lnTo>
                      <a:pt x="0" y="321"/>
                    </a:lnTo>
                    <a:lnTo>
                      <a:pt x="5" y="321"/>
                    </a:lnTo>
                    <a:cubicBezTo>
                      <a:pt x="48" y="322"/>
                      <a:pt x="352" y="313"/>
                      <a:pt x="449" y="38"/>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sp>
            <p:nvSpPr>
              <p:cNvPr id="109" name="Freeform 89"/>
              <p:cNvSpPr/>
              <p:nvPr/>
            </p:nvSpPr>
            <p:spPr bwMode="auto">
              <a:xfrm>
                <a:off x="-5184775" y="-1550988"/>
                <a:ext cx="661988" cy="658813"/>
              </a:xfrm>
              <a:custGeom>
                <a:avLst/>
                <a:gdLst>
                  <a:gd name="T0" fmla="*/ 751 w 867"/>
                  <a:gd name="T1" fmla="*/ 793 h 861"/>
                  <a:gd name="T2" fmla="*/ 651 w 867"/>
                  <a:gd name="T3" fmla="*/ 793 h 861"/>
                  <a:gd name="T4" fmla="*/ 651 w 867"/>
                  <a:gd name="T5" fmla="*/ 757 h 861"/>
                  <a:gd name="T6" fmla="*/ 631 w 867"/>
                  <a:gd name="T7" fmla="*/ 757 h 861"/>
                  <a:gd name="T8" fmla="*/ 631 w 867"/>
                  <a:gd name="T9" fmla="*/ 793 h 861"/>
                  <a:gd name="T10" fmla="*/ 532 w 867"/>
                  <a:gd name="T11" fmla="*/ 793 h 861"/>
                  <a:gd name="T12" fmla="*/ 532 w 867"/>
                  <a:gd name="T13" fmla="*/ 757 h 861"/>
                  <a:gd name="T14" fmla="*/ 512 w 867"/>
                  <a:gd name="T15" fmla="*/ 757 h 861"/>
                  <a:gd name="T16" fmla="*/ 512 w 867"/>
                  <a:gd name="T17" fmla="*/ 793 h 861"/>
                  <a:gd name="T18" fmla="*/ 412 w 867"/>
                  <a:gd name="T19" fmla="*/ 793 h 861"/>
                  <a:gd name="T20" fmla="*/ 412 w 867"/>
                  <a:gd name="T21" fmla="*/ 757 h 861"/>
                  <a:gd name="T22" fmla="*/ 392 w 867"/>
                  <a:gd name="T23" fmla="*/ 757 h 861"/>
                  <a:gd name="T24" fmla="*/ 392 w 867"/>
                  <a:gd name="T25" fmla="*/ 793 h 861"/>
                  <a:gd name="T26" fmla="*/ 293 w 867"/>
                  <a:gd name="T27" fmla="*/ 793 h 861"/>
                  <a:gd name="T28" fmla="*/ 293 w 867"/>
                  <a:gd name="T29" fmla="*/ 757 h 861"/>
                  <a:gd name="T30" fmla="*/ 273 w 867"/>
                  <a:gd name="T31" fmla="*/ 757 h 861"/>
                  <a:gd name="T32" fmla="*/ 273 w 867"/>
                  <a:gd name="T33" fmla="*/ 793 h 861"/>
                  <a:gd name="T34" fmla="*/ 173 w 867"/>
                  <a:gd name="T35" fmla="*/ 793 h 861"/>
                  <a:gd name="T36" fmla="*/ 173 w 867"/>
                  <a:gd name="T37" fmla="*/ 757 h 861"/>
                  <a:gd name="T38" fmla="*/ 153 w 867"/>
                  <a:gd name="T39" fmla="*/ 757 h 861"/>
                  <a:gd name="T40" fmla="*/ 153 w 867"/>
                  <a:gd name="T41" fmla="*/ 793 h 861"/>
                  <a:gd name="T42" fmla="*/ 68 w 867"/>
                  <a:gd name="T43" fmla="*/ 793 h 861"/>
                  <a:gd name="T44" fmla="*/ 68 w 867"/>
                  <a:gd name="T45" fmla="*/ 702 h 861"/>
                  <a:gd name="T46" fmla="*/ 104 w 867"/>
                  <a:gd name="T47" fmla="*/ 702 h 861"/>
                  <a:gd name="T48" fmla="*/ 104 w 867"/>
                  <a:gd name="T49" fmla="*/ 682 h 861"/>
                  <a:gd name="T50" fmla="*/ 68 w 867"/>
                  <a:gd name="T51" fmla="*/ 682 h 861"/>
                  <a:gd name="T52" fmla="*/ 68 w 867"/>
                  <a:gd name="T53" fmla="*/ 584 h 861"/>
                  <a:gd name="T54" fmla="*/ 104 w 867"/>
                  <a:gd name="T55" fmla="*/ 584 h 861"/>
                  <a:gd name="T56" fmla="*/ 104 w 867"/>
                  <a:gd name="T57" fmla="*/ 564 h 861"/>
                  <a:gd name="T58" fmla="*/ 68 w 867"/>
                  <a:gd name="T59" fmla="*/ 564 h 861"/>
                  <a:gd name="T60" fmla="*/ 68 w 867"/>
                  <a:gd name="T61" fmla="*/ 464 h 861"/>
                  <a:gd name="T62" fmla="*/ 104 w 867"/>
                  <a:gd name="T63" fmla="*/ 464 h 861"/>
                  <a:gd name="T64" fmla="*/ 104 w 867"/>
                  <a:gd name="T65" fmla="*/ 444 h 861"/>
                  <a:gd name="T66" fmla="*/ 68 w 867"/>
                  <a:gd name="T67" fmla="*/ 444 h 861"/>
                  <a:gd name="T68" fmla="*/ 68 w 867"/>
                  <a:gd name="T69" fmla="*/ 345 h 861"/>
                  <a:gd name="T70" fmla="*/ 104 w 867"/>
                  <a:gd name="T71" fmla="*/ 345 h 861"/>
                  <a:gd name="T72" fmla="*/ 104 w 867"/>
                  <a:gd name="T73" fmla="*/ 325 h 861"/>
                  <a:gd name="T74" fmla="*/ 68 w 867"/>
                  <a:gd name="T75" fmla="*/ 325 h 861"/>
                  <a:gd name="T76" fmla="*/ 68 w 867"/>
                  <a:gd name="T77" fmla="*/ 226 h 861"/>
                  <a:gd name="T78" fmla="*/ 104 w 867"/>
                  <a:gd name="T79" fmla="*/ 226 h 861"/>
                  <a:gd name="T80" fmla="*/ 104 w 867"/>
                  <a:gd name="T81" fmla="*/ 205 h 861"/>
                  <a:gd name="T82" fmla="*/ 68 w 867"/>
                  <a:gd name="T83" fmla="*/ 205 h 861"/>
                  <a:gd name="T84" fmla="*/ 68 w 867"/>
                  <a:gd name="T85" fmla="*/ 106 h 861"/>
                  <a:gd name="T86" fmla="*/ 104 w 867"/>
                  <a:gd name="T87" fmla="*/ 106 h 861"/>
                  <a:gd name="T88" fmla="*/ 104 w 867"/>
                  <a:gd name="T89" fmla="*/ 86 h 861"/>
                  <a:gd name="T90" fmla="*/ 68 w 867"/>
                  <a:gd name="T91" fmla="*/ 86 h 861"/>
                  <a:gd name="T92" fmla="*/ 68 w 867"/>
                  <a:gd name="T93" fmla="*/ 0 h 861"/>
                  <a:gd name="T94" fmla="*/ 47 w 867"/>
                  <a:gd name="T95" fmla="*/ 0 h 861"/>
                  <a:gd name="T96" fmla="*/ 47 w 867"/>
                  <a:gd name="T97" fmla="*/ 793 h 861"/>
                  <a:gd name="T98" fmla="*/ 0 w 867"/>
                  <a:gd name="T99" fmla="*/ 793 h 861"/>
                  <a:gd name="T100" fmla="*/ 0 w 867"/>
                  <a:gd name="T101" fmla="*/ 814 h 861"/>
                  <a:gd name="T102" fmla="*/ 47 w 867"/>
                  <a:gd name="T103" fmla="*/ 814 h 861"/>
                  <a:gd name="T104" fmla="*/ 47 w 867"/>
                  <a:gd name="T105" fmla="*/ 861 h 861"/>
                  <a:gd name="T106" fmla="*/ 68 w 867"/>
                  <a:gd name="T107" fmla="*/ 861 h 861"/>
                  <a:gd name="T108" fmla="*/ 68 w 867"/>
                  <a:gd name="T109" fmla="*/ 814 h 861"/>
                  <a:gd name="T110" fmla="*/ 867 w 867"/>
                  <a:gd name="T111" fmla="*/ 814 h 861"/>
                  <a:gd name="T112" fmla="*/ 867 w 867"/>
                  <a:gd name="T113" fmla="*/ 793 h 861"/>
                  <a:gd name="T114" fmla="*/ 771 w 867"/>
                  <a:gd name="T115" fmla="*/ 793 h 861"/>
                  <a:gd name="T116" fmla="*/ 771 w 867"/>
                  <a:gd name="T117" fmla="*/ 757 h 861"/>
                  <a:gd name="T118" fmla="*/ 751 w 867"/>
                  <a:gd name="T119" fmla="*/ 757 h 861"/>
                  <a:gd name="T120" fmla="*/ 751 w 867"/>
                  <a:gd name="T121" fmla="*/ 793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7" h="861">
                    <a:moveTo>
                      <a:pt x="751" y="793"/>
                    </a:moveTo>
                    <a:lnTo>
                      <a:pt x="651" y="793"/>
                    </a:lnTo>
                    <a:lnTo>
                      <a:pt x="651" y="757"/>
                    </a:lnTo>
                    <a:lnTo>
                      <a:pt x="631" y="757"/>
                    </a:lnTo>
                    <a:lnTo>
                      <a:pt x="631" y="793"/>
                    </a:lnTo>
                    <a:lnTo>
                      <a:pt x="532" y="793"/>
                    </a:lnTo>
                    <a:lnTo>
                      <a:pt x="532" y="757"/>
                    </a:lnTo>
                    <a:lnTo>
                      <a:pt x="512" y="757"/>
                    </a:lnTo>
                    <a:lnTo>
                      <a:pt x="512" y="793"/>
                    </a:lnTo>
                    <a:lnTo>
                      <a:pt x="412" y="793"/>
                    </a:lnTo>
                    <a:lnTo>
                      <a:pt x="412" y="757"/>
                    </a:lnTo>
                    <a:lnTo>
                      <a:pt x="392" y="757"/>
                    </a:lnTo>
                    <a:lnTo>
                      <a:pt x="392" y="793"/>
                    </a:lnTo>
                    <a:lnTo>
                      <a:pt x="293" y="793"/>
                    </a:lnTo>
                    <a:lnTo>
                      <a:pt x="293" y="757"/>
                    </a:lnTo>
                    <a:lnTo>
                      <a:pt x="273" y="757"/>
                    </a:lnTo>
                    <a:lnTo>
                      <a:pt x="273" y="793"/>
                    </a:lnTo>
                    <a:lnTo>
                      <a:pt x="173" y="793"/>
                    </a:lnTo>
                    <a:lnTo>
                      <a:pt x="173" y="757"/>
                    </a:lnTo>
                    <a:lnTo>
                      <a:pt x="153" y="757"/>
                    </a:lnTo>
                    <a:lnTo>
                      <a:pt x="153" y="793"/>
                    </a:lnTo>
                    <a:lnTo>
                      <a:pt x="68" y="793"/>
                    </a:lnTo>
                    <a:lnTo>
                      <a:pt x="68" y="702"/>
                    </a:lnTo>
                    <a:lnTo>
                      <a:pt x="104" y="702"/>
                    </a:lnTo>
                    <a:lnTo>
                      <a:pt x="104" y="682"/>
                    </a:lnTo>
                    <a:lnTo>
                      <a:pt x="68" y="682"/>
                    </a:lnTo>
                    <a:lnTo>
                      <a:pt x="68" y="584"/>
                    </a:lnTo>
                    <a:lnTo>
                      <a:pt x="104" y="584"/>
                    </a:lnTo>
                    <a:lnTo>
                      <a:pt x="104" y="564"/>
                    </a:lnTo>
                    <a:lnTo>
                      <a:pt x="68" y="564"/>
                    </a:lnTo>
                    <a:lnTo>
                      <a:pt x="68" y="464"/>
                    </a:lnTo>
                    <a:lnTo>
                      <a:pt x="104" y="464"/>
                    </a:lnTo>
                    <a:lnTo>
                      <a:pt x="104" y="444"/>
                    </a:lnTo>
                    <a:lnTo>
                      <a:pt x="68" y="444"/>
                    </a:lnTo>
                    <a:lnTo>
                      <a:pt x="68" y="345"/>
                    </a:lnTo>
                    <a:lnTo>
                      <a:pt x="104" y="345"/>
                    </a:lnTo>
                    <a:lnTo>
                      <a:pt x="104" y="325"/>
                    </a:lnTo>
                    <a:lnTo>
                      <a:pt x="68" y="325"/>
                    </a:lnTo>
                    <a:lnTo>
                      <a:pt x="68" y="226"/>
                    </a:lnTo>
                    <a:lnTo>
                      <a:pt x="104" y="226"/>
                    </a:lnTo>
                    <a:lnTo>
                      <a:pt x="104" y="205"/>
                    </a:lnTo>
                    <a:lnTo>
                      <a:pt x="68" y="205"/>
                    </a:lnTo>
                    <a:lnTo>
                      <a:pt x="68" y="106"/>
                    </a:lnTo>
                    <a:lnTo>
                      <a:pt x="104" y="106"/>
                    </a:lnTo>
                    <a:lnTo>
                      <a:pt x="104" y="86"/>
                    </a:lnTo>
                    <a:lnTo>
                      <a:pt x="68" y="86"/>
                    </a:lnTo>
                    <a:lnTo>
                      <a:pt x="68" y="0"/>
                    </a:lnTo>
                    <a:lnTo>
                      <a:pt x="47" y="0"/>
                    </a:lnTo>
                    <a:lnTo>
                      <a:pt x="47" y="793"/>
                    </a:lnTo>
                    <a:lnTo>
                      <a:pt x="0" y="793"/>
                    </a:lnTo>
                    <a:lnTo>
                      <a:pt x="0" y="814"/>
                    </a:lnTo>
                    <a:lnTo>
                      <a:pt x="47" y="814"/>
                    </a:lnTo>
                    <a:lnTo>
                      <a:pt x="47" y="861"/>
                    </a:lnTo>
                    <a:lnTo>
                      <a:pt x="68" y="861"/>
                    </a:lnTo>
                    <a:lnTo>
                      <a:pt x="68" y="814"/>
                    </a:lnTo>
                    <a:lnTo>
                      <a:pt x="867" y="814"/>
                    </a:lnTo>
                    <a:lnTo>
                      <a:pt x="867" y="793"/>
                    </a:lnTo>
                    <a:lnTo>
                      <a:pt x="771" y="793"/>
                    </a:lnTo>
                    <a:lnTo>
                      <a:pt x="771" y="757"/>
                    </a:lnTo>
                    <a:lnTo>
                      <a:pt x="751" y="757"/>
                    </a:lnTo>
                    <a:lnTo>
                      <a:pt x="751" y="793"/>
                    </a:ln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th-TH" sz="1800" b="0" i="0" u="none" strike="noStrike" kern="0" cap="none" spc="0" normalizeH="0" baseline="0" noProof="0">
                  <a:ln>
                    <a:noFill/>
                  </a:ln>
                  <a:solidFill>
                    <a:prstClr val="black"/>
                  </a:solidFill>
                  <a:effectLst/>
                  <a:uLnTx/>
                  <a:uFillTx/>
                  <a:cs typeface="+mn-ea"/>
                  <a:sym typeface="+mn-lt"/>
                </a:endParaRPr>
              </a:p>
            </p:txBody>
          </p:sp>
        </p:grpSp>
        <p:sp>
          <p:nvSpPr>
            <p:cNvPr id="102" name="矩形 101"/>
            <p:cNvSpPr/>
            <p:nvPr/>
          </p:nvSpPr>
          <p:spPr>
            <a:xfrm>
              <a:off x="655377" y="4832738"/>
              <a:ext cx="1210588" cy="584775"/>
            </a:xfrm>
            <a:prstGeom prst="rect">
              <a:avLst/>
            </a:prstGeom>
            <a:noFill/>
          </p:spPr>
          <p:txBody>
            <a:bodyPr wrap="non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600" i="0" u="none" strike="noStrike" kern="1200" cap="none" spc="0" normalizeH="0" baseline="0" noProof="0" dirty="0">
                  <a:ln>
                    <a:noFill/>
                  </a:ln>
                  <a:solidFill>
                    <a:srgbClr val="84FFFF"/>
                  </a:solidFill>
                  <a:effectLst/>
                  <a:uLnTx/>
                  <a:uFillTx/>
                  <a:cs typeface="+mn-ea"/>
                  <a:sym typeface="+mn-lt"/>
                </a:rPr>
                <a:t>第三方数据</a:t>
              </a:r>
              <a:endParaRPr kumimoji="0" lang="en-US" altLang="zh-CN" sz="1600" i="0" u="none" strike="noStrike" kern="1200" cap="none" spc="0" normalizeH="0" baseline="0" noProof="0" dirty="0">
                <a:ln>
                  <a:noFill/>
                </a:ln>
                <a:solidFill>
                  <a:srgbClr val="84FFFF"/>
                </a:solidFill>
                <a:effectLst/>
                <a:uLnTx/>
                <a:uFillTx/>
                <a:cs typeface="+mn-ea"/>
                <a:sym typeface="+mn-lt"/>
              </a:endParaRPr>
            </a:p>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600" i="0" u="none" strike="noStrike" kern="1200" cap="none" spc="0" normalizeH="0" baseline="0" noProof="0" dirty="0">
                  <a:ln>
                    <a:noFill/>
                  </a:ln>
                  <a:solidFill>
                    <a:srgbClr val="84FFFF"/>
                  </a:solidFill>
                  <a:effectLst/>
                  <a:uLnTx/>
                  <a:uFillTx/>
                  <a:cs typeface="+mn-ea"/>
                  <a:sym typeface="+mn-lt"/>
                </a:rPr>
                <a:t>监测分析</a:t>
              </a:r>
              <a:endParaRPr kumimoji="0" lang="en-US" altLang="zh-CN" sz="1600" i="0" u="none" strike="noStrike" kern="1200" cap="none" spc="0" normalizeH="0" baseline="0" noProof="0" dirty="0">
                <a:ln>
                  <a:noFill/>
                </a:ln>
                <a:solidFill>
                  <a:srgbClr val="84FFFF"/>
                </a:solidFill>
                <a:effectLst/>
                <a:uLnTx/>
                <a:uFillTx/>
                <a:cs typeface="+mn-ea"/>
                <a:sym typeface="+mn-lt"/>
              </a:endParaRPr>
            </a:p>
          </p:txBody>
        </p:sp>
        <p:cxnSp>
          <p:nvCxnSpPr>
            <p:cNvPr id="103" name="直接连接符 102"/>
            <p:cNvCxnSpPr/>
            <p:nvPr/>
          </p:nvCxnSpPr>
          <p:spPr>
            <a:xfrm>
              <a:off x="1542675" y="4489737"/>
              <a:ext cx="968940" cy="0"/>
            </a:xfrm>
            <a:prstGeom prst="line">
              <a:avLst/>
            </a:prstGeom>
            <a:noFill/>
            <a:ln w="9525" cap="flat" cmpd="sng" algn="ctr">
              <a:solidFill>
                <a:srgbClr val="4472C4">
                  <a:lumMod val="60000"/>
                  <a:lumOff val="40000"/>
                  <a:alpha val="60000"/>
                </a:srgbClr>
              </a:solidFill>
              <a:prstDash val="dash"/>
              <a:miter lim="800000"/>
            </a:ln>
            <a:effectLst/>
          </p:spPr>
        </p:cxnSp>
      </p:grpSp>
      <p:grpSp>
        <p:nvGrpSpPr>
          <p:cNvPr id="110" name="组合 109"/>
          <p:cNvGrpSpPr/>
          <p:nvPr/>
        </p:nvGrpSpPr>
        <p:grpSpPr>
          <a:xfrm>
            <a:off x="5204818" y="4538950"/>
            <a:ext cx="1625737" cy="1287472"/>
            <a:chOff x="5122268" y="4433222"/>
            <a:chExt cx="1625737" cy="1287472"/>
          </a:xfrm>
        </p:grpSpPr>
        <p:grpSp>
          <p:nvGrpSpPr>
            <p:cNvPr id="111" name="组合 110"/>
            <p:cNvGrpSpPr/>
            <p:nvPr/>
          </p:nvGrpSpPr>
          <p:grpSpPr>
            <a:xfrm>
              <a:off x="5778733" y="4433222"/>
              <a:ext cx="835272" cy="829663"/>
              <a:chOff x="6463926" y="2278309"/>
              <a:chExt cx="708057" cy="703302"/>
            </a:xfrm>
          </p:grpSpPr>
          <p:sp>
            <p:nvSpPr>
              <p:cNvPr id="114" name="Freeform 30"/>
              <p:cNvSpPr>
                <a:spLocks noEditPoints="1"/>
              </p:cNvSpPr>
              <p:nvPr/>
            </p:nvSpPr>
            <p:spPr bwMode="auto">
              <a:xfrm>
                <a:off x="6687023" y="2278309"/>
                <a:ext cx="261864" cy="305752"/>
              </a:xfrm>
              <a:custGeom>
                <a:avLst/>
                <a:gdLst>
                  <a:gd name="T0" fmla="*/ 150 w 303"/>
                  <a:gd name="T1" fmla="*/ 1 h 354"/>
                  <a:gd name="T2" fmla="*/ 81 w 303"/>
                  <a:gd name="T3" fmla="*/ 76 h 354"/>
                  <a:gd name="T4" fmla="*/ 153 w 303"/>
                  <a:gd name="T5" fmla="*/ 165 h 354"/>
                  <a:gd name="T6" fmla="*/ 222 w 303"/>
                  <a:gd name="T7" fmla="*/ 74 h 354"/>
                  <a:gd name="T8" fmla="*/ 150 w 303"/>
                  <a:gd name="T9" fmla="*/ 1 h 354"/>
                  <a:gd name="T10" fmla="*/ 151 w 303"/>
                  <a:gd name="T11" fmla="*/ 261 h 354"/>
                  <a:gd name="T12" fmla="*/ 198 w 303"/>
                  <a:gd name="T13" fmla="*/ 196 h 354"/>
                  <a:gd name="T14" fmla="*/ 210 w 303"/>
                  <a:gd name="T15" fmla="*/ 190 h 354"/>
                  <a:gd name="T16" fmla="*/ 260 w 303"/>
                  <a:gd name="T17" fmla="*/ 199 h 354"/>
                  <a:gd name="T18" fmla="*/ 290 w 303"/>
                  <a:gd name="T19" fmla="*/ 225 h 354"/>
                  <a:gd name="T20" fmla="*/ 303 w 303"/>
                  <a:gd name="T21" fmla="*/ 330 h 354"/>
                  <a:gd name="T22" fmla="*/ 297 w 303"/>
                  <a:gd name="T23" fmla="*/ 347 h 354"/>
                  <a:gd name="T24" fmla="*/ 280 w 303"/>
                  <a:gd name="T25" fmla="*/ 354 h 354"/>
                  <a:gd name="T26" fmla="*/ 23 w 303"/>
                  <a:gd name="T27" fmla="*/ 354 h 354"/>
                  <a:gd name="T28" fmla="*/ 6 w 303"/>
                  <a:gd name="T29" fmla="*/ 347 h 354"/>
                  <a:gd name="T30" fmla="*/ 0 w 303"/>
                  <a:gd name="T31" fmla="*/ 330 h 354"/>
                  <a:gd name="T32" fmla="*/ 13 w 303"/>
                  <a:gd name="T33" fmla="*/ 225 h 354"/>
                  <a:gd name="T34" fmla="*/ 43 w 303"/>
                  <a:gd name="T35" fmla="*/ 199 h 354"/>
                  <a:gd name="T36" fmla="*/ 93 w 303"/>
                  <a:gd name="T37" fmla="*/ 190 h 354"/>
                  <a:gd name="T38" fmla="*/ 105 w 303"/>
                  <a:gd name="T39" fmla="*/ 196 h 354"/>
                  <a:gd name="T40" fmla="*/ 151 w 303"/>
                  <a:gd name="T41" fmla="*/ 261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3" h="354">
                    <a:moveTo>
                      <a:pt x="150" y="1"/>
                    </a:moveTo>
                    <a:cubicBezTo>
                      <a:pt x="111" y="2"/>
                      <a:pt x="80" y="36"/>
                      <a:pt x="81" y="76"/>
                    </a:cubicBezTo>
                    <a:cubicBezTo>
                      <a:pt x="82" y="117"/>
                      <a:pt x="114" y="166"/>
                      <a:pt x="153" y="165"/>
                    </a:cubicBezTo>
                    <a:cubicBezTo>
                      <a:pt x="192" y="165"/>
                      <a:pt x="223" y="114"/>
                      <a:pt x="222" y="74"/>
                    </a:cubicBezTo>
                    <a:cubicBezTo>
                      <a:pt x="221" y="33"/>
                      <a:pt x="189" y="0"/>
                      <a:pt x="150" y="1"/>
                    </a:cubicBezTo>
                    <a:close/>
                    <a:moveTo>
                      <a:pt x="151" y="261"/>
                    </a:moveTo>
                    <a:cubicBezTo>
                      <a:pt x="198" y="196"/>
                      <a:pt x="198" y="196"/>
                      <a:pt x="198" y="196"/>
                    </a:cubicBezTo>
                    <a:cubicBezTo>
                      <a:pt x="201" y="192"/>
                      <a:pt x="206" y="190"/>
                      <a:pt x="210" y="190"/>
                    </a:cubicBezTo>
                    <a:cubicBezTo>
                      <a:pt x="260" y="199"/>
                      <a:pt x="260" y="199"/>
                      <a:pt x="260" y="199"/>
                    </a:cubicBezTo>
                    <a:cubicBezTo>
                      <a:pt x="278" y="202"/>
                      <a:pt x="288" y="217"/>
                      <a:pt x="290" y="225"/>
                    </a:cubicBezTo>
                    <a:cubicBezTo>
                      <a:pt x="297" y="274"/>
                      <a:pt x="301" y="304"/>
                      <a:pt x="303" y="330"/>
                    </a:cubicBezTo>
                    <a:cubicBezTo>
                      <a:pt x="303" y="336"/>
                      <a:pt x="301" y="342"/>
                      <a:pt x="297" y="347"/>
                    </a:cubicBezTo>
                    <a:cubicBezTo>
                      <a:pt x="292" y="351"/>
                      <a:pt x="287" y="354"/>
                      <a:pt x="280" y="354"/>
                    </a:cubicBezTo>
                    <a:cubicBezTo>
                      <a:pt x="23" y="354"/>
                      <a:pt x="23" y="354"/>
                      <a:pt x="23" y="354"/>
                    </a:cubicBezTo>
                    <a:cubicBezTo>
                      <a:pt x="16" y="354"/>
                      <a:pt x="11" y="351"/>
                      <a:pt x="6" y="347"/>
                    </a:cubicBezTo>
                    <a:cubicBezTo>
                      <a:pt x="2" y="342"/>
                      <a:pt x="0" y="336"/>
                      <a:pt x="0" y="330"/>
                    </a:cubicBezTo>
                    <a:cubicBezTo>
                      <a:pt x="2" y="304"/>
                      <a:pt x="6" y="274"/>
                      <a:pt x="13" y="225"/>
                    </a:cubicBezTo>
                    <a:cubicBezTo>
                      <a:pt x="15" y="217"/>
                      <a:pt x="25" y="202"/>
                      <a:pt x="43" y="199"/>
                    </a:cubicBezTo>
                    <a:cubicBezTo>
                      <a:pt x="93" y="190"/>
                      <a:pt x="93" y="190"/>
                      <a:pt x="93" y="190"/>
                    </a:cubicBezTo>
                    <a:cubicBezTo>
                      <a:pt x="97" y="190"/>
                      <a:pt x="102" y="192"/>
                      <a:pt x="105" y="196"/>
                    </a:cubicBezTo>
                    <a:cubicBezTo>
                      <a:pt x="151" y="261"/>
                      <a:pt x="151" y="261"/>
                      <a:pt x="151" y="261"/>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115" name="Freeform 31"/>
              <p:cNvSpPr>
                <a:spLocks noEditPoints="1"/>
              </p:cNvSpPr>
              <p:nvPr/>
            </p:nvSpPr>
            <p:spPr bwMode="auto">
              <a:xfrm>
                <a:off x="6463926" y="2632337"/>
                <a:ext cx="268082" cy="349274"/>
              </a:xfrm>
              <a:custGeom>
                <a:avLst/>
                <a:gdLst>
                  <a:gd name="T0" fmla="*/ 153 w 310"/>
                  <a:gd name="T1" fmla="*/ 1 h 404"/>
                  <a:gd name="T2" fmla="*/ 84 w 310"/>
                  <a:gd name="T3" fmla="*/ 76 h 404"/>
                  <a:gd name="T4" fmla="*/ 156 w 310"/>
                  <a:gd name="T5" fmla="*/ 165 h 404"/>
                  <a:gd name="T6" fmla="*/ 225 w 310"/>
                  <a:gd name="T7" fmla="*/ 73 h 404"/>
                  <a:gd name="T8" fmla="*/ 153 w 310"/>
                  <a:gd name="T9" fmla="*/ 1 h 404"/>
                  <a:gd name="T10" fmla="*/ 155 w 310"/>
                  <a:gd name="T11" fmla="*/ 261 h 404"/>
                  <a:gd name="T12" fmla="*/ 201 w 310"/>
                  <a:gd name="T13" fmla="*/ 195 h 404"/>
                  <a:gd name="T14" fmla="*/ 213 w 310"/>
                  <a:gd name="T15" fmla="*/ 190 h 404"/>
                  <a:gd name="T16" fmla="*/ 263 w 310"/>
                  <a:gd name="T17" fmla="*/ 199 h 404"/>
                  <a:gd name="T18" fmla="*/ 293 w 310"/>
                  <a:gd name="T19" fmla="*/ 225 h 404"/>
                  <a:gd name="T20" fmla="*/ 304 w 310"/>
                  <a:gd name="T21" fmla="*/ 385 h 404"/>
                  <a:gd name="T22" fmla="*/ 282 w 310"/>
                  <a:gd name="T23" fmla="*/ 404 h 404"/>
                  <a:gd name="T24" fmla="*/ 27 w 310"/>
                  <a:gd name="T25" fmla="*/ 404 h 404"/>
                  <a:gd name="T26" fmla="*/ 5 w 310"/>
                  <a:gd name="T27" fmla="*/ 385 h 404"/>
                  <a:gd name="T28" fmla="*/ 16 w 310"/>
                  <a:gd name="T29" fmla="*/ 225 h 404"/>
                  <a:gd name="T30" fmla="*/ 46 w 310"/>
                  <a:gd name="T31" fmla="*/ 199 h 404"/>
                  <a:gd name="T32" fmla="*/ 96 w 310"/>
                  <a:gd name="T33" fmla="*/ 190 h 404"/>
                  <a:gd name="T34" fmla="*/ 108 w 310"/>
                  <a:gd name="T35" fmla="*/ 195 h 404"/>
                  <a:gd name="T36" fmla="*/ 155 w 310"/>
                  <a:gd name="T37" fmla="*/ 26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0" h="404">
                    <a:moveTo>
                      <a:pt x="153" y="1"/>
                    </a:moveTo>
                    <a:cubicBezTo>
                      <a:pt x="114" y="1"/>
                      <a:pt x="83" y="35"/>
                      <a:pt x="84" y="76"/>
                    </a:cubicBezTo>
                    <a:cubicBezTo>
                      <a:pt x="85" y="117"/>
                      <a:pt x="117" y="166"/>
                      <a:pt x="156" y="165"/>
                    </a:cubicBezTo>
                    <a:cubicBezTo>
                      <a:pt x="195" y="164"/>
                      <a:pt x="226" y="114"/>
                      <a:pt x="225" y="73"/>
                    </a:cubicBezTo>
                    <a:cubicBezTo>
                      <a:pt x="224" y="32"/>
                      <a:pt x="192" y="0"/>
                      <a:pt x="153" y="1"/>
                    </a:cubicBezTo>
                    <a:close/>
                    <a:moveTo>
                      <a:pt x="155" y="261"/>
                    </a:moveTo>
                    <a:cubicBezTo>
                      <a:pt x="201" y="195"/>
                      <a:pt x="201" y="195"/>
                      <a:pt x="201" y="195"/>
                    </a:cubicBezTo>
                    <a:cubicBezTo>
                      <a:pt x="204" y="191"/>
                      <a:pt x="209" y="189"/>
                      <a:pt x="213" y="190"/>
                    </a:cubicBezTo>
                    <a:cubicBezTo>
                      <a:pt x="263" y="199"/>
                      <a:pt x="263" y="199"/>
                      <a:pt x="263" y="199"/>
                    </a:cubicBezTo>
                    <a:cubicBezTo>
                      <a:pt x="281" y="202"/>
                      <a:pt x="291" y="216"/>
                      <a:pt x="293" y="225"/>
                    </a:cubicBezTo>
                    <a:cubicBezTo>
                      <a:pt x="304" y="309"/>
                      <a:pt x="310" y="336"/>
                      <a:pt x="304" y="385"/>
                    </a:cubicBezTo>
                    <a:cubicBezTo>
                      <a:pt x="303" y="396"/>
                      <a:pt x="294" y="404"/>
                      <a:pt x="282" y="404"/>
                    </a:cubicBezTo>
                    <a:cubicBezTo>
                      <a:pt x="27" y="404"/>
                      <a:pt x="27" y="404"/>
                      <a:pt x="27" y="404"/>
                    </a:cubicBezTo>
                    <a:cubicBezTo>
                      <a:pt x="15" y="404"/>
                      <a:pt x="6" y="396"/>
                      <a:pt x="5" y="385"/>
                    </a:cubicBezTo>
                    <a:cubicBezTo>
                      <a:pt x="0" y="336"/>
                      <a:pt x="5" y="309"/>
                      <a:pt x="16" y="225"/>
                    </a:cubicBezTo>
                    <a:cubicBezTo>
                      <a:pt x="18" y="216"/>
                      <a:pt x="28" y="202"/>
                      <a:pt x="46" y="199"/>
                    </a:cubicBezTo>
                    <a:cubicBezTo>
                      <a:pt x="96" y="190"/>
                      <a:pt x="96" y="190"/>
                      <a:pt x="96" y="190"/>
                    </a:cubicBezTo>
                    <a:cubicBezTo>
                      <a:pt x="100" y="189"/>
                      <a:pt x="105" y="191"/>
                      <a:pt x="108" y="195"/>
                    </a:cubicBezTo>
                    <a:cubicBezTo>
                      <a:pt x="155" y="261"/>
                      <a:pt x="155" y="261"/>
                      <a:pt x="155" y="261"/>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116" name="Freeform 32"/>
              <p:cNvSpPr/>
              <p:nvPr/>
            </p:nvSpPr>
            <p:spPr bwMode="auto">
              <a:xfrm>
                <a:off x="6727619" y="2616977"/>
                <a:ext cx="180672" cy="154705"/>
              </a:xfrm>
              <a:custGeom>
                <a:avLst/>
                <a:gdLst>
                  <a:gd name="T0" fmla="*/ 85 w 209"/>
                  <a:gd name="T1" fmla="*/ 19 h 179"/>
                  <a:gd name="T2" fmla="*/ 104 w 209"/>
                  <a:gd name="T3" fmla="*/ 0 h 179"/>
                  <a:gd name="T4" fmla="*/ 124 w 209"/>
                  <a:gd name="T5" fmla="*/ 19 h 179"/>
                  <a:gd name="T6" fmla="*/ 124 w 209"/>
                  <a:gd name="T7" fmla="*/ 98 h 179"/>
                  <a:gd name="T8" fmla="*/ 197 w 209"/>
                  <a:gd name="T9" fmla="*/ 141 h 179"/>
                  <a:gd name="T10" fmla="*/ 204 w 209"/>
                  <a:gd name="T11" fmla="*/ 167 h 179"/>
                  <a:gd name="T12" fmla="*/ 178 w 209"/>
                  <a:gd name="T13" fmla="*/ 174 h 179"/>
                  <a:gd name="T14" fmla="*/ 104 w 209"/>
                  <a:gd name="T15" fmla="*/ 131 h 179"/>
                  <a:gd name="T16" fmla="*/ 31 w 209"/>
                  <a:gd name="T17" fmla="*/ 174 h 179"/>
                  <a:gd name="T18" fmla="*/ 5 w 209"/>
                  <a:gd name="T19" fmla="*/ 167 h 179"/>
                  <a:gd name="T20" fmla="*/ 12 w 209"/>
                  <a:gd name="T21" fmla="*/ 141 h 179"/>
                  <a:gd name="T22" fmla="*/ 85 w 209"/>
                  <a:gd name="T23" fmla="*/ 98 h 179"/>
                  <a:gd name="T24" fmla="*/ 85 w 209"/>
                  <a:gd name="T25" fmla="*/ 1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179">
                    <a:moveTo>
                      <a:pt x="85" y="19"/>
                    </a:moveTo>
                    <a:cubicBezTo>
                      <a:pt x="85" y="8"/>
                      <a:pt x="94" y="0"/>
                      <a:pt x="104" y="0"/>
                    </a:cubicBezTo>
                    <a:cubicBezTo>
                      <a:pt x="115" y="0"/>
                      <a:pt x="124" y="8"/>
                      <a:pt x="124" y="19"/>
                    </a:cubicBezTo>
                    <a:cubicBezTo>
                      <a:pt x="124" y="98"/>
                      <a:pt x="124" y="98"/>
                      <a:pt x="124" y="98"/>
                    </a:cubicBezTo>
                    <a:cubicBezTo>
                      <a:pt x="197" y="141"/>
                      <a:pt x="197" y="141"/>
                      <a:pt x="197" y="141"/>
                    </a:cubicBezTo>
                    <a:cubicBezTo>
                      <a:pt x="206" y="146"/>
                      <a:pt x="209" y="158"/>
                      <a:pt x="204" y="167"/>
                    </a:cubicBezTo>
                    <a:cubicBezTo>
                      <a:pt x="198" y="176"/>
                      <a:pt x="187" y="179"/>
                      <a:pt x="178" y="174"/>
                    </a:cubicBezTo>
                    <a:cubicBezTo>
                      <a:pt x="104" y="131"/>
                      <a:pt x="104" y="131"/>
                      <a:pt x="104" y="131"/>
                    </a:cubicBezTo>
                    <a:cubicBezTo>
                      <a:pt x="31" y="174"/>
                      <a:pt x="31" y="174"/>
                      <a:pt x="31" y="174"/>
                    </a:cubicBezTo>
                    <a:cubicBezTo>
                      <a:pt x="22" y="179"/>
                      <a:pt x="11" y="176"/>
                      <a:pt x="5" y="167"/>
                    </a:cubicBezTo>
                    <a:cubicBezTo>
                      <a:pt x="0" y="158"/>
                      <a:pt x="3" y="146"/>
                      <a:pt x="12" y="141"/>
                    </a:cubicBezTo>
                    <a:cubicBezTo>
                      <a:pt x="85" y="98"/>
                      <a:pt x="85" y="98"/>
                      <a:pt x="85" y="98"/>
                    </a:cubicBezTo>
                    <a:cubicBezTo>
                      <a:pt x="85" y="19"/>
                      <a:pt x="85" y="19"/>
                      <a:pt x="85" y="19"/>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sp>
            <p:nvSpPr>
              <p:cNvPr id="117" name="Freeform 33"/>
              <p:cNvSpPr>
                <a:spLocks noEditPoints="1"/>
              </p:cNvSpPr>
              <p:nvPr/>
            </p:nvSpPr>
            <p:spPr bwMode="auto">
              <a:xfrm>
                <a:off x="6903901" y="2632337"/>
                <a:ext cx="268082" cy="349274"/>
              </a:xfrm>
              <a:custGeom>
                <a:avLst/>
                <a:gdLst>
                  <a:gd name="T0" fmla="*/ 154 w 310"/>
                  <a:gd name="T1" fmla="*/ 1 h 404"/>
                  <a:gd name="T2" fmla="*/ 85 w 310"/>
                  <a:gd name="T3" fmla="*/ 76 h 404"/>
                  <a:gd name="T4" fmla="*/ 157 w 310"/>
                  <a:gd name="T5" fmla="*/ 165 h 404"/>
                  <a:gd name="T6" fmla="*/ 226 w 310"/>
                  <a:gd name="T7" fmla="*/ 73 h 404"/>
                  <a:gd name="T8" fmla="*/ 154 w 310"/>
                  <a:gd name="T9" fmla="*/ 1 h 404"/>
                  <a:gd name="T10" fmla="*/ 155 w 310"/>
                  <a:gd name="T11" fmla="*/ 261 h 404"/>
                  <a:gd name="T12" fmla="*/ 202 w 310"/>
                  <a:gd name="T13" fmla="*/ 195 h 404"/>
                  <a:gd name="T14" fmla="*/ 214 w 310"/>
                  <a:gd name="T15" fmla="*/ 190 h 404"/>
                  <a:gd name="T16" fmla="*/ 264 w 310"/>
                  <a:gd name="T17" fmla="*/ 199 h 404"/>
                  <a:gd name="T18" fmla="*/ 294 w 310"/>
                  <a:gd name="T19" fmla="*/ 225 h 404"/>
                  <a:gd name="T20" fmla="*/ 305 w 310"/>
                  <a:gd name="T21" fmla="*/ 385 h 404"/>
                  <a:gd name="T22" fmla="*/ 283 w 310"/>
                  <a:gd name="T23" fmla="*/ 404 h 404"/>
                  <a:gd name="T24" fmla="*/ 28 w 310"/>
                  <a:gd name="T25" fmla="*/ 404 h 404"/>
                  <a:gd name="T26" fmla="*/ 6 w 310"/>
                  <a:gd name="T27" fmla="*/ 385 h 404"/>
                  <a:gd name="T28" fmla="*/ 17 w 310"/>
                  <a:gd name="T29" fmla="*/ 225 h 404"/>
                  <a:gd name="T30" fmla="*/ 47 w 310"/>
                  <a:gd name="T31" fmla="*/ 199 h 404"/>
                  <a:gd name="T32" fmla="*/ 97 w 310"/>
                  <a:gd name="T33" fmla="*/ 190 h 404"/>
                  <a:gd name="T34" fmla="*/ 109 w 310"/>
                  <a:gd name="T35" fmla="*/ 195 h 404"/>
                  <a:gd name="T36" fmla="*/ 155 w 310"/>
                  <a:gd name="T37" fmla="*/ 26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0" h="404">
                    <a:moveTo>
                      <a:pt x="154" y="1"/>
                    </a:moveTo>
                    <a:cubicBezTo>
                      <a:pt x="115" y="1"/>
                      <a:pt x="84" y="35"/>
                      <a:pt x="85" y="76"/>
                    </a:cubicBezTo>
                    <a:cubicBezTo>
                      <a:pt x="86" y="117"/>
                      <a:pt x="118" y="166"/>
                      <a:pt x="157" y="165"/>
                    </a:cubicBezTo>
                    <a:cubicBezTo>
                      <a:pt x="196" y="164"/>
                      <a:pt x="227" y="114"/>
                      <a:pt x="226" y="73"/>
                    </a:cubicBezTo>
                    <a:cubicBezTo>
                      <a:pt x="225" y="32"/>
                      <a:pt x="193" y="0"/>
                      <a:pt x="154" y="1"/>
                    </a:cubicBezTo>
                    <a:close/>
                    <a:moveTo>
                      <a:pt x="155" y="261"/>
                    </a:moveTo>
                    <a:cubicBezTo>
                      <a:pt x="202" y="195"/>
                      <a:pt x="202" y="195"/>
                      <a:pt x="202" y="195"/>
                    </a:cubicBezTo>
                    <a:cubicBezTo>
                      <a:pt x="205" y="191"/>
                      <a:pt x="209" y="189"/>
                      <a:pt x="214" y="190"/>
                    </a:cubicBezTo>
                    <a:cubicBezTo>
                      <a:pt x="264" y="199"/>
                      <a:pt x="264" y="199"/>
                      <a:pt x="264" y="199"/>
                    </a:cubicBezTo>
                    <a:cubicBezTo>
                      <a:pt x="282" y="202"/>
                      <a:pt x="292" y="216"/>
                      <a:pt x="294" y="225"/>
                    </a:cubicBezTo>
                    <a:cubicBezTo>
                      <a:pt x="305" y="309"/>
                      <a:pt x="310" y="336"/>
                      <a:pt x="305" y="385"/>
                    </a:cubicBezTo>
                    <a:cubicBezTo>
                      <a:pt x="304" y="396"/>
                      <a:pt x="295" y="404"/>
                      <a:pt x="283" y="404"/>
                    </a:cubicBezTo>
                    <a:cubicBezTo>
                      <a:pt x="28" y="404"/>
                      <a:pt x="28" y="404"/>
                      <a:pt x="28" y="404"/>
                    </a:cubicBezTo>
                    <a:cubicBezTo>
                      <a:pt x="16" y="404"/>
                      <a:pt x="7" y="396"/>
                      <a:pt x="6" y="385"/>
                    </a:cubicBezTo>
                    <a:cubicBezTo>
                      <a:pt x="0" y="336"/>
                      <a:pt x="6" y="309"/>
                      <a:pt x="17" y="225"/>
                    </a:cubicBezTo>
                    <a:cubicBezTo>
                      <a:pt x="19" y="216"/>
                      <a:pt x="29" y="202"/>
                      <a:pt x="47" y="199"/>
                    </a:cubicBezTo>
                    <a:cubicBezTo>
                      <a:pt x="97" y="190"/>
                      <a:pt x="97" y="190"/>
                      <a:pt x="97" y="190"/>
                    </a:cubicBezTo>
                    <a:cubicBezTo>
                      <a:pt x="101" y="189"/>
                      <a:pt x="106" y="191"/>
                      <a:pt x="109" y="195"/>
                    </a:cubicBezTo>
                    <a:cubicBezTo>
                      <a:pt x="155" y="261"/>
                      <a:pt x="155" y="261"/>
                      <a:pt x="155" y="261"/>
                    </a:cubicBezTo>
                    <a:close/>
                  </a:path>
                </a:pathLst>
              </a:custGeom>
              <a:gradFill>
                <a:gsLst>
                  <a:gs pos="98071">
                    <a:srgbClr val="0070C0"/>
                  </a:gs>
                  <a:gs pos="57000">
                    <a:srgbClr val="00B0F0"/>
                  </a:gs>
                  <a:gs pos="0">
                    <a:srgbClr val="05DEF5"/>
                  </a:gs>
                </a:gsLst>
                <a:lin ang="18900000" scaled="0"/>
              </a:gradFill>
              <a:ln w="50800">
                <a:noFill/>
              </a:ln>
              <a:effectLst>
                <a:outerShdw blurRad="419100" dist="152400" dir="2700000" algn="tl" rotWithShape="0">
                  <a:sysClr val="windowText" lastClr="000000">
                    <a:alpha val="12000"/>
                  </a:sysClr>
                </a:outerShdw>
              </a:effectLst>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cs typeface="+mn-ea"/>
                  <a:sym typeface="+mn-lt"/>
                </a:endParaRPr>
              </a:p>
            </p:txBody>
          </p:sp>
        </p:grpSp>
        <p:sp>
          <p:nvSpPr>
            <p:cNvPr id="112" name="矩形 111"/>
            <p:cNvSpPr/>
            <p:nvPr/>
          </p:nvSpPr>
          <p:spPr>
            <a:xfrm>
              <a:off x="5742602" y="5382140"/>
              <a:ext cx="1005403" cy="338554"/>
            </a:xfrm>
            <a:prstGeom prst="rect">
              <a:avLst/>
            </a:prstGeom>
            <a:noFill/>
          </p:spPr>
          <p:txBody>
            <a:bodyPr wrap="non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84FFFF"/>
                  </a:solidFill>
                  <a:effectLst/>
                  <a:uLnTx/>
                  <a:uFillTx/>
                  <a:cs typeface="+mn-ea"/>
                  <a:sym typeface="+mn-lt"/>
                </a:rPr>
                <a:t>广告受众</a:t>
              </a:r>
              <a:endParaRPr kumimoji="0" lang="en-US" altLang="zh-CN" sz="1600" b="1" i="0" u="none" strike="noStrike" kern="1200" cap="none" spc="0" normalizeH="0" baseline="0" noProof="0" dirty="0">
                <a:ln>
                  <a:noFill/>
                </a:ln>
                <a:solidFill>
                  <a:srgbClr val="84FFFF"/>
                </a:solidFill>
                <a:effectLst/>
                <a:uLnTx/>
                <a:uFillTx/>
                <a:cs typeface="+mn-ea"/>
                <a:sym typeface="+mn-lt"/>
              </a:endParaRPr>
            </a:p>
          </p:txBody>
        </p:sp>
        <p:cxnSp>
          <p:nvCxnSpPr>
            <p:cNvPr id="113" name="直接连接符 112"/>
            <p:cNvCxnSpPr/>
            <p:nvPr/>
          </p:nvCxnSpPr>
          <p:spPr>
            <a:xfrm>
              <a:off x="5122268" y="5337709"/>
              <a:ext cx="501401" cy="0"/>
            </a:xfrm>
            <a:prstGeom prst="line">
              <a:avLst/>
            </a:prstGeom>
            <a:noFill/>
            <a:ln w="9525" cap="flat" cmpd="sng" algn="ctr">
              <a:solidFill>
                <a:srgbClr val="4472C4">
                  <a:lumMod val="60000"/>
                  <a:lumOff val="40000"/>
                  <a:alpha val="60000"/>
                </a:srgbClr>
              </a:solidFill>
              <a:prstDash val="dash"/>
              <a:miter lim="800000"/>
            </a:ln>
            <a:effectLst/>
          </p:spPr>
        </p:cxnSp>
      </p:grpSp>
      <p:grpSp>
        <p:nvGrpSpPr>
          <p:cNvPr id="118" name="组合 117"/>
          <p:cNvGrpSpPr/>
          <p:nvPr/>
        </p:nvGrpSpPr>
        <p:grpSpPr>
          <a:xfrm>
            <a:off x="2149617" y="1498164"/>
            <a:ext cx="3456623" cy="5046550"/>
            <a:chOff x="2067067" y="1392436"/>
            <a:chExt cx="3456623" cy="5046550"/>
          </a:xfrm>
        </p:grpSpPr>
        <p:grpSp>
          <p:nvGrpSpPr>
            <p:cNvPr id="119" name="组合 118"/>
            <p:cNvGrpSpPr/>
            <p:nvPr/>
          </p:nvGrpSpPr>
          <p:grpSpPr>
            <a:xfrm>
              <a:off x="2185037" y="1392436"/>
              <a:ext cx="3327185" cy="1566284"/>
              <a:chOff x="7574269" y="1310048"/>
              <a:chExt cx="3705281" cy="1744275"/>
            </a:xfrm>
          </p:grpSpPr>
          <p:sp>
            <p:nvSpPr>
              <p:cNvPr id="132" name="Freeform 13"/>
              <p:cNvSpPr/>
              <p:nvPr/>
            </p:nvSpPr>
            <p:spPr bwMode="auto">
              <a:xfrm>
                <a:off x="7574269" y="1310048"/>
                <a:ext cx="3705281" cy="1744275"/>
              </a:xfrm>
              <a:custGeom>
                <a:avLst/>
                <a:gdLst>
                  <a:gd name="T0" fmla="*/ 291 w 531"/>
                  <a:gd name="T1" fmla="*/ 6 h 250"/>
                  <a:gd name="T2" fmla="*/ 517 w 531"/>
                  <a:gd name="T3" fmla="*/ 113 h 250"/>
                  <a:gd name="T4" fmla="*/ 517 w 531"/>
                  <a:gd name="T5" fmla="*/ 137 h 250"/>
                  <a:gd name="T6" fmla="*/ 291 w 531"/>
                  <a:gd name="T7" fmla="*/ 244 h 250"/>
                  <a:gd name="T8" fmla="*/ 240 w 531"/>
                  <a:gd name="T9" fmla="*/ 244 h 250"/>
                  <a:gd name="T10" fmla="*/ 14 w 531"/>
                  <a:gd name="T11" fmla="*/ 137 h 250"/>
                  <a:gd name="T12" fmla="*/ 14 w 531"/>
                  <a:gd name="T13" fmla="*/ 113 h 250"/>
                  <a:gd name="T14" fmla="*/ 240 w 531"/>
                  <a:gd name="T15" fmla="*/ 6 h 250"/>
                  <a:gd name="T16" fmla="*/ 291 w 531"/>
                  <a:gd name="T17" fmla="*/ 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1" h="250">
                    <a:moveTo>
                      <a:pt x="291" y="6"/>
                    </a:moveTo>
                    <a:lnTo>
                      <a:pt x="517" y="113"/>
                    </a:lnTo>
                    <a:cubicBezTo>
                      <a:pt x="531" y="120"/>
                      <a:pt x="531" y="130"/>
                      <a:pt x="517" y="137"/>
                    </a:cubicBezTo>
                    <a:lnTo>
                      <a:pt x="291" y="244"/>
                    </a:lnTo>
                    <a:cubicBezTo>
                      <a:pt x="277" y="250"/>
                      <a:pt x="254" y="250"/>
                      <a:pt x="240" y="244"/>
                    </a:cubicBezTo>
                    <a:lnTo>
                      <a:pt x="14" y="137"/>
                    </a:lnTo>
                    <a:cubicBezTo>
                      <a:pt x="0" y="130"/>
                      <a:pt x="0" y="120"/>
                      <a:pt x="14" y="113"/>
                    </a:cubicBezTo>
                    <a:lnTo>
                      <a:pt x="240" y="6"/>
                    </a:lnTo>
                    <a:cubicBezTo>
                      <a:pt x="254" y="0"/>
                      <a:pt x="277" y="0"/>
                      <a:pt x="291" y="6"/>
                    </a:cubicBezTo>
                    <a:close/>
                  </a:path>
                </a:pathLst>
              </a:custGeom>
              <a:gradFill flip="none" rotWithShape="1">
                <a:gsLst>
                  <a:gs pos="76000">
                    <a:srgbClr val="6ED5FF">
                      <a:alpha val="5000"/>
                    </a:srgbClr>
                  </a:gs>
                  <a:gs pos="0">
                    <a:srgbClr val="6ED5FF">
                      <a:alpha val="30000"/>
                    </a:srgbClr>
                  </a:gs>
                  <a:gs pos="54000">
                    <a:srgbClr val="6ED5FF">
                      <a:alpha val="10000"/>
                    </a:srgbClr>
                  </a:gs>
                  <a:gs pos="90000">
                    <a:srgbClr val="6ED5FF">
                      <a:alpha val="10000"/>
                    </a:srgbClr>
                  </a:gs>
                </a:gsLst>
                <a:path path="circle">
                  <a:fillToRect r="100000" b="100000"/>
                </a:path>
                <a:tileRect l="-100000" t="-100000"/>
              </a:gra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3" name="文本框 132"/>
              <p:cNvSpPr txBox="1"/>
              <p:nvPr/>
            </p:nvSpPr>
            <p:spPr>
              <a:xfrm>
                <a:off x="8572424" y="1619077"/>
                <a:ext cx="1796657" cy="359889"/>
              </a:xfrm>
              <a:prstGeom prst="rect">
                <a:avLst/>
              </a:prstGeom>
              <a:noFill/>
            </p:spPr>
            <p:txBody>
              <a:bodyPr wrap="square" lIns="0" tIns="0" rIns="0" bIns="0" rtlCol="0">
                <a:spAutoFit/>
              </a:bodyPr>
              <a:lstStyle>
                <a:defPPr>
                  <a:defRPr lang="zh-CN"/>
                </a:defPPr>
                <a:lvl1pPr>
                  <a:defRPr sz="2800">
                    <a:gradFill flip="none" rotWithShape="1">
                      <a:gsLst>
                        <a:gs pos="50000">
                          <a:srgbClr val="37AFC9"/>
                        </a:gs>
                        <a:gs pos="0">
                          <a:prstClr val="white"/>
                        </a:gs>
                        <a:gs pos="100000">
                          <a:srgbClr val="236F81"/>
                        </a:gs>
                      </a:gsLst>
                      <a:lin ang="5400000" scaled="1"/>
                      <a:tileRect/>
                    </a:gradFill>
                    <a:latin typeface="Mobitale Versalete"/>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100" b="0" i="0" u="none" strike="noStrike" kern="1200" cap="none" spc="0" normalizeH="0" baseline="0" noProof="0" dirty="0">
                  <a:ln>
                    <a:noFill/>
                  </a:ln>
                  <a:gradFill flip="none" rotWithShape="1">
                    <a:gsLst>
                      <a:gs pos="50000">
                        <a:srgbClr val="37AFC9"/>
                      </a:gs>
                      <a:gs pos="0">
                        <a:prstClr val="white"/>
                      </a:gs>
                      <a:gs pos="100000">
                        <a:srgbClr val="236F81"/>
                      </a:gs>
                    </a:gsLst>
                    <a:lin ang="5400000" scaled="1"/>
                    <a:tileRect/>
                  </a:gradFill>
                  <a:effectLst/>
                  <a:uLnTx/>
                  <a:uFillTx/>
                  <a:latin typeface="+mn-lt"/>
                  <a:ea typeface="+mn-ea"/>
                  <a:cs typeface="+mn-ea"/>
                  <a:sym typeface="+mn-lt"/>
                </a:endParaRPr>
              </a:p>
            </p:txBody>
          </p:sp>
          <p:sp>
            <p:nvSpPr>
              <p:cNvPr id="134" name="文本框 133"/>
              <p:cNvSpPr txBox="1"/>
              <p:nvPr/>
            </p:nvSpPr>
            <p:spPr>
              <a:xfrm>
                <a:off x="7978823" y="1719554"/>
                <a:ext cx="2984777" cy="359889"/>
              </a:xfrm>
              <a:prstGeom prst="rect">
                <a:avLst/>
              </a:prstGeom>
              <a:noFill/>
            </p:spPr>
            <p:txBody>
              <a:bodyPr wrap="square" lIns="0" tIns="0" rIns="0" bIns="0" rtlCol="0">
                <a:spAutoFit/>
              </a:bodyPr>
              <a:lstStyle>
                <a:defPPr>
                  <a:defRPr lang="zh-CN"/>
                </a:defPPr>
                <a:lvl1pPr>
                  <a:defRPr sz="2800">
                    <a:gradFill flip="none" rotWithShape="1">
                      <a:gsLst>
                        <a:gs pos="50000">
                          <a:srgbClr val="37AFC9"/>
                        </a:gs>
                        <a:gs pos="0">
                          <a:prstClr val="white"/>
                        </a:gs>
                        <a:gs pos="100000">
                          <a:srgbClr val="236F81"/>
                        </a:gs>
                      </a:gsLst>
                      <a:lin ang="5400000" scaled="1"/>
                      <a:tileRect/>
                    </a:gradFill>
                    <a:latin typeface="Mobitale Versalete"/>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100" b="0" i="0" u="none" strike="noStrike" kern="1200" cap="none" spc="0" normalizeH="0" baseline="0" noProof="0" dirty="0">
                    <a:ln>
                      <a:noFill/>
                    </a:ln>
                    <a:solidFill>
                      <a:srgbClr val="84FFFF"/>
                    </a:solidFill>
                    <a:effectLst/>
                    <a:uLnTx/>
                    <a:uFillTx/>
                    <a:latin typeface="+mn-lt"/>
                    <a:ea typeface="+mn-ea"/>
                    <a:cs typeface="+mn-ea"/>
                    <a:sym typeface="+mn-lt"/>
                  </a:rPr>
                  <a:t>大数据分析</a:t>
                </a:r>
              </a:p>
            </p:txBody>
          </p:sp>
        </p:grpSp>
        <p:grpSp>
          <p:nvGrpSpPr>
            <p:cNvPr id="120" name="组合 119"/>
            <p:cNvGrpSpPr/>
            <p:nvPr/>
          </p:nvGrpSpPr>
          <p:grpSpPr>
            <a:xfrm>
              <a:off x="2319561" y="2649240"/>
              <a:ext cx="2999909" cy="1413776"/>
              <a:chOff x="7779434" y="2749220"/>
              <a:chExt cx="3287490" cy="1549306"/>
            </a:xfrm>
          </p:grpSpPr>
          <p:sp>
            <p:nvSpPr>
              <p:cNvPr id="130" name="Freeform 12"/>
              <p:cNvSpPr/>
              <p:nvPr/>
            </p:nvSpPr>
            <p:spPr bwMode="auto">
              <a:xfrm>
                <a:off x="7779434" y="2749220"/>
                <a:ext cx="3287490" cy="1549306"/>
              </a:xfrm>
              <a:custGeom>
                <a:avLst/>
                <a:gdLst>
                  <a:gd name="T0" fmla="*/ 258 w 471"/>
                  <a:gd name="T1" fmla="*/ 5 h 222"/>
                  <a:gd name="T2" fmla="*/ 459 w 471"/>
                  <a:gd name="T3" fmla="*/ 100 h 222"/>
                  <a:gd name="T4" fmla="*/ 459 w 471"/>
                  <a:gd name="T5" fmla="*/ 121 h 222"/>
                  <a:gd name="T6" fmla="*/ 258 w 471"/>
                  <a:gd name="T7" fmla="*/ 216 h 222"/>
                  <a:gd name="T8" fmla="*/ 213 w 471"/>
                  <a:gd name="T9" fmla="*/ 216 h 222"/>
                  <a:gd name="T10" fmla="*/ 12 w 471"/>
                  <a:gd name="T11" fmla="*/ 121 h 222"/>
                  <a:gd name="T12" fmla="*/ 12 w 471"/>
                  <a:gd name="T13" fmla="*/ 100 h 222"/>
                  <a:gd name="T14" fmla="*/ 213 w 471"/>
                  <a:gd name="T15" fmla="*/ 5 h 222"/>
                  <a:gd name="T16" fmla="*/ 258 w 471"/>
                  <a:gd name="T17" fmla="*/ 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1" h="222">
                    <a:moveTo>
                      <a:pt x="258" y="5"/>
                    </a:moveTo>
                    <a:cubicBezTo>
                      <a:pt x="325" y="37"/>
                      <a:pt x="392" y="69"/>
                      <a:pt x="459" y="100"/>
                    </a:cubicBezTo>
                    <a:cubicBezTo>
                      <a:pt x="471" y="106"/>
                      <a:pt x="471" y="116"/>
                      <a:pt x="459" y="121"/>
                    </a:cubicBezTo>
                    <a:cubicBezTo>
                      <a:pt x="392" y="153"/>
                      <a:pt x="325" y="185"/>
                      <a:pt x="258" y="216"/>
                    </a:cubicBezTo>
                    <a:cubicBezTo>
                      <a:pt x="246" y="222"/>
                      <a:pt x="225" y="222"/>
                      <a:pt x="213" y="216"/>
                    </a:cubicBezTo>
                    <a:cubicBezTo>
                      <a:pt x="146" y="185"/>
                      <a:pt x="79" y="153"/>
                      <a:pt x="12" y="121"/>
                    </a:cubicBezTo>
                    <a:cubicBezTo>
                      <a:pt x="0" y="116"/>
                      <a:pt x="0" y="106"/>
                      <a:pt x="12" y="100"/>
                    </a:cubicBezTo>
                    <a:cubicBezTo>
                      <a:pt x="79" y="69"/>
                      <a:pt x="146" y="37"/>
                      <a:pt x="213" y="5"/>
                    </a:cubicBezTo>
                    <a:cubicBezTo>
                      <a:pt x="225" y="0"/>
                      <a:pt x="246" y="0"/>
                      <a:pt x="258" y="5"/>
                    </a:cubicBezTo>
                    <a:close/>
                  </a:path>
                </a:pathLst>
              </a:custGeom>
              <a:gradFill flip="none" rotWithShape="1">
                <a:gsLst>
                  <a:gs pos="76000">
                    <a:srgbClr val="6ED5FF">
                      <a:alpha val="5000"/>
                    </a:srgbClr>
                  </a:gs>
                  <a:gs pos="0">
                    <a:srgbClr val="6ED5FF">
                      <a:alpha val="30000"/>
                    </a:srgbClr>
                  </a:gs>
                  <a:gs pos="54000">
                    <a:srgbClr val="6ED5FF">
                      <a:alpha val="10000"/>
                    </a:srgbClr>
                  </a:gs>
                  <a:gs pos="90000">
                    <a:srgbClr val="6ED5FF">
                      <a:alpha val="10000"/>
                    </a:srgbClr>
                  </a:gs>
                </a:gsLst>
                <a:path path="circle">
                  <a:fillToRect r="100000" b="100000"/>
                </a:path>
                <a:tileRect l="-100000" t="-100000"/>
              </a:gra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1" name="文本框 130"/>
              <p:cNvSpPr txBox="1"/>
              <p:nvPr/>
            </p:nvSpPr>
            <p:spPr>
              <a:xfrm>
                <a:off x="9021831" y="3327759"/>
                <a:ext cx="885362" cy="354145"/>
              </a:xfrm>
              <a:prstGeom prst="rect">
                <a:avLst/>
              </a:prstGeom>
              <a:noFill/>
            </p:spPr>
            <p:txBody>
              <a:bodyPr wrap="none" lIns="0" tIns="0" rIns="0" bIns="0" rtlCol="0">
                <a:spAutoFit/>
              </a:bodyPr>
              <a:lstStyle>
                <a:defPPr>
                  <a:defRPr lang="zh-CN"/>
                </a:defPPr>
                <a:lvl1pPr>
                  <a:defRPr sz="2800">
                    <a:gradFill flip="none" rotWithShape="1">
                      <a:gsLst>
                        <a:gs pos="50000">
                          <a:srgbClr val="37AFC9"/>
                        </a:gs>
                        <a:gs pos="0">
                          <a:prstClr val="white"/>
                        </a:gs>
                        <a:gs pos="100000">
                          <a:srgbClr val="236F81"/>
                        </a:gs>
                      </a:gsLst>
                      <a:lin ang="5400000" scaled="1"/>
                      <a:tileRect/>
                    </a:gradFill>
                    <a:latin typeface="Mobitale Versalete"/>
                    <a:ea typeface="微软雅黑" panose="020B0503020204020204" pitchFamily="34" charset="-122"/>
                  </a:defRPr>
                </a:lvl1pPr>
              </a:lstStyle>
              <a:p>
                <a:pPr lvl="0">
                  <a:defRPr/>
                </a:pPr>
                <a:r>
                  <a:rPr lang="zh-CN" altLang="en-US" sz="2100" dirty="0">
                    <a:solidFill>
                      <a:srgbClr val="84FFFF"/>
                    </a:solidFill>
                    <a:latin typeface="+mn-lt"/>
                    <a:ea typeface="+mn-ea"/>
                    <a:cs typeface="+mn-ea"/>
                    <a:sym typeface="+mn-lt"/>
                  </a:rPr>
                  <a:t>云计算</a:t>
                </a:r>
              </a:p>
            </p:txBody>
          </p:sp>
        </p:grpSp>
        <p:grpSp>
          <p:nvGrpSpPr>
            <p:cNvPr id="121" name="组合 120"/>
            <p:cNvGrpSpPr/>
            <p:nvPr/>
          </p:nvGrpSpPr>
          <p:grpSpPr>
            <a:xfrm>
              <a:off x="2554334" y="3866677"/>
              <a:ext cx="2617077" cy="1242217"/>
              <a:chOff x="7989200" y="4026092"/>
              <a:chExt cx="2867959" cy="1361300"/>
            </a:xfrm>
          </p:grpSpPr>
          <p:sp>
            <p:nvSpPr>
              <p:cNvPr id="128" name="Freeform 11"/>
              <p:cNvSpPr/>
              <p:nvPr/>
            </p:nvSpPr>
            <p:spPr bwMode="auto">
              <a:xfrm>
                <a:off x="7989200" y="4026092"/>
                <a:ext cx="2867959" cy="1361300"/>
              </a:xfrm>
              <a:custGeom>
                <a:avLst/>
                <a:gdLst>
                  <a:gd name="T0" fmla="*/ 225 w 411"/>
                  <a:gd name="T1" fmla="*/ 5 h 195"/>
                  <a:gd name="T2" fmla="*/ 401 w 411"/>
                  <a:gd name="T3" fmla="*/ 89 h 195"/>
                  <a:gd name="T4" fmla="*/ 401 w 411"/>
                  <a:gd name="T5" fmla="*/ 107 h 195"/>
                  <a:gd name="T6" fmla="*/ 225 w 411"/>
                  <a:gd name="T7" fmla="*/ 190 h 195"/>
                  <a:gd name="T8" fmla="*/ 186 w 411"/>
                  <a:gd name="T9" fmla="*/ 190 h 195"/>
                  <a:gd name="T10" fmla="*/ 10 w 411"/>
                  <a:gd name="T11" fmla="*/ 107 h 195"/>
                  <a:gd name="T12" fmla="*/ 10 w 411"/>
                  <a:gd name="T13" fmla="*/ 89 h 195"/>
                  <a:gd name="T14" fmla="*/ 186 w 411"/>
                  <a:gd name="T15" fmla="*/ 5 h 195"/>
                  <a:gd name="T16" fmla="*/ 225 w 411"/>
                  <a:gd name="T17" fmla="*/ 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95">
                    <a:moveTo>
                      <a:pt x="225" y="5"/>
                    </a:moveTo>
                    <a:lnTo>
                      <a:pt x="401" y="89"/>
                    </a:lnTo>
                    <a:cubicBezTo>
                      <a:pt x="411" y="94"/>
                      <a:pt x="411" y="102"/>
                      <a:pt x="401" y="107"/>
                    </a:cubicBezTo>
                    <a:lnTo>
                      <a:pt x="225" y="190"/>
                    </a:lnTo>
                    <a:cubicBezTo>
                      <a:pt x="214" y="195"/>
                      <a:pt x="197" y="195"/>
                      <a:pt x="186" y="190"/>
                    </a:cubicBezTo>
                    <a:lnTo>
                      <a:pt x="10" y="107"/>
                    </a:lnTo>
                    <a:cubicBezTo>
                      <a:pt x="0" y="102"/>
                      <a:pt x="0" y="94"/>
                      <a:pt x="10" y="89"/>
                    </a:cubicBezTo>
                    <a:lnTo>
                      <a:pt x="186" y="5"/>
                    </a:lnTo>
                    <a:cubicBezTo>
                      <a:pt x="197" y="0"/>
                      <a:pt x="214" y="0"/>
                      <a:pt x="225" y="5"/>
                    </a:cubicBezTo>
                    <a:close/>
                  </a:path>
                </a:pathLst>
              </a:custGeom>
              <a:gradFill flip="none" rotWithShape="1">
                <a:gsLst>
                  <a:gs pos="76000">
                    <a:srgbClr val="6ED5FF">
                      <a:alpha val="5000"/>
                    </a:srgbClr>
                  </a:gs>
                  <a:gs pos="0">
                    <a:srgbClr val="6ED5FF">
                      <a:alpha val="30000"/>
                    </a:srgbClr>
                  </a:gs>
                  <a:gs pos="54000">
                    <a:srgbClr val="6ED5FF">
                      <a:alpha val="10000"/>
                    </a:srgbClr>
                  </a:gs>
                  <a:gs pos="90000">
                    <a:srgbClr val="6ED5FF">
                      <a:alpha val="10000"/>
                    </a:srgbClr>
                  </a:gs>
                </a:gsLst>
                <a:path path="circle">
                  <a:fillToRect r="100000" b="100000"/>
                </a:path>
                <a:tileRect l="-100000" t="-100000"/>
              </a:gra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9" name="文本框 128"/>
              <p:cNvSpPr txBox="1"/>
              <p:nvPr/>
            </p:nvSpPr>
            <p:spPr>
              <a:xfrm>
                <a:off x="8783807" y="4544194"/>
                <a:ext cx="1473849" cy="354145"/>
              </a:xfrm>
              <a:prstGeom prst="rect">
                <a:avLst/>
              </a:prstGeom>
              <a:noFill/>
            </p:spPr>
            <p:txBody>
              <a:bodyPr wrap="none" lIns="0" tIns="0" rIns="0" bIns="0" rtlCol="0">
                <a:spAutoFit/>
              </a:bodyPr>
              <a:lstStyle>
                <a:defPPr>
                  <a:defRPr lang="zh-CN"/>
                </a:defPPr>
                <a:lvl1pPr>
                  <a:defRPr sz="2800">
                    <a:gradFill flip="none" rotWithShape="1">
                      <a:gsLst>
                        <a:gs pos="50000">
                          <a:srgbClr val="37AFC9"/>
                        </a:gs>
                        <a:gs pos="0">
                          <a:prstClr val="white"/>
                        </a:gs>
                        <a:gs pos="100000">
                          <a:srgbClr val="236F81"/>
                        </a:gs>
                      </a:gsLst>
                      <a:lin ang="5400000" scaled="1"/>
                      <a:tileRect/>
                    </a:gradFill>
                    <a:latin typeface="Mobitale Versalete"/>
                    <a:ea typeface="微软雅黑" panose="020B0503020204020204" pitchFamily="34" charset="-122"/>
                  </a:defRPr>
                </a:lvl1p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100" b="0" i="0" u="none" strike="noStrike" kern="1200" cap="none" spc="0" normalizeH="0" baseline="0" noProof="0" dirty="0">
                    <a:ln>
                      <a:noFill/>
                    </a:ln>
                    <a:solidFill>
                      <a:srgbClr val="84FFFF"/>
                    </a:solidFill>
                    <a:effectLst/>
                    <a:uLnTx/>
                    <a:uFillTx/>
                    <a:latin typeface="+mn-lt"/>
                    <a:ea typeface="+mn-ea"/>
                    <a:cs typeface="+mn-ea"/>
                    <a:sym typeface="+mn-lt"/>
                  </a:rPr>
                  <a:t>AI</a:t>
                </a:r>
                <a:r>
                  <a:rPr kumimoji="0" lang="zh-CN" altLang="en-US" sz="2100" b="0" i="0" u="none" strike="noStrike" kern="1200" cap="none" spc="0" normalizeH="0" baseline="0" noProof="0" dirty="0">
                    <a:ln>
                      <a:noFill/>
                    </a:ln>
                    <a:solidFill>
                      <a:srgbClr val="84FFFF"/>
                    </a:solidFill>
                    <a:effectLst/>
                    <a:uLnTx/>
                    <a:uFillTx/>
                    <a:latin typeface="+mn-lt"/>
                    <a:ea typeface="+mn-ea"/>
                    <a:cs typeface="+mn-ea"/>
                    <a:sym typeface="+mn-lt"/>
                  </a:rPr>
                  <a:t>人工智能</a:t>
                </a:r>
              </a:p>
            </p:txBody>
          </p:sp>
        </p:grpSp>
        <p:sp>
          <p:nvSpPr>
            <p:cNvPr id="122" name="Line 17"/>
            <p:cNvSpPr>
              <a:spLocks noChangeShapeType="1"/>
            </p:cNvSpPr>
            <p:nvPr/>
          </p:nvSpPr>
          <p:spPr bwMode="auto">
            <a:xfrm flipH="1" flipV="1">
              <a:off x="2067067" y="1918231"/>
              <a:ext cx="840561" cy="4468995"/>
            </a:xfrm>
            <a:prstGeom prst="line">
              <a:avLst/>
            </a:prstGeom>
            <a:noFill/>
            <a:ln w="12700" cap="flat">
              <a:gradFill>
                <a:gsLst>
                  <a:gs pos="0">
                    <a:srgbClr val="05FDFF">
                      <a:alpha val="15000"/>
                    </a:srgbClr>
                  </a:gs>
                  <a:gs pos="36000">
                    <a:srgbClr val="05FDFF"/>
                  </a:gs>
                  <a:gs pos="61000">
                    <a:srgbClr val="5BD4FF"/>
                  </a:gs>
                  <a:gs pos="100000">
                    <a:srgbClr val="05FDFF">
                      <a:alpha val="13000"/>
                    </a:srgbClr>
                  </a:gs>
                </a:gsLst>
                <a:lin ang="0" scaled="0"/>
              </a:gradFill>
              <a:prstDash val="solid"/>
              <a:miter lim="800000"/>
              <a:headEnd type="none" w="med" len="med"/>
              <a:tailEnd type="none" w="med" len="med"/>
            </a:ln>
            <a:effectLst>
              <a:outerShdw blurRad="127000" sx="102000" sy="102000" algn="ctr" rotWithShape="0">
                <a:srgbClr val="5BD4FF">
                  <a:alpha val="80000"/>
                </a:srgb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cs typeface="+mn-ea"/>
                <a:sym typeface="+mn-lt"/>
              </a:endParaRPr>
            </a:p>
          </p:txBody>
        </p:sp>
        <p:sp>
          <p:nvSpPr>
            <p:cNvPr id="123" name="Line 18"/>
            <p:cNvSpPr>
              <a:spLocks noChangeShapeType="1"/>
            </p:cNvSpPr>
            <p:nvPr/>
          </p:nvSpPr>
          <p:spPr bwMode="auto">
            <a:xfrm flipV="1">
              <a:off x="4845828" y="1969991"/>
              <a:ext cx="677862" cy="4468995"/>
            </a:xfrm>
            <a:prstGeom prst="line">
              <a:avLst/>
            </a:prstGeom>
            <a:noFill/>
            <a:ln w="12700" cap="flat">
              <a:gradFill>
                <a:gsLst>
                  <a:gs pos="0">
                    <a:srgbClr val="05FDFF">
                      <a:alpha val="15000"/>
                    </a:srgbClr>
                  </a:gs>
                  <a:gs pos="36000">
                    <a:srgbClr val="05FDFF"/>
                  </a:gs>
                  <a:gs pos="61000">
                    <a:srgbClr val="5BD4FF"/>
                  </a:gs>
                  <a:gs pos="100000">
                    <a:srgbClr val="05FDFF">
                      <a:alpha val="13000"/>
                    </a:srgbClr>
                  </a:gs>
                </a:gsLst>
                <a:lin ang="0" scaled="0"/>
              </a:gradFill>
              <a:prstDash val="solid"/>
              <a:miter lim="800000"/>
              <a:headEnd type="none" w="med" len="med"/>
              <a:tailEnd type="none" w="med" len="med"/>
            </a:ln>
            <a:effectLst>
              <a:outerShdw blurRad="127000" sx="102000" sy="102000" algn="ctr" rotWithShape="0">
                <a:srgbClr val="5BD4FF">
                  <a:alpha val="80000"/>
                </a:srgbClr>
              </a:out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black"/>
                </a:solidFill>
                <a:effectLst/>
                <a:uLnTx/>
                <a:uFillTx/>
                <a:cs typeface="+mn-ea"/>
                <a:sym typeface="+mn-lt"/>
              </a:endParaRPr>
            </a:p>
          </p:txBody>
        </p:sp>
        <p:grpSp>
          <p:nvGrpSpPr>
            <p:cNvPr id="124" name="组合 123"/>
            <p:cNvGrpSpPr/>
            <p:nvPr/>
          </p:nvGrpSpPr>
          <p:grpSpPr>
            <a:xfrm>
              <a:off x="2698398" y="4781214"/>
              <a:ext cx="2346946" cy="1113997"/>
              <a:chOff x="7989200" y="4026092"/>
              <a:chExt cx="2867959" cy="1361300"/>
            </a:xfrm>
          </p:grpSpPr>
          <p:sp>
            <p:nvSpPr>
              <p:cNvPr id="126" name="Freeform 11"/>
              <p:cNvSpPr/>
              <p:nvPr/>
            </p:nvSpPr>
            <p:spPr bwMode="auto">
              <a:xfrm>
                <a:off x="7989200" y="4026092"/>
                <a:ext cx="2867959" cy="1361300"/>
              </a:xfrm>
              <a:custGeom>
                <a:avLst/>
                <a:gdLst>
                  <a:gd name="T0" fmla="*/ 225 w 411"/>
                  <a:gd name="T1" fmla="*/ 5 h 195"/>
                  <a:gd name="T2" fmla="*/ 401 w 411"/>
                  <a:gd name="T3" fmla="*/ 89 h 195"/>
                  <a:gd name="T4" fmla="*/ 401 w 411"/>
                  <a:gd name="T5" fmla="*/ 107 h 195"/>
                  <a:gd name="T6" fmla="*/ 225 w 411"/>
                  <a:gd name="T7" fmla="*/ 190 h 195"/>
                  <a:gd name="T8" fmla="*/ 186 w 411"/>
                  <a:gd name="T9" fmla="*/ 190 h 195"/>
                  <a:gd name="T10" fmla="*/ 10 w 411"/>
                  <a:gd name="T11" fmla="*/ 107 h 195"/>
                  <a:gd name="T12" fmla="*/ 10 w 411"/>
                  <a:gd name="T13" fmla="*/ 89 h 195"/>
                  <a:gd name="T14" fmla="*/ 186 w 411"/>
                  <a:gd name="T15" fmla="*/ 5 h 195"/>
                  <a:gd name="T16" fmla="*/ 225 w 411"/>
                  <a:gd name="T17" fmla="*/ 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195">
                    <a:moveTo>
                      <a:pt x="225" y="5"/>
                    </a:moveTo>
                    <a:lnTo>
                      <a:pt x="401" y="89"/>
                    </a:lnTo>
                    <a:cubicBezTo>
                      <a:pt x="411" y="94"/>
                      <a:pt x="411" y="102"/>
                      <a:pt x="401" y="107"/>
                    </a:cubicBezTo>
                    <a:lnTo>
                      <a:pt x="225" y="190"/>
                    </a:lnTo>
                    <a:cubicBezTo>
                      <a:pt x="214" y="195"/>
                      <a:pt x="197" y="195"/>
                      <a:pt x="186" y="190"/>
                    </a:cubicBezTo>
                    <a:lnTo>
                      <a:pt x="10" y="107"/>
                    </a:lnTo>
                    <a:cubicBezTo>
                      <a:pt x="0" y="102"/>
                      <a:pt x="0" y="94"/>
                      <a:pt x="10" y="89"/>
                    </a:cubicBezTo>
                    <a:lnTo>
                      <a:pt x="186" y="5"/>
                    </a:lnTo>
                    <a:cubicBezTo>
                      <a:pt x="197" y="0"/>
                      <a:pt x="214" y="0"/>
                      <a:pt x="225" y="5"/>
                    </a:cubicBezTo>
                    <a:close/>
                  </a:path>
                </a:pathLst>
              </a:custGeom>
              <a:gradFill flip="none" rotWithShape="1">
                <a:gsLst>
                  <a:gs pos="76000">
                    <a:srgbClr val="6ED5FF">
                      <a:alpha val="5000"/>
                    </a:srgbClr>
                  </a:gs>
                  <a:gs pos="0">
                    <a:srgbClr val="6ED5FF">
                      <a:alpha val="30000"/>
                    </a:srgbClr>
                  </a:gs>
                  <a:gs pos="54000">
                    <a:srgbClr val="6ED5FF">
                      <a:alpha val="10000"/>
                    </a:srgbClr>
                  </a:gs>
                  <a:gs pos="90000">
                    <a:srgbClr val="6ED5FF">
                      <a:alpha val="10000"/>
                    </a:srgbClr>
                  </a:gs>
                </a:gsLst>
                <a:path path="circle">
                  <a:fillToRect r="100000" b="100000"/>
                </a:path>
                <a:tileRect l="-100000" t="-100000"/>
              </a:gra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7" name="文本框 126"/>
              <p:cNvSpPr txBox="1"/>
              <p:nvPr/>
            </p:nvSpPr>
            <p:spPr>
              <a:xfrm>
                <a:off x="8920100" y="4572371"/>
                <a:ext cx="1167083" cy="394906"/>
              </a:xfrm>
              <a:prstGeom prst="rect">
                <a:avLst/>
              </a:prstGeom>
              <a:noFill/>
            </p:spPr>
            <p:txBody>
              <a:bodyPr wrap="square" lIns="0" tIns="0" rIns="0" bIns="0" rtlCol="0">
                <a:spAutoFit/>
              </a:bodyPr>
              <a:lstStyle>
                <a:defPPr>
                  <a:defRPr lang="zh-CN"/>
                </a:defPPr>
                <a:lvl1pPr>
                  <a:defRPr sz="2800">
                    <a:gradFill flip="none" rotWithShape="1">
                      <a:gsLst>
                        <a:gs pos="50000">
                          <a:srgbClr val="37AFC9"/>
                        </a:gs>
                        <a:gs pos="0">
                          <a:prstClr val="white"/>
                        </a:gs>
                        <a:gs pos="100000">
                          <a:srgbClr val="236F81"/>
                        </a:gs>
                      </a:gsLst>
                      <a:lin ang="5400000" scaled="1"/>
                      <a:tileRect/>
                    </a:gradFill>
                    <a:latin typeface="Mobitale Versalete"/>
                    <a:ea typeface="微软雅黑" panose="020B0503020204020204" pitchFamily="34" charset="-122"/>
                  </a:defRPr>
                </a:lvl1p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2100" b="0" i="0" u="none" strike="noStrike" kern="1200" cap="none" spc="0" normalizeH="0" baseline="0" noProof="0" dirty="0">
                    <a:ln>
                      <a:noFill/>
                    </a:ln>
                    <a:solidFill>
                      <a:srgbClr val="84FFFF"/>
                    </a:solidFill>
                    <a:effectLst/>
                    <a:uLnTx/>
                    <a:uFillTx/>
                    <a:latin typeface="+mn-lt"/>
                    <a:ea typeface="+mn-ea"/>
                    <a:cs typeface="+mn-ea"/>
                    <a:sym typeface="+mn-lt"/>
                  </a:rPr>
                  <a:t>媒体主</a:t>
                </a:r>
              </a:p>
            </p:txBody>
          </p:sp>
        </p:grpSp>
        <p:sp>
          <p:nvSpPr>
            <p:cNvPr id="125" name="矩形 124"/>
            <p:cNvSpPr/>
            <p:nvPr/>
          </p:nvSpPr>
          <p:spPr>
            <a:xfrm>
              <a:off x="3231982" y="5967654"/>
              <a:ext cx="1394934"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2400" b="0" i="0" u="none" strike="noStrike" kern="1200" cap="none" spc="0" normalizeH="0" baseline="0" noProof="0" dirty="0">
                  <a:ln>
                    <a:noFill/>
                  </a:ln>
                  <a:solidFill>
                    <a:srgbClr val="84FFFF"/>
                  </a:solidFill>
                  <a:effectLst>
                    <a:reflection blurRad="6350" stA="55000" endA="300" endPos="45500" dir="5400000" sy="-100000" algn="bl" rotWithShape="0"/>
                  </a:effectLst>
                  <a:uLnTx/>
                  <a:uFillTx/>
                  <a:cs typeface="+mn-ea"/>
                  <a:sym typeface="+mn-lt"/>
                </a:rPr>
                <a:t>DMBaas</a:t>
              </a:r>
            </a:p>
          </p:txBody>
        </p:sp>
      </p:gr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4" decel="100000" fill="hold" nodeType="withEffect">
                                  <p:stCondLst>
                                    <p:cond delay="1000"/>
                                  </p:stCondLst>
                                  <p:childTnLst>
                                    <p:set>
                                      <p:cBhvr>
                                        <p:cTn id="17" dur="1" fill="hold">
                                          <p:stCondLst>
                                            <p:cond delay="0"/>
                                          </p:stCondLst>
                                        </p:cTn>
                                        <p:tgtEl>
                                          <p:spTgt spid="118"/>
                                        </p:tgtEl>
                                        <p:attrNameLst>
                                          <p:attrName>style.visibility</p:attrName>
                                        </p:attrNameLst>
                                      </p:cBhvr>
                                      <p:to>
                                        <p:strVal val="visible"/>
                                      </p:to>
                                    </p:set>
                                    <p:anim calcmode="lin" valueType="num">
                                      <p:cBhvr additive="base">
                                        <p:cTn id="18" dur="1500" fill="hold"/>
                                        <p:tgtEl>
                                          <p:spTgt spid="118"/>
                                        </p:tgtEl>
                                        <p:attrNameLst>
                                          <p:attrName>ppt_x</p:attrName>
                                        </p:attrNameLst>
                                      </p:cBhvr>
                                      <p:tavLst>
                                        <p:tav tm="0">
                                          <p:val>
                                            <p:strVal val="#ppt_x"/>
                                          </p:val>
                                        </p:tav>
                                        <p:tav tm="100000">
                                          <p:val>
                                            <p:strVal val="#ppt_x"/>
                                          </p:val>
                                        </p:tav>
                                      </p:tavLst>
                                    </p:anim>
                                    <p:anim calcmode="lin" valueType="num">
                                      <p:cBhvr additive="base">
                                        <p:cTn id="19" dur="1500" fill="hold"/>
                                        <p:tgtEl>
                                          <p:spTgt spid="118"/>
                                        </p:tgtEl>
                                        <p:attrNameLst>
                                          <p:attrName>ppt_y</p:attrName>
                                        </p:attrNameLst>
                                      </p:cBhvr>
                                      <p:tavLst>
                                        <p:tav tm="0">
                                          <p:val>
                                            <p:strVal val="1+#ppt_h/2"/>
                                          </p:val>
                                        </p:tav>
                                        <p:tav tm="100000">
                                          <p:val>
                                            <p:strVal val="#ppt_y"/>
                                          </p:val>
                                        </p:tav>
                                      </p:tavLst>
                                    </p:anim>
                                  </p:childTnLst>
                                </p:cTn>
                              </p:par>
                            </p:childTnLst>
                          </p:cTn>
                        </p:par>
                        <p:par>
                          <p:cTn id="20" fill="hold">
                            <p:stCondLst>
                              <p:cond delay="0"/>
                            </p:stCondLst>
                            <p:childTnLst>
                              <p:par>
                                <p:cTn id="21" presetID="22" presetClass="entr" presetSubtype="2" fill="hold" nodeType="afterEffect">
                                  <p:stCondLst>
                                    <p:cond delay="0"/>
                                  </p:stCondLst>
                                  <p:childTnLst>
                                    <p:set>
                                      <p:cBhvr>
                                        <p:cTn id="22" dur="1" fill="hold">
                                          <p:stCondLst>
                                            <p:cond delay="0"/>
                                          </p:stCondLst>
                                        </p:cTn>
                                        <p:tgtEl>
                                          <p:spTgt spid="93"/>
                                        </p:tgtEl>
                                        <p:attrNameLst>
                                          <p:attrName>style.visibility</p:attrName>
                                        </p:attrNameLst>
                                      </p:cBhvr>
                                      <p:to>
                                        <p:strVal val="visible"/>
                                      </p:to>
                                    </p:set>
                                    <p:animEffect transition="in" filter="wipe(right)">
                                      <p:cBhvr>
                                        <p:cTn id="23" dur="500"/>
                                        <p:tgtEl>
                                          <p:spTgt spid="93"/>
                                        </p:tgtEl>
                                      </p:cBhvr>
                                    </p:animEffect>
                                  </p:childTnLst>
                                </p:cTn>
                              </p:par>
                            </p:childTnLst>
                          </p:cTn>
                        </p:par>
                        <p:par>
                          <p:cTn id="24" fill="hold">
                            <p:stCondLst>
                              <p:cond delay="500"/>
                            </p:stCondLst>
                            <p:childTnLst>
                              <p:par>
                                <p:cTn id="25" presetID="22" presetClass="entr" presetSubtype="2" fill="hold" nodeType="afterEffect">
                                  <p:stCondLst>
                                    <p:cond delay="0"/>
                                  </p:stCondLst>
                                  <p:childTnLst>
                                    <p:set>
                                      <p:cBhvr>
                                        <p:cTn id="26" dur="1" fill="hold">
                                          <p:stCondLst>
                                            <p:cond delay="0"/>
                                          </p:stCondLst>
                                        </p:cTn>
                                        <p:tgtEl>
                                          <p:spTgt spid="100"/>
                                        </p:tgtEl>
                                        <p:attrNameLst>
                                          <p:attrName>style.visibility</p:attrName>
                                        </p:attrNameLst>
                                      </p:cBhvr>
                                      <p:to>
                                        <p:strVal val="visible"/>
                                      </p:to>
                                    </p:set>
                                    <p:animEffect transition="in" filter="wipe(right)">
                                      <p:cBhvr>
                                        <p:cTn id="27" dur="500"/>
                                        <p:tgtEl>
                                          <p:spTgt spid="100"/>
                                        </p:tgtEl>
                                      </p:cBhvr>
                                    </p:animEffect>
                                  </p:childTnLst>
                                </p:cTn>
                              </p:par>
                            </p:childTnLst>
                          </p:cTn>
                        </p:par>
                        <p:par>
                          <p:cTn id="28" fill="hold">
                            <p:stCondLst>
                              <p:cond delay="1000"/>
                            </p:stCondLst>
                            <p:childTnLst>
                              <p:par>
                                <p:cTn id="29" presetID="22" presetClass="entr" presetSubtype="8" fill="hold" nodeType="afterEffect">
                                  <p:stCondLst>
                                    <p:cond delay="0"/>
                                  </p:stCondLst>
                                  <p:childTnLst>
                                    <p:set>
                                      <p:cBhvr>
                                        <p:cTn id="30" dur="1" fill="hold">
                                          <p:stCondLst>
                                            <p:cond delay="0"/>
                                          </p:stCondLst>
                                        </p:cTn>
                                        <p:tgtEl>
                                          <p:spTgt spid="85"/>
                                        </p:tgtEl>
                                        <p:attrNameLst>
                                          <p:attrName>style.visibility</p:attrName>
                                        </p:attrNameLst>
                                      </p:cBhvr>
                                      <p:to>
                                        <p:strVal val="visible"/>
                                      </p:to>
                                    </p:set>
                                    <p:animEffect transition="in" filter="wipe(left)">
                                      <p:cBhvr>
                                        <p:cTn id="31" dur="500"/>
                                        <p:tgtEl>
                                          <p:spTgt spid="85"/>
                                        </p:tgtEl>
                                      </p:cBhvr>
                                    </p:animEffect>
                                  </p:childTnLst>
                                </p:cTn>
                              </p:par>
                            </p:childTnLst>
                          </p:cTn>
                        </p:par>
                        <p:par>
                          <p:cTn id="32" fill="hold">
                            <p:stCondLst>
                              <p:cond delay="1500"/>
                            </p:stCondLst>
                            <p:childTnLst>
                              <p:par>
                                <p:cTn id="33" presetID="22" presetClass="entr" presetSubtype="8" fill="hold" nodeType="afterEffect">
                                  <p:stCondLst>
                                    <p:cond delay="0"/>
                                  </p:stCondLst>
                                  <p:childTnLst>
                                    <p:set>
                                      <p:cBhvr>
                                        <p:cTn id="34" dur="1" fill="hold">
                                          <p:stCondLst>
                                            <p:cond delay="0"/>
                                          </p:stCondLst>
                                        </p:cTn>
                                        <p:tgtEl>
                                          <p:spTgt spid="110"/>
                                        </p:tgtEl>
                                        <p:attrNameLst>
                                          <p:attrName>style.visibility</p:attrName>
                                        </p:attrNameLst>
                                      </p:cBhvr>
                                      <p:to>
                                        <p:strVal val="visible"/>
                                      </p:to>
                                    </p:set>
                                    <p:animEffect transition="in" filter="wipe(left)">
                                      <p:cBhvr>
                                        <p:cTn id="35" dur="500"/>
                                        <p:tgtEl>
                                          <p:spTgt spid="110"/>
                                        </p:tgtEl>
                                      </p:cBhvr>
                                    </p:animEffect>
                                  </p:childTnLst>
                                </p:cTn>
                              </p:par>
                            </p:childTnLst>
                          </p:cTn>
                        </p:par>
                        <p:par>
                          <p:cTn id="36" fill="hold">
                            <p:stCondLst>
                              <p:cond delay="2000"/>
                            </p:stCondLst>
                            <p:childTnLst>
                              <p:par>
                                <p:cTn id="37" presetID="2" presetClass="entr" presetSubtype="2" fill="hold" nodeType="afterEffect">
                                  <p:stCondLst>
                                    <p:cond delay="0"/>
                                  </p:stCondLst>
                                  <p:childTnLst>
                                    <p:set>
                                      <p:cBhvr>
                                        <p:cTn id="38" dur="1" fill="hold">
                                          <p:stCondLst>
                                            <p:cond delay="0"/>
                                          </p:stCondLst>
                                        </p:cTn>
                                        <p:tgtEl>
                                          <p:spTgt spid="4"/>
                                        </p:tgtEl>
                                        <p:attrNameLst>
                                          <p:attrName>style.visibility</p:attrName>
                                        </p:attrNameLst>
                                      </p:cBhvr>
                                      <p:to>
                                        <p:strVal val="visible"/>
                                      </p:to>
                                    </p:set>
                                    <p:anim calcmode="lin" valueType="num">
                                      <p:cBhvr additive="base">
                                        <p:cTn id="39" dur="500" fill="hold"/>
                                        <p:tgtEl>
                                          <p:spTgt spid="4"/>
                                        </p:tgtEl>
                                        <p:attrNameLst>
                                          <p:attrName>ppt_x</p:attrName>
                                        </p:attrNameLst>
                                      </p:cBhvr>
                                      <p:tavLst>
                                        <p:tav tm="0">
                                          <p:val>
                                            <p:strVal val="1+#ppt_w/2"/>
                                          </p:val>
                                        </p:tav>
                                        <p:tav tm="100000">
                                          <p:val>
                                            <p:strVal val="#ppt_x"/>
                                          </p:val>
                                        </p:tav>
                                      </p:tavLst>
                                    </p:anim>
                                    <p:anim calcmode="lin" valueType="num">
                                      <p:cBhvr additive="base">
                                        <p:cTn id="40" dur="500" fill="hold"/>
                                        <p:tgtEl>
                                          <p:spTgt spid="4"/>
                                        </p:tgtEl>
                                        <p:attrNameLst>
                                          <p:attrName>ppt_y</p:attrName>
                                        </p:attrNameLst>
                                      </p:cBhvr>
                                      <p:tavLst>
                                        <p:tav tm="0">
                                          <p:val>
                                            <p:strVal val="#ppt_y"/>
                                          </p:val>
                                        </p:tav>
                                        <p:tav tm="100000">
                                          <p:val>
                                            <p:strVal val="#ppt_y"/>
                                          </p:val>
                                        </p:tav>
                                      </p:tavLst>
                                    </p:anim>
                                  </p:childTnLst>
                                </p:cTn>
                              </p:par>
                            </p:childTnLst>
                          </p:cTn>
                        </p:par>
                        <p:par>
                          <p:cTn id="41" fill="hold">
                            <p:stCondLst>
                              <p:cond delay="2500"/>
                            </p:stCondLst>
                            <p:childTnLst>
                              <p:par>
                                <p:cTn id="42" presetID="2" presetClass="entr" presetSubtype="2" fill="hold" nodeType="afterEffect">
                                  <p:stCondLst>
                                    <p:cond delay="0"/>
                                  </p:stCondLst>
                                  <p:childTnLst>
                                    <p:set>
                                      <p:cBhvr>
                                        <p:cTn id="43" dur="1" fill="hold">
                                          <p:stCondLst>
                                            <p:cond delay="0"/>
                                          </p:stCondLst>
                                        </p:cTn>
                                        <p:tgtEl>
                                          <p:spTgt spid="47"/>
                                        </p:tgtEl>
                                        <p:attrNameLst>
                                          <p:attrName>style.visibility</p:attrName>
                                        </p:attrNameLst>
                                      </p:cBhvr>
                                      <p:to>
                                        <p:strVal val="visible"/>
                                      </p:to>
                                    </p:set>
                                    <p:anim calcmode="lin" valueType="num">
                                      <p:cBhvr additive="base">
                                        <p:cTn id="44" dur="500" fill="hold"/>
                                        <p:tgtEl>
                                          <p:spTgt spid="47"/>
                                        </p:tgtEl>
                                        <p:attrNameLst>
                                          <p:attrName>ppt_x</p:attrName>
                                        </p:attrNameLst>
                                      </p:cBhvr>
                                      <p:tavLst>
                                        <p:tav tm="0">
                                          <p:val>
                                            <p:strVal val="1+#ppt_w/2"/>
                                          </p:val>
                                        </p:tav>
                                        <p:tav tm="100000">
                                          <p:val>
                                            <p:strVal val="#ppt_x"/>
                                          </p:val>
                                        </p:tav>
                                      </p:tavLst>
                                    </p:anim>
                                    <p:anim calcmode="lin" valueType="num">
                                      <p:cBhvr additive="base">
                                        <p:cTn id="45" dur="500" fill="hold"/>
                                        <p:tgtEl>
                                          <p:spTgt spid="47"/>
                                        </p:tgtEl>
                                        <p:attrNameLst>
                                          <p:attrName>ppt_y</p:attrName>
                                        </p:attrNameLst>
                                      </p:cBhvr>
                                      <p:tavLst>
                                        <p:tav tm="0">
                                          <p:val>
                                            <p:strVal val="#ppt_y"/>
                                          </p:val>
                                        </p:tav>
                                        <p:tav tm="100000">
                                          <p:val>
                                            <p:strVal val="#ppt_y"/>
                                          </p:val>
                                        </p:tav>
                                      </p:tavLst>
                                    </p:anim>
                                  </p:childTnLst>
                                </p:cTn>
                              </p:par>
                            </p:childTnLst>
                          </p:cTn>
                        </p:par>
                        <p:par>
                          <p:cTn id="46" fill="hold">
                            <p:stCondLst>
                              <p:cond delay="3000"/>
                            </p:stCondLst>
                            <p:childTnLst>
                              <p:par>
                                <p:cTn id="47" presetID="2" presetClass="entr" presetSubtype="2" fill="hold" nodeType="afterEffect">
                                  <p:stCondLst>
                                    <p:cond delay="0"/>
                                  </p:stCondLst>
                                  <p:childTnLst>
                                    <p:set>
                                      <p:cBhvr>
                                        <p:cTn id="48" dur="1" fill="hold">
                                          <p:stCondLst>
                                            <p:cond delay="0"/>
                                          </p:stCondLst>
                                        </p:cTn>
                                        <p:tgtEl>
                                          <p:spTgt spid="67"/>
                                        </p:tgtEl>
                                        <p:attrNameLst>
                                          <p:attrName>style.visibility</p:attrName>
                                        </p:attrNameLst>
                                      </p:cBhvr>
                                      <p:to>
                                        <p:strVal val="visible"/>
                                      </p:to>
                                    </p:set>
                                    <p:anim calcmode="lin" valueType="num">
                                      <p:cBhvr additive="base">
                                        <p:cTn id="49" dur="500" fill="hold"/>
                                        <p:tgtEl>
                                          <p:spTgt spid="67"/>
                                        </p:tgtEl>
                                        <p:attrNameLst>
                                          <p:attrName>ppt_x</p:attrName>
                                        </p:attrNameLst>
                                      </p:cBhvr>
                                      <p:tavLst>
                                        <p:tav tm="0">
                                          <p:val>
                                            <p:strVal val="1+#ppt_w/2"/>
                                          </p:val>
                                        </p:tav>
                                        <p:tav tm="100000">
                                          <p:val>
                                            <p:strVal val="#ppt_x"/>
                                          </p:val>
                                        </p:tav>
                                      </p:tavLst>
                                    </p:anim>
                                    <p:anim calcmode="lin" valueType="num">
                                      <p:cBhvr additive="base">
                                        <p:cTn id="50" dur="500" fill="hold"/>
                                        <p:tgtEl>
                                          <p:spTgt spid="67"/>
                                        </p:tgtEl>
                                        <p:attrNameLst>
                                          <p:attrName>ppt_y</p:attrName>
                                        </p:attrNameLst>
                                      </p:cBhvr>
                                      <p:tavLst>
                                        <p:tav tm="0">
                                          <p:val>
                                            <p:strVal val="#ppt_y"/>
                                          </p:val>
                                        </p:tav>
                                        <p:tav tm="100000">
                                          <p:val>
                                            <p:strVal val="#ppt_y"/>
                                          </p:val>
                                        </p:tav>
                                      </p:tavLst>
                                    </p:anim>
                                  </p:childTnLst>
                                </p:cTn>
                              </p:par>
                            </p:childTnLst>
                          </p:cTn>
                        </p:par>
                        <p:par>
                          <p:cTn id="51" fill="hold">
                            <p:stCondLst>
                              <p:cond delay="3500"/>
                            </p:stCondLst>
                            <p:childTnLst>
                              <p:par>
                                <p:cTn id="52" presetID="2" presetClass="entr" presetSubtype="2" fill="hold" nodeType="afterEffect">
                                  <p:stCondLst>
                                    <p:cond delay="0"/>
                                  </p:stCondLst>
                                  <p:childTnLst>
                                    <p:set>
                                      <p:cBhvr>
                                        <p:cTn id="53" dur="1" fill="hold">
                                          <p:stCondLst>
                                            <p:cond delay="0"/>
                                          </p:stCondLst>
                                        </p:cTn>
                                        <p:tgtEl>
                                          <p:spTgt spid="77"/>
                                        </p:tgtEl>
                                        <p:attrNameLst>
                                          <p:attrName>style.visibility</p:attrName>
                                        </p:attrNameLst>
                                      </p:cBhvr>
                                      <p:to>
                                        <p:strVal val="visible"/>
                                      </p:to>
                                    </p:set>
                                    <p:anim calcmode="lin" valueType="num">
                                      <p:cBhvr additive="base">
                                        <p:cTn id="54" dur="500" fill="hold"/>
                                        <p:tgtEl>
                                          <p:spTgt spid="77"/>
                                        </p:tgtEl>
                                        <p:attrNameLst>
                                          <p:attrName>ppt_x</p:attrName>
                                        </p:attrNameLst>
                                      </p:cBhvr>
                                      <p:tavLst>
                                        <p:tav tm="0">
                                          <p:val>
                                            <p:strVal val="1+#ppt_w/2"/>
                                          </p:val>
                                        </p:tav>
                                        <p:tav tm="100000">
                                          <p:val>
                                            <p:strVal val="#ppt_x"/>
                                          </p:val>
                                        </p:tav>
                                      </p:tavLst>
                                    </p:anim>
                                    <p:anim calcmode="lin" valueType="num">
                                      <p:cBhvr additive="base">
                                        <p:cTn id="55" dur="500" fill="hold"/>
                                        <p:tgtEl>
                                          <p:spTgt spid="7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未来发展</a:t>
            </a:r>
          </a:p>
        </p:txBody>
      </p:sp>
      <p:pic>
        <p:nvPicPr>
          <p:cNvPr id="5" name="4"/>
          <p:cNvPicPr>
            <a:picLocks noChangeAspect="1"/>
          </p:cNvPicPr>
          <p:nvPr/>
        </p:nvPicPr>
        <p:blipFill rotWithShape="1">
          <a:blip r:embed="rId2" cstate="screen"/>
          <a:srcRect/>
          <a:stretch>
            <a:fillRect/>
          </a:stretch>
        </p:blipFill>
        <p:spPr>
          <a:xfrm>
            <a:off x="110632" y="95800"/>
            <a:ext cx="1108567" cy="1488355"/>
          </a:xfrm>
          <a:prstGeom prst="rect">
            <a:avLst/>
          </a:prstGeom>
        </p:spPr>
      </p:pic>
      <p:pic>
        <p:nvPicPr>
          <p:cNvPr id="16" name="图片 15"/>
          <p:cNvPicPr>
            <a:picLocks noChangeAspect="1"/>
          </p:cNvPicPr>
          <p:nvPr/>
        </p:nvPicPr>
        <p:blipFill>
          <a:blip r:embed="rId3"/>
          <a:stretch>
            <a:fillRect/>
          </a:stretch>
        </p:blipFill>
        <p:spPr>
          <a:xfrm>
            <a:off x="6096000" y="57021"/>
            <a:ext cx="6096000" cy="6800979"/>
          </a:xfrm>
          <a:prstGeom prst="rect">
            <a:avLst/>
          </a:prstGeom>
        </p:spPr>
      </p:pic>
      <p:sp>
        <p:nvSpPr>
          <p:cNvPr id="17" name="Rectangle 14"/>
          <p:cNvSpPr/>
          <p:nvPr/>
        </p:nvSpPr>
        <p:spPr>
          <a:xfrm>
            <a:off x="1013892" y="1868262"/>
            <a:ext cx="3379878" cy="1077218"/>
          </a:xfrm>
          <a:prstGeom prst="rect">
            <a:avLst/>
          </a:prstGeom>
        </p:spPr>
        <p:txBody>
          <a:bodyPr wrap="square">
            <a:spAutoFit/>
          </a:bodyPr>
          <a:lstStyle/>
          <a:p>
            <a:r>
              <a:rPr lang="en-US" sz="3200" b="1" dirty="0">
                <a:solidFill>
                  <a:srgbClr val="84FFFF"/>
                </a:solidFill>
                <a:cs typeface="+mn-ea"/>
                <a:sym typeface="+mn-lt"/>
              </a:rPr>
              <a:t>Picture on slide </a:t>
            </a:r>
          </a:p>
          <a:p>
            <a:r>
              <a:rPr lang="en-US" sz="3200" b="1" dirty="0">
                <a:solidFill>
                  <a:srgbClr val="84FFFF"/>
                </a:solidFill>
                <a:cs typeface="+mn-ea"/>
                <a:sym typeface="+mn-lt"/>
              </a:rPr>
              <a:t>map</a:t>
            </a:r>
          </a:p>
        </p:txBody>
      </p:sp>
      <p:sp>
        <p:nvSpPr>
          <p:cNvPr id="18" name="Rectangle 35"/>
          <p:cNvSpPr/>
          <p:nvPr/>
        </p:nvSpPr>
        <p:spPr>
          <a:xfrm>
            <a:off x="1057367" y="3672828"/>
            <a:ext cx="4778283" cy="1200329"/>
          </a:xfrm>
          <a:prstGeom prst="rect">
            <a:avLst/>
          </a:prstGeom>
        </p:spPr>
        <p:txBody>
          <a:bodyPr wrap="square">
            <a:spAutoFit/>
          </a:bodyPr>
          <a:lstStyle/>
          <a:p>
            <a:pPr>
              <a:lnSpc>
                <a:spcPct val="120000"/>
              </a:lnSpc>
            </a:pPr>
            <a:r>
              <a:rPr lang="zh-CN" altLang="en-US" sz="1200" dirty="0">
                <a:solidFill>
                  <a:schemeClr val="bg1">
                    <a:lumMod val="85000"/>
                  </a:schemeClr>
                </a:solidFill>
                <a:cs typeface="+mn-ea"/>
                <a:sym typeface="+mn-lt"/>
              </a:rPr>
              <a:t>请替换文字内容，修改文字内容，也可以直接复制你的内容到此。请替换文字内容，修改文字内容，也可以直接复制你的内容到此请替换文字内容请替换文字内容，修改文字内容，也可以直接复制你的内容到此。请替换文字内容，修改文字内容，也可以直接复制你的内容到此请替换文字内容</a:t>
            </a:r>
          </a:p>
        </p:txBody>
      </p:sp>
      <p:sp>
        <p:nvSpPr>
          <p:cNvPr id="19" name="TextBox 37"/>
          <p:cNvSpPr txBox="1"/>
          <p:nvPr/>
        </p:nvSpPr>
        <p:spPr>
          <a:xfrm>
            <a:off x="1038692" y="2851666"/>
            <a:ext cx="1406154" cy="769441"/>
          </a:xfrm>
          <a:prstGeom prst="rect">
            <a:avLst/>
          </a:prstGeom>
          <a:noFill/>
          <a:effectLst>
            <a:outerShdw blurRad="127000" dist="63500" dir="5400000" algn="t" rotWithShape="0">
              <a:sysClr val="window" lastClr="FFFFFF">
                <a:lumMod val="50000"/>
                <a:alpha val="40000"/>
              </a:sysClr>
            </a:outerShdw>
          </a:effectLst>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en-US" sz="4400" b="1" i="0" u="none" strike="noStrike" kern="0" cap="none" spc="0" normalizeH="0" baseline="0" noProof="0" dirty="0">
                <a:ln>
                  <a:noFill/>
                </a:ln>
                <a:solidFill>
                  <a:srgbClr val="84FFFF"/>
                </a:solidFill>
                <a:effectLst/>
                <a:uLnTx/>
                <a:uFillTx/>
                <a:cs typeface="+mn-ea"/>
                <a:sym typeface="+mn-lt"/>
              </a:rPr>
              <a:t>75%</a:t>
            </a:r>
            <a:endParaRPr kumimoji="0" lang="id-ID" sz="4400" b="1" i="0" u="none" strike="noStrike" kern="0" cap="none" spc="0" normalizeH="0" baseline="0" noProof="0" dirty="0">
              <a:ln>
                <a:noFill/>
              </a:ln>
              <a:solidFill>
                <a:srgbClr val="84FFFF"/>
              </a:solidFill>
              <a:effectLst/>
              <a:uLnTx/>
              <a:uFillTx/>
              <a:cs typeface="+mn-ea"/>
              <a:sym typeface="+mn-lt"/>
            </a:endParaRPr>
          </a:p>
        </p:txBody>
      </p:sp>
      <p:grpSp>
        <p:nvGrpSpPr>
          <p:cNvPr id="20" name="Group 19"/>
          <p:cNvGrpSpPr/>
          <p:nvPr/>
        </p:nvGrpSpPr>
        <p:grpSpPr>
          <a:xfrm>
            <a:off x="1077615" y="5194887"/>
            <a:ext cx="625922" cy="625921"/>
            <a:chOff x="6867748" y="4344083"/>
            <a:chExt cx="966790" cy="966790"/>
          </a:xfrm>
        </p:grpSpPr>
        <p:grpSp>
          <p:nvGrpSpPr>
            <p:cNvPr id="21" name="Group 32"/>
            <p:cNvGrpSpPr/>
            <p:nvPr/>
          </p:nvGrpSpPr>
          <p:grpSpPr>
            <a:xfrm>
              <a:off x="6867748" y="4344083"/>
              <a:ext cx="966790" cy="966790"/>
              <a:chOff x="4126706" y="2563414"/>
              <a:chExt cx="578645" cy="578646"/>
            </a:xfrm>
          </p:grpSpPr>
          <p:sp>
            <p:nvSpPr>
              <p:cNvPr id="23" name="Oval 35"/>
              <p:cNvSpPr/>
              <p:nvPr/>
            </p:nvSpPr>
            <p:spPr>
              <a:xfrm>
                <a:off x="4126706" y="2563416"/>
                <a:ext cx="578644" cy="578644"/>
              </a:xfrm>
              <a:prstGeom prst="ellipse">
                <a:avLst/>
              </a:prstGeom>
              <a:noFill/>
              <a:ln w="38100" cap="flat" cmpd="sng" algn="ctr">
                <a:solidFill>
                  <a:sysClr val="window" lastClr="FFFFFF">
                    <a:lumMod val="7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d-ID" sz="1200" b="0" i="0" u="none" strike="noStrike" kern="0" cap="none" spc="0" normalizeH="0" baseline="0" noProof="0">
                  <a:ln>
                    <a:noFill/>
                  </a:ln>
                  <a:solidFill>
                    <a:schemeClr val="bg1"/>
                  </a:solidFill>
                  <a:effectLst/>
                  <a:uLnTx/>
                  <a:uFillTx/>
                  <a:cs typeface="+mn-ea"/>
                  <a:sym typeface="+mn-lt"/>
                </a:endParaRPr>
              </a:p>
            </p:txBody>
          </p:sp>
          <p:sp>
            <p:nvSpPr>
              <p:cNvPr id="24" name="Arc 36"/>
              <p:cNvSpPr/>
              <p:nvPr/>
            </p:nvSpPr>
            <p:spPr>
              <a:xfrm>
                <a:off x="4126707" y="2563414"/>
                <a:ext cx="578644" cy="578644"/>
              </a:xfrm>
              <a:prstGeom prst="arc">
                <a:avLst>
                  <a:gd name="adj1" fmla="val 7215818"/>
                  <a:gd name="adj2" fmla="val 16108834"/>
                </a:avLst>
              </a:prstGeom>
              <a:noFill/>
              <a:ln w="38100" cap="rnd" cmpd="sng" algn="ctr">
                <a:solidFill>
                  <a:srgbClr val="8AFEF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d-ID" sz="1200" b="0" i="0" u="none" strike="noStrike" kern="0" cap="none" spc="0" normalizeH="0" baseline="0" noProof="0">
                  <a:ln>
                    <a:noFill/>
                  </a:ln>
                  <a:solidFill>
                    <a:schemeClr val="bg1"/>
                  </a:solidFill>
                  <a:effectLst/>
                  <a:uLnTx/>
                  <a:uFillTx/>
                  <a:cs typeface="+mn-ea"/>
                  <a:sym typeface="+mn-lt"/>
                </a:endParaRPr>
              </a:p>
            </p:txBody>
          </p:sp>
        </p:grpSp>
        <p:sp>
          <p:nvSpPr>
            <p:cNvPr id="22" name="TextBox 33"/>
            <p:cNvSpPr txBox="1"/>
            <p:nvPr/>
          </p:nvSpPr>
          <p:spPr>
            <a:xfrm>
              <a:off x="7000545" y="4627421"/>
              <a:ext cx="701197" cy="427849"/>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200" b="0" i="0" u="none" strike="noStrike" kern="0" cap="none" spc="0" normalizeH="0" baseline="0" noProof="0">
                  <a:ln>
                    <a:noFill/>
                  </a:ln>
                  <a:solidFill>
                    <a:schemeClr val="bg1"/>
                  </a:solidFill>
                  <a:effectLst/>
                  <a:uLnTx/>
                  <a:uFillTx/>
                  <a:cs typeface="+mn-ea"/>
                  <a:sym typeface="+mn-lt"/>
                </a:rPr>
                <a:t>125</a:t>
              </a:r>
              <a:endParaRPr kumimoji="0" lang="id-ID" sz="1200" b="0" i="0" u="none" strike="noStrike" kern="0" cap="none" spc="0" normalizeH="0" baseline="0" noProof="0">
                <a:ln>
                  <a:noFill/>
                </a:ln>
                <a:solidFill>
                  <a:schemeClr val="bg1"/>
                </a:solidFill>
                <a:effectLst/>
                <a:uLnTx/>
                <a:uFillTx/>
                <a:cs typeface="+mn-ea"/>
                <a:sym typeface="+mn-lt"/>
              </a:endParaRPr>
            </a:p>
          </p:txBody>
        </p:sp>
      </p:grpSp>
      <p:grpSp>
        <p:nvGrpSpPr>
          <p:cNvPr id="25" name="Group 38"/>
          <p:cNvGrpSpPr/>
          <p:nvPr/>
        </p:nvGrpSpPr>
        <p:grpSpPr>
          <a:xfrm>
            <a:off x="1825657" y="5148405"/>
            <a:ext cx="1469993" cy="972795"/>
            <a:chOff x="5339330" y="2407195"/>
            <a:chExt cx="1930798" cy="972795"/>
          </a:xfrm>
        </p:grpSpPr>
        <p:sp>
          <p:nvSpPr>
            <p:cNvPr id="26" name="TextBox 39"/>
            <p:cNvSpPr txBox="1"/>
            <p:nvPr/>
          </p:nvSpPr>
          <p:spPr>
            <a:xfrm flipH="1">
              <a:off x="5339331" y="2407195"/>
              <a:ext cx="1314424" cy="307777"/>
            </a:xfrm>
            <a:prstGeom prst="rect">
              <a:avLst/>
            </a:prstGeom>
            <a:noFill/>
          </p:spPr>
          <p:txBody>
            <a:bodyPr wrap="none" rtlCol="0">
              <a:spAutoFit/>
            </a:bodyPr>
            <a:lstStyle/>
            <a:p>
              <a:r>
                <a:rPr lang="en-US" sz="1400">
                  <a:solidFill>
                    <a:schemeClr val="bg1">
                      <a:lumMod val="85000"/>
                    </a:schemeClr>
                  </a:solidFill>
                  <a:cs typeface="+mn-ea"/>
                  <a:sym typeface="+mn-lt"/>
                </a:rPr>
                <a:t>Date One</a:t>
              </a:r>
              <a:endParaRPr lang="id-ID" sz="1400">
                <a:solidFill>
                  <a:schemeClr val="bg1">
                    <a:lumMod val="85000"/>
                  </a:schemeClr>
                </a:solidFill>
                <a:cs typeface="+mn-ea"/>
                <a:sym typeface="+mn-lt"/>
              </a:endParaRPr>
            </a:p>
          </p:txBody>
        </p:sp>
        <p:sp>
          <p:nvSpPr>
            <p:cNvPr id="27" name="TextBox 40"/>
            <p:cNvSpPr txBox="1"/>
            <p:nvPr/>
          </p:nvSpPr>
          <p:spPr>
            <a:xfrm flipH="1">
              <a:off x="5339330" y="2664409"/>
              <a:ext cx="1930798" cy="715581"/>
            </a:xfrm>
            <a:prstGeom prst="rect">
              <a:avLst/>
            </a:prstGeom>
            <a:noFill/>
          </p:spPr>
          <p:txBody>
            <a:bodyPr wrap="square" rtlCol="0">
              <a:spAutoFit/>
            </a:bodyPr>
            <a:lstStyle/>
            <a:p>
              <a:pPr>
                <a:lnSpc>
                  <a:spcPct val="150000"/>
                </a:lnSpc>
              </a:pPr>
              <a:r>
                <a:rPr lang="zh-CN" altLang="en-US" sz="900" dirty="0">
                  <a:solidFill>
                    <a:schemeClr val="bg1">
                      <a:lumMod val="85000"/>
                    </a:schemeClr>
                  </a:solidFill>
                  <a:cs typeface="+mn-ea"/>
                  <a:sym typeface="+mn-lt"/>
                </a:rPr>
                <a:t>请替换文字内容，修改文字内容，也可以直接复制你的内容到此。</a:t>
              </a:r>
            </a:p>
          </p:txBody>
        </p:sp>
      </p:grpSp>
      <p:grpSp>
        <p:nvGrpSpPr>
          <p:cNvPr id="28" name="Group 20"/>
          <p:cNvGrpSpPr/>
          <p:nvPr/>
        </p:nvGrpSpPr>
        <p:grpSpPr>
          <a:xfrm>
            <a:off x="3529895" y="5194887"/>
            <a:ext cx="625922" cy="625918"/>
            <a:chOff x="8453436" y="4344083"/>
            <a:chExt cx="966790" cy="966786"/>
          </a:xfrm>
        </p:grpSpPr>
        <p:grpSp>
          <p:nvGrpSpPr>
            <p:cNvPr id="29" name="Group 27"/>
            <p:cNvGrpSpPr/>
            <p:nvPr/>
          </p:nvGrpSpPr>
          <p:grpSpPr>
            <a:xfrm>
              <a:off x="8453436" y="4344083"/>
              <a:ext cx="966790" cy="966786"/>
              <a:chOff x="4126706" y="2563416"/>
              <a:chExt cx="578645" cy="578644"/>
            </a:xfrm>
          </p:grpSpPr>
          <p:sp>
            <p:nvSpPr>
              <p:cNvPr id="31" name="Oval 30"/>
              <p:cNvSpPr/>
              <p:nvPr/>
            </p:nvSpPr>
            <p:spPr>
              <a:xfrm>
                <a:off x="4126706" y="2563416"/>
                <a:ext cx="578644" cy="578644"/>
              </a:xfrm>
              <a:prstGeom prst="ellipse">
                <a:avLst/>
              </a:prstGeom>
              <a:noFill/>
              <a:ln w="38100" cap="flat" cmpd="sng" algn="ctr">
                <a:solidFill>
                  <a:sysClr val="window" lastClr="FFFFFF">
                    <a:lumMod val="7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d-ID" sz="1200" b="0" i="0" u="none" strike="noStrike" kern="0" cap="none" spc="0" normalizeH="0" baseline="0" noProof="0">
                  <a:ln>
                    <a:noFill/>
                  </a:ln>
                  <a:solidFill>
                    <a:schemeClr val="bg1"/>
                  </a:solidFill>
                  <a:effectLst/>
                  <a:uLnTx/>
                  <a:uFillTx/>
                  <a:cs typeface="+mn-ea"/>
                  <a:sym typeface="+mn-lt"/>
                </a:endParaRPr>
              </a:p>
            </p:txBody>
          </p:sp>
          <p:sp>
            <p:nvSpPr>
              <p:cNvPr id="32" name="Arc 31"/>
              <p:cNvSpPr/>
              <p:nvPr/>
            </p:nvSpPr>
            <p:spPr>
              <a:xfrm>
                <a:off x="4126707" y="2563416"/>
                <a:ext cx="578644" cy="578644"/>
              </a:xfrm>
              <a:prstGeom prst="arc">
                <a:avLst>
                  <a:gd name="adj1" fmla="val 3160794"/>
                  <a:gd name="adj2" fmla="val 16108834"/>
                </a:avLst>
              </a:prstGeom>
              <a:noFill/>
              <a:ln w="38100" cap="rnd" cmpd="sng" algn="ctr">
                <a:solidFill>
                  <a:srgbClr val="8AFEF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id-ID" sz="1200" b="0" i="0" u="none" strike="noStrike" kern="0" cap="none" spc="0" normalizeH="0" baseline="0" noProof="0">
                  <a:ln>
                    <a:noFill/>
                  </a:ln>
                  <a:solidFill>
                    <a:schemeClr val="bg1"/>
                  </a:solidFill>
                  <a:effectLst/>
                  <a:uLnTx/>
                  <a:uFillTx/>
                  <a:cs typeface="+mn-ea"/>
                  <a:sym typeface="+mn-lt"/>
                </a:endParaRPr>
              </a:p>
            </p:txBody>
          </p:sp>
        </p:grpSp>
        <p:sp>
          <p:nvSpPr>
            <p:cNvPr id="30" name="TextBox 28"/>
            <p:cNvSpPr txBox="1"/>
            <p:nvPr/>
          </p:nvSpPr>
          <p:spPr>
            <a:xfrm>
              <a:off x="8586233" y="4627421"/>
              <a:ext cx="701197" cy="427850"/>
            </a:xfrm>
            <a:prstGeom prst="rect">
              <a:avLst/>
            </a:prstGeom>
            <a:noFill/>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200" b="0" i="0" u="none" strike="noStrike" kern="0" cap="none" spc="0" normalizeH="0" baseline="0" noProof="0">
                  <a:ln>
                    <a:noFill/>
                  </a:ln>
                  <a:solidFill>
                    <a:schemeClr val="bg1"/>
                  </a:solidFill>
                  <a:effectLst/>
                  <a:uLnTx/>
                  <a:uFillTx/>
                  <a:cs typeface="+mn-ea"/>
                  <a:sym typeface="+mn-lt"/>
                </a:rPr>
                <a:t>210</a:t>
              </a:r>
              <a:endParaRPr kumimoji="0" lang="id-ID" sz="1200" b="0" i="0" u="none" strike="noStrike" kern="0" cap="none" spc="0" normalizeH="0" baseline="0" noProof="0">
                <a:ln>
                  <a:noFill/>
                </a:ln>
                <a:solidFill>
                  <a:schemeClr val="bg1"/>
                </a:solidFill>
                <a:effectLst/>
                <a:uLnTx/>
                <a:uFillTx/>
                <a:cs typeface="+mn-ea"/>
                <a:sym typeface="+mn-lt"/>
              </a:endParaRPr>
            </a:p>
          </p:txBody>
        </p:sp>
      </p:grpSp>
      <p:grpSp>
        <p:nvGrpSpPr>
          <p:cNvPr id="33" name="Group 41"/>
          <p:cNvGrpSpPr/>
          <p:nvPr/>
        </p:nvGrpSpPr>
        <p:grpSpPr>
          <a:xfrm>
            <a:off x="4266871" y="5148407"/>
            <a:ext cx="1469993" cy="972795"/>
            <a:chOff x="5339330" y="2407195"/>
            <a:chExt cx="1930798" cy="972795"/>
          </a:xfrm>
        </p:grpSpPr>
        <p:sp>
          <p:nvSpPr>
            <p:cNvPr id="34" name="TextBox 42"/>
            <p:cNvSpPr txBox="1"/>
            <p:nvPr/>
          </p:nvSpPr>
          <p:spPr>
            <a:xfrm flipH="1">
              <a:off x="5339331" y="2407195"/>
              <a:ext cx="1297580" cy="307777"/>
            </a:xfrm>
            <a:prstGeom prst="rect">
              <a:avLst/>
            </a:prstGeom>
            <a:noFill/>
          </p:spPr>
          <p:txBody>
            <a:bodyPr wrap="none" rtlCol="0">
              <a:spAutoFit/>
            </a:bodyPr>
            <a:lstStyle/>
            <a:p>
              <a:r>
                <a:rPr lang="en-US" sz="1400">
                  <a:solidFill>
                    <a:schemeClr val="bg1">
                      <a:lumMod val="85000"/>
                    </a:schemeClr>
                  </a:solidFill>
                  <a:cs typeface="+mn-ea"/>
                  <a:sym typeface="+mn-lt"/>
                </a:rPr>
                <a:t>Date Two</a:t>
              </a:r>
              <a:endParaRPr lang="id-ID" sz="1400">
                <a:solidFill>
                  <a:schemeClr val="bg1">
                    <a:lumMod val="85000"/>
                  </a:schemeClr>
                </a:solidFill>
                <a:cs typeface="+mn-ea"/>
                <a:sym typeface="+mn-lt"/>
              </a:endParaRPr>
            </a:p>
          </p:txBody>
        </p:sp>
        <p:sp>
          <p:nvSpPr>
            <p:cNvPr id="35" name="TextBox 43"/>
            <p:cNvSpPr txBox="1"/>
            <p:nvPr/>
          </p:nvSpPr>
          <p:spPr>
            <a:xfrm flipH="1">
              <a:off x="5339330" y="2664409"/>
              <a:ext cx="1930798" cy="715581"/>
            </a:xfrm>
            <a:prstGeom prst="rect">
              <a:avLst/>
            </a:prstGeom>
            <a:noFill/>
          </p:spPr>
          <p:txBody>
            <a:bodyPr wrap="square" rtlCol="0">
              <a:spAutoFit/>
            </a:bodyPr>
            <a:lstStyle/>
            <a:p>
              <a:pPr>
                <a:lnSpc>
                  <a:spcPct val="150000"/>
                </a:lnSpc>
              </a:pPr>
              <a:r>
                <a:rPr lang="zh-CN" altLang="en-US" sz="900" dirty="0">
                  <a:solidFill>
                    <a:schemeClr val="bg1">
                      <a:lumMod val="85000"/>
                    </a:schemeClr>
                  </a:solidFill>
                  <a:cs typeface="+mn-ea"/>
                  <a:sym typeface="+mn-lt"/>
                </a:rPr>
                <a:t>请替换文字内容，修改文字内容，也可以直接复制你的内容到此。</a:t>
              </a:r>
            </a:p>
          </p:txBody>
        </p:sp>
      </p:gr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2" fill="hold" nodeType="withEffect" p14:presetBounceEnd="50000">
                                      <p:stCondLst>
                                        <p:cond delay="1000"/>
                                      </p:stCondLst>
                                      <p:childTnLst>
                                        <p:set>
                                          <p:cBhvr>
                                            <p:cTn id="17" dur="1" fill="hold">
                                              <p:stCondLst>
                                                <p:cond delay="0"/>
                                              </p:stCondLst>
                                            </p:cTn>
                                            <p:tgtEl>
                                              <p:spTgt spid="16"/>
                                            </p:tgtEl>
                                            <p:attrNameLst>
                                              <p:attrName>style.visibility</p:attrName>
                                            </p:attrNameLst>
                                          </p:cBhvr>
                                          <p:to>
                                            <p:strVal val="visible"/>
                                          </p:to>
                                        </p:set>
                                        <p:anim calcmode="lin" valueType="num" p14:bounceEnd="50000">
                                          <p:cBhvr additive="base">
                                            <p:cTn id="18" dur="1000" fill="hold"/>
                                            <p:tgtEl>
                                              <p:spTgt spid="16"/>
                                            </p:tgtEl>
                                            <p:attrNameLst>
                                              <p:attrName>ppt_x</p:attrName>
                                            </p:attrNameLst>
                                          </p:cBhvr>
                                          <p:tavLst>
                                            <p:tav tm="0">
                                              <p:val>
                                                <p:strVal val="1+#ppt_w/2"/>
                                              </p:val>
                                            </p:tav>
                                            <p:tav tm="100000">
                                              <p:val>
                                                <p:strVal val="#ppt_x"/>
                                              </p:val>
                                            </p:tav>
                                          </p:tavLst>
                                        </p:anim>
                                        <p:anim calcmode="lin" valueType="num" p14:bounceEnd="50000">
                                          <p:cBhvr additive="base">
                                            <p:cTn id="19" dur="1000" fill="hold"/>
                                            <p:tgtEl>
                                              <p:spTgt spid="16"/>
                                            </p:tgtEl>
                                            <p:attrNameLst>
                                              <p:attrName>ppt_y</p:attrName>
                                            </p:attrNameLst>
                                          </p:cBhvr>
                                          <p:tavLst>
                                            <p:tav tm="0">
                                              <p:val>
                                                <p:strVal val="#ppt_y"/>
                                              </p:val>
                                            </p:tav>
                                            <p:tav tm="100000">
                                              <p:val>
                                                <p:strVal val="#ppt_y"/>
                                              </p:val>
                                            </p:tav>
                                          </p:tavLst>
                                        </p:anim>
                                      </p:childTnLst>
                                    </p:cTn>
                                  </p:par>
                                </p:childTnLst>
                              </p:cTn>
                            </p:par>
                            <p:par>
                              <p:cTn id="20" fill="hold">
                                <p:stCondLst>
                                  <p:cond delay="0"/>
                                </p:stCondLst>
                                <p:childTnLst>
                                  <p:par>
                                    <p:cTn id="21" presetID="53" presetClass="entr" presetSubtype="16" fill="hold" grpId="0" nodeType="afterEffect">
                                      <p:stCondLst>
                                        <p:cond delay="0"/>
                                      </p:stCondLst>
                                      <p:iterate type="lt">
                                        <p:tmPct val="10000"/>
                                      </p:iterate>
                                      <p:childTnLst>
                                        <p:set>
                                          <p:cBhvr>
                                            <p:cTn id="22" dur="1" fill="hold">
                                              <p:stCondLst>
                                                <p:cond delay="0"/>
                                              </p:stCondLst>
                                            </p:cTn>
                                            <p:tgtEl>
                                              <p:spTgt spid="17"/>
                                            </p:tgtEl>
                                            <p:attrNameLst>
                                              <p:attrName>style.visibility</p:attrName>
                                            </p:attrNameLst>
                                          </p:cBhvr>
                                          <p:to>
                                            <p:strVal val="visible"/>
                                          </p:to>
                                        </p:set>
                                        <p:anim calcmode="lin" valueType="num">
                                          <p:cBhvr>
                                            <p:cTn id="23" dur="500" fill="hold"/>
                                            <p:tgtEl>
                                              <p:spTgt spid="17"/>
                                            </p:tgtEl>
                                            <p:attrNameLst>
                                              <p:attrName>ppt_w</p:attrName>
                                            </p:attrNameLst>
                                          </p:cBhvr>
                                          <p:tavLst>
                                            <p:tav tm="0">
                                              <p:val>
                                                <p:fltVal val="0"/>
                                              </p:val>
                                            </p:tav>
                                            <p:tav tm="100000">
                                              <p:val>
                                                <p:strVal val="#ppt_w"/>
                                              </p:val>
                                            </p:tav>
                                          </p:tavLst>
                                        </p:anim>
                                        <p:anim calcmode="lin" valueType="num">
                                          <p:cBhvr>
                                            <p:cTn id="24" dur="500" fill="hold"/>
                                            <p:tgtEl>
                                              <p:spTgt spid="17"/>
                                            </p:tgtEl>
                                            <p:attrNameLst>
                                              <p:attrName>ppt_h</p:attrName>
                                            </p:attrNameLst>
                                          </p:cBhvr>
                                          <p:tavLst>
                                            <p:tav tm="0">
                                              <p:val>
                                                <p:fltVal val="0"/>
                                              </p:val>
                                            </p:tav>
                                            <p:tav tm="100000">
                                              <p:val>
                                                <p:strVal val="#ppt_h"/>
                                              </p:val>
                                            </p:tav>
                                          </p:tavLst>
                                        </p:anim>
                                        <p:animEffect transition="in" filter="fade">
                                          <p:cBhvr>
                                            <p:cTn id="25" dur="500"/>
                                            <p:tgtEl>
                                              <p:spTgt spid="17"/>
                                            </p:tgtEl>
                                          </p:cBhvr>
                                        </p:animEffect>
                                      </p:childTnLst>
                                    </p:cTn>
                                  </p:par>
                                  <p:par>
                                    <p:cTn id="26" presetID="2" presetClass="entr" presetSubtype="8" decel="100000" fill="hold" grpId="0" nodeType="withEffect">
                                      <p:stCondLst>
                                        <p:cond delay="500"/>
                                      </p:stCondLst>
                                      <p:childTnLst>
                                        <p:set>
                                          <p:cBhvr>
                                            <p:cTn id="27" dur="1" fill="hold">
                                              <p:stCondLst>
                                                <p:cond delay="0"/>
                                              </p:stCondLst>
                                            </p:cTn>
                                            <p:tgtEl>
                                              <p:spTgt spid="19"/>
                                            </p:tgtEl>
                                            <p:attrNameLst>
                                              <p:attrName>style.visibility</p:attrName>
                                            </p:attrNameLst>
                                          </p:cBhvr>
                                          <p:to>
                                            <p:strVal val="visible"/>
                                          </p:to>
                                        </p:set>
                                        <p:anim calcmode="lin" valueType="num">
                                          <p:cBhvr additive="base">
                                            <p:cTn id="28" dur="750" fill="hold"/>
                                            <p:tgtEl>
                                              <p:spTgt spid="19"/>
                                            </p:tgtEl>
                                            <p:attrNameLst>
                                              <p:attrName>ppt_x</p:attrName>
                                            </p:attrNameLst>
                                          </p:cBhvr>
                                          <p:tavLst>
                                            <p:tav tm="0">
                                              <p:val>
                                                <p:strVal val="0-#ppt_w/2"/>
                                              </p:val>
                                            </p:tav>
                                            <p:tav tm="100000">
                                              <p:val>
                                                <p:strVal val="#ppt_x"/>
                                              </p:val>
                                            </p:tav>
                                          </p:tavLst>
                                        </p:anim>
                                        <p:anim calcmode="lin" valueType="num">
                                          <p:cBhvr additive="base">
                                            <p:cTn id="29" dur="750" fill="hold"/>
                                            <p:tgtEl>
                                              <p:spTgt spid="19"/>
                                            </p:tgtEl>
                                            <p:attrNameLst>
                                              <p:attrName>ppt_y</p:attrName>
                                            </p:attrNameLst>
                                          </p:cBhvr>
                                          <p:tavLst>
                                            <p:tav tm="0">
                                              <p:val>
                                                <p:strVal val="#ppt_y"/>
                                              </p:val>
                                            </p:tav>
                                            <p:tav tm="100000">
                                              <p:val>
                                                <p:strVal val="#ppt_y"/>
                                              </p:val>
                                            </p:tav>
                                          </p:tavLst>
                                        </p:anim>
                                      </p:childTnLst>
                                    </p:cTn>
                                  </p:par>
                                  <p:par>
                                    <p:cTn id="30" presetID="2" presetClass="entr" presetSubtype="8" decel="100000" fill="hold" grpId="0" nodeType="withEffect">
                                      <p:stCondLst>
                                        <p:cond delay="1000"/>
                                      </p:stCondLst>
                                      <p:childTnLst>
                                        <p:set>
                                          <p:cBhvr>
                                            <p:cTn id="31" dur="1" fill="hold">
                                              <p:stCondLst>
                                                <p:cond delay="0"/>
                                              </p:stCondLst>
                                            </p:cTn>
                                            <p:tgtEl>
                                              <p:spTgt spid="18"/>
                                            </p:tgtEl>
                                            <p:attrNameLst>
                                              <p:attrName>style.visibility</p:attrName>
                                            </p:attrNameLst>
                                          </p:cBhvr>
                                          <p:to>
                                            <p:strVal val="visible"/>
                                          </p:to>
                                        </p:set>
                                        <p:anim calcmode="lin" valueType="num">
                                          <p:cBhvr additive="base">
                                            <p:cTn id="32" dur="750" fill="hold"/>
                                            <p:tgtEl>
                                              <p:spTgt spid="18"/>
                                            </p:tgtEl>
                                            <p:attrNameLst>
                                              <p:attrName>ppt_x</p:attrName>
                                            </p:attrNameLst>
                                          </p:cBhvr>
                                          <p:tavLst>
                                            <p:tav tm="0">
                                              <p:val>
                                                <p:strVal val="0-#ppt_w/2"/>
                                              </p:val>
                                            </p:tav>
                                            <p:tav tm="100000">
                                              <p:val>
                                                <p:strVal val="#ppt_x"/>
                                              </p:val>
                                            </p:tav>
                                          </p:tavLst>
                                        </p:anim>
                                        <p:anim calcmode="lin" valueType="num">
                                          <p:cBhvr additive="base">
                                            <p:cTn id="33" dur="750" fill="hold"/>
                                            <p:tgtEl>
                                              <p:spTgt spid="18"/>
                                            </p:tgtEl>
                                            <p:attrNameLst>
                                              <p:attrName>ppt_y</p:attrName>
                                            </p:attrNameLst>
                                          </p:cBhvr>
                                          <p:tavLst>
                                            <p:tav tm="0">
                                              <p:val>
                                                <p:strVal val="#ppt_y"/>
                                              </p:val>
                                            </p:tav>
                                            <p:tav tm="100000">
                                              <p:val>
                                                <p:strVal val="#ppt_y"/>
                                              </p:val>
                                            </p:tav>
                                          </p:tavLst>
                                        </p:anim>
                                      </p:childTnLst>
                                    </p:cTn>
                                  </p:par>
                                </p:childTnLst>
                              </p:cTn>
                            </p:par>
                            <p:par>
                              <p:cTn id="34" fill="hold">
                                <p:stCondLst>
                                  <p:cond delay="1750"/>
                                </p:stCondLst>
                                <p:childTnLst>
                                  <p:par>
                                    <p:cTn id="35" presetID="21" presetClass="entr" presetSubtype="1"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wheel(1)">
                                          <p:cBhvr>
                                            <p:cTn id="37" dur="500"/>
                                            <p:tgtEl>
                                              <p:spTgt spid="20"/>
                                            </p:tgtEl>
                                          </p:cBhvr>
                                        </p:animEffect>
                                      </p:childTnLst>
                                    </p:cTn>
                                  </p:par>
                                </p:childTnLst>
                              </p:cTn>
                            </p:par>
                            <p:par>
                              <p:cTn id="38" fill="hold">
                                <p:stCondLst>
                                  <p:cond delay="2250"/>
                                </p:stCondLst>
                                <p:childTnLst>
                                  <p:par>
                                    <p:cTn id="39" presetID="21" presetClass="entr" presetSubtype="1" fill="hold" nodeType="after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wheel(1)">
                                          <p:cBhvr>
                                            <p:cTn id="41" dur="500"/>
                                            <p:tgtEl>
                                              <p:spTgt spid="28"/>
                                            </p:tgtEl>
                                          </p:cBhvr>
                                        </p:animEffect>
                                      </p:childTnLst>
                                    </p:cTn>
                                  </p:par>
                                </p:childTnLst>
                              </p:cTn>
                            </p:par>
                            <p:par>
                              <p:cTn id="42" fill="hold">
                                <p:stCondLst>
                                  <p:cond delay="275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00"/>
                                            <p:tgtEl>
                                              <p:spTgt spid="25"/>
                                            </p:tgtEl>
                                          </p:cBhvr>
                                        </p:animEffect>
                                      </p:childTnLst>
                                    </p:cTn>
                                  </p:par>
                                  <p:par>
                                    <p:cTn id="46" presetID="35" presetClass="path" presetSubtype="0" decel="100000" fill="hold" nodeType="withEffect">
                                      <p:stCondLst>
                                        <p:cond delay="0"/>
                                      </p:stCondLst>
                                      <p:childTnLst>
                                        <p:animMotion origin="layout" path="M 3.95833E-6 -1.11111E-6 L -0.01602 -1.11111E-6 " pathEditMode="relative" rAng="0" ptsTypes="AA">
                                          <p:cBhvr>
                                            <p:cTn id="47" dur="700" spd="-100000" fill="hold"/>
                                            <p:tgtEl>
                                              <p:spTgt spid="25"/>
                                            </p:tgtEl>
                                            <p:attrNameLst>
                                              <p:attrName>ppt_x</p:attrName>
                                              <p:attrName>ppt_y</p:attrName>
                                            </p:attrNameLst>
                                          </p:cBhvr>
                                          <p:rCtr x="-807" y="0"/>
                                        </p:animMotion>
                                      </p:childTnLst>
                                    </p:cTn>
                                  </p:par>
                                </p:childTnLst>
                              </p:cTn>
                            </p:par>
                            <p:par>
                              <p:cTn id="48" fill="hold">
                                <p:stCondLst>
                                  <p:cond delay="3750"/>
                                </p:stCondLst>
                                <p:childTnLst>
                                  <p:par>
                                    <p:cTn id="49" presetID="10" presetClass="entr" presetSubtype="0" fill="hold" nodeType="after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700"/>
                                            <p:tgtEl>
                                              <p:spTgt spid="33"/>
                                            </p:tgtEl>
                                          </p:cBhvr>
                                        </p:animEffect>
                                      </p:childTnLst>
                                    </p:cTn>
                                  </p:par>
                                  <p:par>
                                    <p:cTn id="52" presetID="35" presetClass="path" presetSubtype="0" decel="100000" fill="hold" nodeType="withEffect">
                                      <p:stCondLst>
                                        <p:cond delay="0"/>
                                      </p:stCondLst>
                                      <p:childTnLst>
                                        <p:animMotion origin="layout" path="M 3.54167E-6 -1.11111E-6 L -0.01602 -1.11111E-6 " pathEditMode="relative" rAng="0" ptsTypes="AA">
                                          <p:cBhvr>
                                            <p:cTn id="53" dur="700" spd="-100000" fill="hold"/>
                                            <p:tgtEl>
                                              <p:spTgt spid="33"/>
                                            </p:tgtEl>
                                            <p:attrNameLst>
                                              <p:attrName>ppt_x</p:attrName>
                                              <p:attrName>ppt_y</p:attrName>
                                            </p:attrNameLst>
                                          </p:cBhvr>
                                          <p:rCtr x="-80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7" grpId="0"/>
          <p:bldP spid="18" grpId="0"/>
          <p:bldP spid="19"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2" fill="hold" nodeType="withEffect">
                                      <p:stCondLst>
                                        <p:cond delay="1000"/>
                                      </p:stCondLst>
                                      <p:childTnLst>
                                        <p:set>
                                          <p:cBhvr>
                                            <p:cTn id="17" dur="1" fill="hold">
                                              <p:stCondLst>
                                                <p:cond delay="0"/>
                                              </p:stCondLst>
                                            </p:cTn>
                                            <p:tgtEl>
                                              <p:spTgt spid="16"/>
                                            </p:tgtEl>
                                            <p:attrNameLst>
                                              <p:attrName>style.visibility</p:attrName>
                                            </p:attrNameLst>
                                          </p:cBhvr>
                                          <p:to>
                                            <p:strVal val="visible"/>
                                          </p:to>
                                        </p:set>
                                        <p:anim calcmode="lin" valueType="num">
                                          <p:cBhvr additive="base">
                                            <p:cTn id="18" dur="1000" fill="hold"/>
                                            <p:tgtEl>
                                              <p:spTgt spid="16"/>
                                            </p:tgtEl>
                                            <p:attrNameLst>
                                              <p:attrName>ppt_x</p:attrName>
                                            </p:attrNameLst>
                                          </p:cBhvr>
                                          <p:tavLst>
                                            <p:tav tm="0">
                                              <p:val>
                                                <p:strVal val="1+#ppt_w/2"/>
                                              </p:val>
                                            </p:tav>
                                            <p:tav tm="100000">
                                              <p:val>
                                                <p:strVal val="#ppt_x"/>
                                              </p:val>
                                            </p:tav>
                                          </p:tavLst>
                                        </p:anim>
                                        <p:anim calcmode="lin" valueType="num">
                                          <p:cBhvr additive="base">
                                            <p:cTn id="19" dur="1000" fill="hold"/>
                                            <p:tgtEl>
                                              <p:spTgt spid="16"/>
                                            </p:tgtEl>
                                            <p:attrNameLst>
                                              <p:attrName>ppt_y</p:attrName>
                                            </p:attrNameLst>
                                          </p:cBhvr>
                                          <p:tavLst>
                                            <p:tav tm="0">
                                              <p:val>
                                                <p:strVal val="#ppt_y"/>
                                              </p:val>
                                            </p:tav>
                                            <p:tav tm="100000">
                                              <p:val>
                                                <p:strVal val="#ppt_y"/>
                                              </p:val>
                                            </p:tav>
                                          </p:tavLst>
                                        </p:anim>
                                      </p:childTnLst>
                                    </p:cTn>
                                  </p:par>
                                </p:childTnLst>
                              </p:cTn>
                            </p:par>
                            <p:par>
                              <p:cTn id="20" fill="hold">
                                <p:stCondLst>
                                  <p:cond delay="0"/>
                                </p:stCondLst>
                                <p:childTnLst>
                                  <p:par>
                                    <p:cTn id="21" presetID="53" presetClass="entr" presetSubtype="16" fill="hold" grpId="0" nodeType="afterEffect">
                                      <p:stCondLst>
                                        <p:cond delay="0"/>
                                      </p:stCondLst>
                                      <p:iterate type="lt">
                                        <p:tmPct val="10000"/>
                                      </p:iterate>
                                      <p:childTnLst>
                                        <p:set>
                                          <p:cBhvr>
                                            <p:cTn id="22" dur="1" fill="hold">
                                              <p:stCondLst>
                                                <p:cond delay="0"/>
                                              </p:stCondLst>
                                            </p:cTn>
                                            <p:tgtEl>
                                              <p:spTgt spid="17"/>
                                            </p:tgtEl>
                                            <p:attrNameLst>
                                              <p:attrName>style.visibility</p:attrName>
                                            </p:attrNameLst>
                                          </p:cBhvr>
                                          <p:to>
                                            <p:strVal val="visible"/>
                                          </p:to>
                                        </p:set>
                                        <p:anim calcmode="lin" valueType="num">
                                          <p:cBhvr>
                                            <p:cTn id="23" dur="500" fill="hold"/>
                                            <p:tgtEl>
                                              <p:spTgt spid="17"/>
                                            </p:tgtEl>
                                            <p:attrNameLst>
                                              <p:attrName>ppt_w</p:attrName>
                                            </p:attrNameLst>
                                          </p:cBhvr>
                                          <p:tavLst>
                                            <p:tav tm="0">
                                              <p:val>
                                                <p:fltVal val="0"/>
                                              </p:val>
                                            </p:tav>
                                            <p:tav tm="100000">
                                              <p:val>
                                                <p:strVal val="#ppt_w"/>
                                              </p:val>
                                            </p:tav>
                                          </p:tavLst>
                                        </p:anim>
                                        <p:anim calcmode="lin" valueType="num">
                                          <p:cBhvr>
                                            <p:cTn id="24" dur="500" fill="hold"/>
                                            <p:tgtEl>
                                              <p:spTgt spid="17"/>
                                            </p:tgtEl>
                                            <p:attrNameLst>
                                              <p:attrName>ppt_h</p:attrName>
                                            </p:attrNameLst>
                                          </p:cBhvr>
                                          <p:tavLst>
                                            <p:tav tm="0">
                                              <p:val>
                                                <p:fltVal val="0"/>
                                              </p:val>
                                            </p:tav>
                                            <p:tav tm="100000">
                                              <p:val>
                                                <p:strVal val="#ppt_h"/>
                                              </p:val>
                                            </p:tav>
                                          </p:tavLst>
                                        </p:anim>
                                        <p:animEffect transition="in" filter="fade">
                                          <p:cBhvr>
                                            <p:cTn id="25" dur="500"/>
                                            <p:tgtEl>
                                              <p:spTgt spid="17"/>
                                            </p:tgtEl>
                                          </p:cBhvr>
                                        </p:animEffect>
                                      </p:childTnLst>
                                    </p:cTn>
                                  </p:par>
                                  <p:par>
                                    <p:cTn id="26" presetID="2" presetClass="entr" presetSubtype="8" decel="100000" fill="hold" grpId="0" nodeType="withEffect">
                                      <p:stCondLst>
                                        <p:cond delay="500"/>
                                      </p:stCondLst>
                                      <p:childTnLst>
                                        <p:set>
                                          <p:cBhvr>
                                            <p:cTn id="27" dur="1" fill="hold">
                                              <p:stCondLst>
                                                <p:cond delay="0"/>
                                              </p:stCondLst>
                                            </p:cTn>
                                            <p:tgtEl>
                                              <p:spTgt spid="19"/>
                                            </p:tgtEl>
                                            <p:attrNameLst>
                                              <p:attrName>style.visibility</p:attrName>
                                            </p:attrNameLst>
                                          </p:cBhvr>
                                          <p:to>
                                            <p:strVal val="visible"/>
                                          </p:to>
                                        </p:set>
                                        <p:anim calcmode="lin" valueType="num">
                                          <p:cBhvr additive="base">
                                            <p:cTn id="28" dur="750" fill="hold"/>
                                            <p:tgtEl>
                                              <p:spTgt spid="19"/>
                                            </p:tgtEl>
                                            <p:attrNameLst>
                                              <p:attrName>ppt_x</p:attrName>
                                            </p:attrNameLst>
                                          </p:cBhvr>
                                          <p:tavLst>
                                            <p:tav tm="0">
                                              <p:val>
                                                <p:strVal val="0-#ppt_w/2"/>
                                              </p:val>
                                            </p:tav>
                                            <p:tav tm="100000">
                                              <p:val>
                                                <p:strVal val="#ppt_x"/>
                                              </p:val>
                                            </p:tav>
                                          </p:tavLst>
                                        </p:anim>
                                        <p:anim calcmode="lin" valueType="num">
                                          <p:cBhvr additive="base">
                                            <p:cTn id="29" dur="750" fill="hold"/>
                                            <p:tgtEl>
                                              <p:spTgt spid="19"/>
                                            </p:tgtEl>
                                            <p:attrNameLst>
                                              <p:attrName>ppt_y</p:attrName>
                                            </p:attrNameLst>
                                          </p:cBhvr>
                                          <p:tavLst>
                                            <p:tav tm="0">
                                              <p:val>
                                                <p:strVal val="#ppt_y"/>
                                              </p:val>
                                            </p:tav>
                                            <p:tav tm="100000">
                                              <p:val>
                                                <p:strVal val="#ppt_y"/>
                                              </p:val>
                                            </p:tav>
                                          </p:tavLst>
                                        </p:anim>
                                      </p:childTnLst>
                                    </p:cTn>
                                  </p:par>
                                  <p:par>
                                    <p:cTn id="30" presetID="2" presetClass="entr" presetSubtype="8" decel="100000" fill="hold" grpId="0" nodeType="withEffect">
                                      <p:stCondLst>
                                        <p:cond delay="1000"/>
                                      </p:stCondLst>
                                      <p:childTnLst>
                                        <p:set>
                                          <p:cBhvr>
                                            <p:cTn id="31" dur="1" fill="hold">
                                              <p:stCondLst>
                                                <p:cond delay="0"/>
                                              </p:stCondLst>
                                            </p:cTn>
                                            <p:tgtEl>
                                              <p:spTgt spid="18"/>
                                            </p:tgtEl>
                                            <p:attrNameLst>
                                              <p:attrName>style.visibility</p:attrName>
                                            </p:attrNameLst>
                                          </p:cBhvr>
                                          <p:to>
                                            <p:strVal val="visible"/>
                                          </p:to>
                                        </p:set>
                                        <p:anim calcmode="lin" valueType="num">
                                          <p:cBhvr additive="base">
                                            <p:cTn id="32" dur="750" fill="hold"/>
                                            <p:tgtEl>
                                              <p:spTgt spid="18"/>
                                            </p:tgtEl>
                                            <p:attrNameLst>
                                              <p:attrName>ppt_x</p:attrName>
                                            </p:attrNameLst>
                                          </p:cBhvr>
                                          <p:tavLst>
                                            <p:tav tm="0">
                                              <p:val>
                                                <p:strVal val="0-#ppt_w/2"/>
                                              </p:val>
                                            </p:tav>
                                            <p:tav tm="100000">
                                              <p:val>
                                                <p:strVal val="#ppt_x"/>
                                              </p:val>
                                            </p:tav>
                                          </p:tavLst>
                                        </p:anim>
                                        <p:anim calcmode="lin" valueType="num">
                                          <p:cBhvr additive="base">
                                            <p:cTn id="33" dur="750" fill="hold"/>
                                            <p:tgtEl>
                                              <p:spTgt spid="18"/>
                                            </p:tgtEl>
                                            <p:attrNameLst>
                                              <p:attrName>ppt_y</p:attrName>
                                            </p:attrNameLst>
                                          </p:cBhvr>
                                          <p:tavLst>
                                            <p:tav tm="0">
                                              <p:val>
                                                <p:strVal val="#ppt_y"/>
                                              </p:val>
                                            </p:tav>
                                            <p:tav tm="100000">
                                              <p:val>
                                                <p:strVal val="#ppt_y"/>
                                              </p:val>
                                            </p:tav>
                                          </p:tavLst>
                                        </p:anim>
                                      </p:childTnLst>
                                    </p:cTn>
                                  </p:par>
                                </p:childTnLst>
                              </p:cTn>
                            </p:par>
                            <p:par>
                              <p:cTn id="34" fill="hold">
                                <p:stCondLst>
                                  <p:cond delay="1750"/>
                                </p:stCondLst>
                                <p:childTnLst>
                                  <p:par>
                                    <p:cTn id="35" presetID="21" presetClass="entr" presetSubtype="1" fill="hold"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wheel(1)">
                                          <p:cBhvr>
                                            <p:cTn id="37" dur="500"/>
                                            <p:tgtEl>
                                              <p:spTgt spid="20"/>
                                            </p:tgtEl>
                                          </p:cBhvr>
                                        </p:animEffect>
                                      </p:childTnLst>
                                    </p:cTn>
                                  </p:par>
                                </p:childTnLst>
                              </p:cTn>
                            </p:par>
                            <p:par>
                              <p:cTn id="38" fill="hold">
                                <p:stCondLst>
                                  <p:cond delay="2250"/>
                                </p:stCondLst>
                                <p:childTnLst>
                                  <p:par>
                                    <p:cTn id="39" presetID="21" presetClass="entr" presetSubtype="1" fill="hold" nodeType="after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wheel(1)">
                                          <p:cBhvr>
                                            <p:cTn id="41" dur="500"/>
                                            <p:tgtEl>
                                              <p:spTgt spid="28"/>
                                            </p:tgtEl>
                                          </p:cBhvr>
                                        </p:animEffect>
                                      </p:childTnLst>
                                    </p:cTn>
                                  </p:par>
                                </p:childTnLst>
                              </p:cTn>
                            </p:par>
                            <p:par>
                              <p:cTn id="42" fill="hold">
                                <p:stCondLst>
                                  <p:cond delay="2750"/>
                                </p:stCondLst>
                                <p:childTnLst>
                                  <p:par>
                                    <p:cTn id="43" presetID="10" presetClass="entr" presetSubtype="0" fill="hold" nodeType="afterEffect">
                                      <p:stCondLst>
                                        <p:cond delay="0"/>
                                      </p:stCondLst>
                                      <p:childTnLst>
                                        <p:set>
                                          <p:cBhvr>
                                            <p:cTn id="44" dur="1" fill="hold">
                                              <p:stCondLst>
                                                <p:cond delay="0"/>
                                              </p:stCondLst>
                                            </p:cTn>
                                            <p:tgtEl>
                                              <p:spTgt spid="25"/>
                                            </p:tgtEl>
                                            <p:attrNameLst>
                                              <p:attrName>style.visibility</p:attrName>
                                            </p:attrNameLst>
                                          </p:cBhvr>
                                          <p:to>
                                            <p:strVal val="visible"/>
                                          </p:to>
                                        </p:set>
                                        <p:animEffect transition="in" filter="fade">
                                          <p:cBhvr>
                                            <p:cTn id="45" dur="700"/>
                                            <p:tgtEl>
                                              <p:spTgt spid="25"/>
                                            </p:tgtEl>
                                          </p:cBhvr>
                                        </p:animEffect>
                                      </p:childTnLst>
                                    </p:cTn>
                                  </p:par>
                                  <p:par>
                                    <p:cTn id="46" presetID="35" presetClass="path" presetSubtype="0" decel="100000" fill="hold" nodeType="withEffect">
                                      <p:stCondLst>
                                        <p:cond delay="0"/>
                                      </p:stCondLst>
                                      <p:childTnLst>
                                        <p:animMotion origin="layout" path="M 3.95833E-6 -1.11111E-6 L -0.01602 -1.11111E-6 " pathEditMode="relative" rAng="0" ptsTypes="AA">
                                          <p:cBhvr>
                                            <p:cTn id="47" dur="700" spd="-100000" fill="hold"/>
                                            <p:tgtEl>
                                              <p:spTgt spid="25"/>
                                            </p:tgtEl>
                                            <p:attrNameLst>
                                              <p:attrName>ppt_x</p:attrName>
                                              <p:attrName>ppt_y</p:attrName>
                                            </p:attrNameLst>
                                          </p:cBhvr>
                                          <p:rCtr x="-807" y="0"/>
                                        </p:animMotion>
                                      </p:childTnLst>
                                    </p:cTn>
                                  </p:par>
                                </p:childTnLst>
                              </p:cTn>
                            </p:par>
                            <p:par>
                              <p:cTn id="48" fill="hold">
                                <p:stCondLst>
                                  <p:cond delay="3750"/>
                                </p:stCondLst>
                                <p:childTnLst>
                                  <p:par>
                                    <p:cTn id="49" presetID="10" presetClass="entr" presetSubtype="0" fill="hold" nodeType="afterEffect">
                                      <p:stCondLst>
                                        <p:cond delay="0"/>
                                      </p:stCondLst>
                                      <p:childTnLst>
                                        <p:set>
                                          <p:cBhvr>
                                            <p:cTn id="50" dur="1" fill="hold">
                                              <p:stCondLst>
                                                <p:cond delay="0"/>
                                              </p:stCondLst>
                                            </p:cTn>
                                            <p:tgtEl>
                                              <p:spTgt spid="33"/>
                                            </p:tgtEl>
                                            <p:attrNameLst>
                                              <p:attrName>style.visibility</p:attrName>
                                            </p:attrNameLst>
                                          </p:cBhvr>
                                          <p:to>
                                            <p:strVal val="visible"/>
                                          </p:to>
                                        </p:set>
                                        <p:animEffect transition="in" filter="fade">
                                          <p:cBhvr>
                                            <p:cTn id="51" dur="700"/>
                                            <p:tgtEl>
                                              <p:spTgt spid="33"/>
                                            </p:tgtEl>
                                          </p:cBhvr>
                                        </p:animEffect>
                                      </p:childTnLst>
                                    </p:cTn>
                                  </p:par>
                                  <p:par>
                                    <p:cTn id="52" presetID="35" presetClass="path" presetSubtype="0" decel="100000" fill="hold" nodeType="withEffect">
                                      <p:stCondLst>
                                        <p:cond delay="0"/>
                                      </p:stCondLst>
                                      <p:childTnLst>
                                        <p:animMotion origin="layout" path="M 3.54167E-6 -1.11111E-6 L -0.01602 -1.11111E-6 " pathEditMode="relative" rAng="0" ptsTypes="AA">
                                          <p:cBhvr>
                                            <p:cTn id="53" dur="700" spd="-100000" fill="hold"/>
                                            <p:tgtEl>
                                              <p:spTgt spid="33"/>
                                            </p:tgtEl>
                                            <p:attrNameLst>
                                              <p:attrName>ppt_x</p:attrName>
                                              <p:attrName>ppt_y</p:attrName>
                                            </p:attrNameLst>
                                          </p:cBhvr>
                                          <p:rCtr x="-80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17" grpId="0"/>
          <p:bldP spid="18" grpId="0"/>
          <p:bldP spid="19" grpId="0"/>
        </p:bldLst>
      </p:timing>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54863" y="459121"/>
            <a:ext cx="2622550" cy="523220"/>
          </a:xfrm>
          <a:prstGeom prst="rect">
            <a:avLst/>
          </a:prstGeom>
        </p:spPr>
        <p:txBody>
          <a:bodyPr wrap="square" anchor="ctr">
            <a:spAutoFit/>
          </a:bodyPr>
          <a:lstStyle/>
          <a:p>
            <a:pPr lvl="0">
              <a:defRPr/>
            </a:pPr>
            <a:r>
              <a:rPr lang="zh-CN" altLang="en-US" sz="28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未来发展</a:t>
            </a:r>
          </a:p>
        </p:txBody>
      </p:sp>
      <p:pic>
        <p:nvPicPr>
          <p:cNvPr id="5" name="4"/>
          <p:cNvPicPr>
            <a:picLocks noChangeAspect="1"/>
          </p:cNvPicPr>
          <p:nvPr/>
        </p:nvPicPr>
        <p:blipFill rotWithShape="1">
          <a:blip r:embed="rId2" cstate="screen"/>
          <a:srcRect/>
          <a:stretch>
            <a:fillRect/>
          </a:stretch>
        </p:blipFill>
        <p:spPr>
          <a:xfrm>
            <a:off x="110632" y="95800"/>
            <a:ext cx="1108567" cy="1488355"/>
          </a:xfrm>
          <a:prstGeom prst="rect">
            <a:avLst/>
          </a:prstGeom>
        </p:spPr>
      </p:pic>
      <p:graphicFrame>
        <p:nvGraphicFramePr>
          <p:cNvPr id="4" name="图表 3"/>
          <p:cNvGraphicFramePr/>
          <p:nvPr/>
        </p:nvGraphicFramePr>
        <p:xfrm>
          <a:off x="1297219" y="1351874"/>
          <a:ext cx="6702564" cy="4468377"/>
        </p:xfrm>
        <a:graphic>
          <a:graphicData uri="http://schemas.openxmlformats.org/drawingml/2006/chart">
            <c:chart xmlns:c="http://schemas.openxmlformats.org/drawingml/2006/chart" xmlns:r="http://schemas.openxmlformats.org/officeDocument/2006/relationships" r:id="rId3"/>
          </a:graphicData>
        </a:graphic>
      </p:graphicFrame>
      <p:sp>
        <p:nvSpPr>
          <p:cNvPr id="6" name="文本框 5"/>
          <p:cNvSpPr txBox="1"/>
          <p:nvPr/>
        </p:nvSpPr>
        <p:spPr>
          <a:xfrm>
            <a:off x="1066800" y="5878636"/>
            <a:ext cx="10058400" cy="549061"/>
          </a:xfrm>
          <a:prstGeom prst="rect">
            <a:avLst/>
          </a:prstGeom>
          <a:noFill/>
        </p:spPr>
        <p:txBody>
          <a:bodyPr wrap="square" rtlCol="0">
            <a:spAutoFit/>
          </a:bodyPr>
          <a:lstStyle/>
          <a:p>
            <a:pPr algn="ctr">
              <a:lnSpc>
                <a:spcPct val="130000"/>
              </a:lnSpc>
            </a:pPr>
            <a:r>
              <a:rPr lang="zh-CN" altLang="en-US" sz="1200" dirty="0">
                <a:solidFill>
                  <a:schemeClr val="bg1"/>
                </a:solidFill>
                <a:cs typeface="+mn-ea"/>
                <a:sym typeface="+mn-lt"/>
              </a:rPr>
              <a:t>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a:t>
            </a:r>
          </a:p>
        </p:txBody>
      </p:sp>
      <p:grpSp>
        <p:nvGrpSpPr>
          <p:cNvPr id="7" name="组合 6"/>
          <p:cNvGrpSpPr/>
          <p:nvPr/>
        </p:nvGrpSpPr>
        <p:grpSpPr>
          <a:xfrm>
            <a:off x="8838076" y="1447362"/>
            <a:ext cx="674224" cy="674221"/>
            <a:chOff x="2207349" y="2125149"/>
            <a:chExt cx="1269736" cy="1269736"/>
          </a:xfrm>
        </p:grpSpPr>
        <p:grpSp>
          <p:nvGrpSpPr>
            <p:cNvPr id="8" name="组合 7"/>
            <p:cNvGrpSpPr/>
            <p:nvPr/>
          </p:nvGrpSpPr>
          <p:grpSpPr>
            <a:xfrm>
              <a:off x="2558262" y="2509323"/>
              <a:ext cx="567910" cy="501388"/>
              <a:chOff x="1000456" y="3959521"/>
              <a:chExt cx="745082" cy="657806"/>
            </a:xfrm>
            <a:solidFill>
              <a:schemeClr val="bg1"/>
            </a:solidFill>
          </p:grpSpPr>
          <p:sp>
            <p:nvSpPr>
              <p:cNvPr id="10" name="Oval 423"/>
              <p:cNvSpPr>
                <a:spLocks noChangeArrowheads="1"/>
              </p:cNvSpPr>
              <p:nvPr/>
            </p:nvSpPr>
            <p:spPr bwMode="auto">
              <a:xfrm>
                <a:off x="1559448" y="4046795"/>
                <a:ext cx="173829" cy="20123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1" name="Freeform 424"/>
              <p:cNvSpPr/>
              <p:nvPr/>
            </p:nvSpPr>
            <p:spPr bwMode="auto">
              <a:xfrm>
                <a:off x="1523384" y="4254524"/>
                <a:ext cx="222154" cy="298610"/>
              </a:xfrm>
              <a:custGeom>
                <a:avLst/>
                <a:gdLst>
                  <a:gd name="T0" fmla="*/ 65 w 130"/>
                  <a:gd name="T1" fmla="*/ 3 h 175"/>
                  <a:gd name="T2" fmla="*/ 52 w 130"/>
                  <a:gd name="T3" fmla="*/ 89 h 175"/>
                  <a:gd name="T4" fmla="*/ 14 w 130"/>
                  <a:gd name="T5" fmla="*/ 112 h 175"/>
                  <a:gd name="T6" fmla="*/ 14 w 130"/>
                  <a:gd name="T7" fmla="*/ 78 h 175"/>
                  <a:gd name="T8" fmla="*/ 65 w 130"/>
                  <a:gd name="T9" fmla="*/ 3 h 175"/>
                  <a:gd name="T10" fmla="*/ 9 w 130"/>
                  <a:gd name="T11" fmla="*/ 58 h 175"/>
                  <a:gd name="T12" fmla="*/ 0 w 130"/>
                  <a:gd name="T13" fmla="*/ 89 h 175"/>
                  <a:gd name="T14" fmla="*/ 0 w 130"/>
                  <a:gd name="T15" fmla="*/ 137 h 175"/>
                  <a:gd name="T16" fmla="*/ 7 w 130"/>
                  <a:gd name="T17" fmla="*/ 160 h 175"/>
                  <a:gd name="T18" fmla="*/ 65 w 130"/>
                  <a:gd name="T19" fmla="*/ 175 h 175"/>
                  <a:gd name="T20" fmla="*/ 130 w 130"/>
                  <a:gd name="T21" fmla="*/ 149 h 175"/>
                  <a:gd name="T22" fmla="*/ 130 w 130"/>
                  <a:gd name="T23" fmla="*/ 45 h 175"/>
                  <a:gd name="T24" fmla="*/ 65 w 130"/>
                  <a:gd name="T25"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75">
                    <a:moveTo>
                      <a:pt x="65" y="3"/>
                    </a:moveTo>
                    <a:cubicBezTo>
                      <a:pt x="52" y="89"/>
                      <a:pt x="52" y="89"/>
                      <a:pt x="52" y="89"/>
                    </a:cubicBezTo>
                    <a:cubicBezTo>
                      <a:pt x="14" y="112"/>
                      <a:pt x="14" y="112"/>
                      <a:pt x="14" y="112"/>
                    </a:cubicBezTo>
                    <a:cubicBezTo>
                      <a:pt x="14" y="78"/>
                      <a:pt x="14" y="78"/>
                      <a:pt x="14" y="78"/>
                    </a:cubicBezTo>
                    <a:cubicBezTo>
                      <a:pt x="65" y="3"/>
                      <a:pt x="65" y="3"/>
                      <a:pt x="65" y="3"/>
                    </a:cubicBezTo>
                    <a:cubicBezTo>
                      <a:pt x="35" y="3"/>
                      <a:pt x="18" y="33"/>
                      <a:pt x="9" y="58"/>
                    </a:cubicBezTo>
                    <a:cubicBezTo>
                      <a:pt x="3" y="75"/>
                      <a:pt x="0" y="89"/>
                      <a:pt x="0" y="89"/>
                    </a:cubicBezTo>
                    <a:cubicBezTo>
                      <a:pt x="0" y="89"/>
                      <a:pt x="0" y="116"/>
                      <a:pt x="0" y="137"/>
                    </a:cubicBezTo>
                    <a:cubicBezTo>
                      <a:pt x="0" y="146"/>
                      <a:pt x="2" y="153"/>
                      <a:pt x="7" y="160"/>
                    </a:cubicBezTo>
                    <a:cubicBezTo>
                      <a:pt x="14" y="169"/>
                      <a:pt x="31" y="175"/>
                      <a:pt x="65" y="175"/>
                    </a:cubicBezTo>
                    <a:cubicBezTo>
                      <a:pt x="122" y="175"/>
                      <a:pt x="130" y="149"/>
                      <a:pt x="130" y="149"/>
                    </a:cubicBezTo>
                    <a:cubicBezTo>
                      <a:pt x="130" y="149"/>
                      <a:pt x="130" y="89"/>
                      <a:pt x="130" y="45"/>
                    </a:cubicBezTo>
                    <a:cubicBezTo>
                      <a:pt x="130" y="0"/>
                      <a:pt x="65" y="3"/>
                      <a:pt x="6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2" name="Freeform 425"/>
              <p:cNvSpPr/>
              <p:nvPr/>
            </p:nvSpPr>
            <p:spPr bwMode="auto">
              <a:xfrm>
                <a:off x="1185825" y="4438450"/>
                <a:ext cx="362082" cy="178877"/>
              </a:xfrm>
              <a:custGeom>
                <a:avLst/>
                <a:gdLst>
                  <a:gd name="T0" fmla="*/ 187 w 212"/>
                  <a:gd name="T1" fmla="*/ 55 h 105"/>
                  <a:gd name="T2" fmla="*/ 178 w 212"/>
                  <a:gd name="T3" fmla="*/ 0 h 105"/>
                  <a:gd name="T4" fmla="*/ 110 w 212"/>
                  <a:gd name="T5" fmla="*/ 20 h 105"/>
                  <a:gd name="T6" fmla="*/ 44 w 212"/>
                  <a:gd name="T7" fmla="*/ 0 h 105"/>
                  <a:gd name="T8" fmla="*/ 30 w 212"/>
                  <a:gd name="T9" fmla="*/ 56 h 105"/>
                  <a:gd name="T10" fmla="*/ 0 w 212"/>
                  <a:gd name="T11" fmla="*/ 72 h 105"/>
                  <a:gd name="T12" fmla="*/ 110 w 212"/>
                  <a:gd name="T13" fmla="*/ 105 h 105"/>
                  <a:gd name="T14" fmla="*/ 212 w 212"/>
                  <a:gd name="T15" fmla="*/ 72 h 105"/>
                  <a:gd name="T16" fmla="*/ 187 w 212"/>
                  <a:gd name="T17" fmla="*/ 5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05">
                    <a:moveTo>
                      <a:pt x="187" y="55"/>
                    </a:moveTo>
                    <a:cubicBezTo>
                      <a:pt x="173" y="33"/>
                      <a:pt x="178" y="0"/>
                      <a:pt x="178" y="0"/>
                    </a:cubicBezTo>
                    <a:cubicBezTo>
                      <a:pt x="178" y="0"/>
                      <a:pt x="156" y="20"/>
                      <a:pt x="110" y="20"/>
                    </a:cubicBezTo>
                    <a:cubicBezTo>
                      <a:pt x="64" y="20"/>
                      <a:pt x="44" y="0"/>
                      <a:pt x="44" y="0"/>
                    </a:cubicBezTo>
                    <a:cubicBezTo>
                      <a:pt x="44" y="0"/>
                      <a:pt x="49" y="34"/>
                      <a:pt x="30" y="56"/>
                    </a:cubicBezTo>
                    <a:cubicBezTo>
                      <a:pt x="23" y="64"/>
                      <a:pt x="14" y="70"/>
                      <a:pt x="0" y="72"/>
                    </a:cubicBezTo>
                    <a:cubicBezTo>
                      <a:pt x="0" y="72"/>
                      <a:pt x="32" y="105"/>
                      <a:pt x="110" y="105"/>
                    </a:cubicBezTo>
                    <a:cubicBezTo>
                      <a:pt x="187" y="105"/>
                      <a:pt x="212" y="72"/>
                      <a:pt x="212" y="72"/>
                    </a:cubicBezTo>
                    <a:cubicBezTo>
                      <a:pt x="200" y="70"/>
                      <a:pt x="193" y="63"/>
                      <a:pt x="187"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3" name="Freeform 426"/>
              <p:cNvSpPr/>
              <p:nvPr/>
            </p:nvSpPr>
            <p:spPr bwMode="auto">
              <a:xfrm>
                <a:off x="1231987" y="4138398"/>
                <a:ext cx="283463" cy="256054"/>
              </a:xfrm>
              <a:custGeom>
                <a:avLst/>
                <a:gdLst>
                  <a:gd name="T0" fmla="*/ 75 w 166"/>
                  <a:gd name="T1" fmla="*/ 150 h 150"/>
                  <a:gd name="T2" fmla="*/ 91 w 166"/>
                  <a:gd name="T3" fmla="*/ 150 h 150"/>
                  <a:gd name="T4" fmla="*/ 166 w 166"/>
                  <a:gd name="T5" fmla="*/ 125 h 150"/>
                  <a:gd name="T6" fmla="*/ 166 w 166"/>
                  <a:gd name="T7" fmla="*/ 122 h 150"/>
                  <a:gd name="T8" fmla="*/ 166 w 166"/>
                  <a:gd name="T9" fmla="*/ 59 h 150"/>
                  <a:gd name="T10" fmla="*/ 108 w 166"/>
                  <a:gd name="T11" fmla="*/ 0 h 150"/>
                  <a:gd name="T12" fmla="*/ 108 w 166"/>
                  <a:gd name="T13" fmla="*/ 0 h 150"/>
                  <a:gd name="T14" fmla="*/ 83 w 166"/>
                  <a:gd name="T15" fmla="*/ 10 h 150"/>
                  <a:gd name="T16" fmla="*/ 102 w 166"/>
                  <a:gd name="T17" fmla="*/ 82 h 150"/>
                  <a:gd name="T18" fmla="*/ 83 w 166"/>
                  <a:gd name="T19" fmla="*/ 111 h 150"/>
                  <a:gd name="T20" fmla="*/ 63 w 166"/>
                  <a:gd name="T21" fmla="*/ 82 h 150"/>
                  <a:gd name="T22" fmla="*/ 83 w 166"/>
                  <a:gd name="T23" fmla="*/ 10 h 150"/>
                  <a:gd name="T24" fmla="*/ 58 w 166"/>
                  <a:gd name="T25" fmla="*/ 0 h 150"/>
                  <a:gd name="T26" fmla="*/ 0 w 166"/>
                  <a:gd name="T27" fmla="*/ 59 h 150"/>
                  <a:gd name="T28" fmla="*/ 0 w 166"/>
                  <a:gd name="T29" fmla="*/ 122 h 150"/>
                  <a:gd name="T30" fmla="*/ 0 w 166"/>
                  <a:gd name="T31" fmla="*/ 123 h 150"/>
                  <a:gd name="T32" fmla="*/ 75 w 166"/>
                  <a:gd name="T3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50">
                    <a:moveTo>
                      <a:pt x="75" y="150"/>
                    </a:moveTo>
                    <a:cubicBezTo>
                      <a:pt x="91" y="150"/>
                      <a:pt x="91" y="150"/>
                      <a:pt x="91" y="150"/>
                    </a:cubicBezTo>
                    <a:cubicBezTo>
                      <a:pt x="150" y="150"/>
                      <a:pt x="163" y="132"/>
                      <a:pt x="166" y="125"/>
                    </a:cubicBezTo>
                    <a:cubicBezTo>
                      <a:pt x="166" y="123"/>
                      <a:pt x="166" y="122"/>
                      <a:pt x="166" y="122"/>
                    </a:cubicBezTo>
                    <a:cubicBezTo>
                      <a:pt x="166" y="122"/>
                      <a:pt x="166" y="113"/>
                      <a:pt x="166" y="59"/>
                    </a:cubicBezTo>
                    <a:cubicBezTo>
                      <a:pt x="166" y="22"/>
                      <a:pt x="130" y="6"/>
                      <a:pt x="108" y="0"/>
                    </a:cubicBezTo>
                    <a:cubicBezTo>
                      <a:pt x="108" y="0"/>
                      <a:pt x="108" y="0"/>
                      <a:pt x="108" y="0"/>
                    </a:cubicBezTo>
                    <a:cubicBezTo>
                      <a:pt x="83" y="10"/>
                      <a:pt x="83" y="10"/>
                      <a:pt x="83" y="10"/>
                    </a:cubicBezTo>
                    <a:cubicBezTo>
                      <a:pt x="102" y="82"/>
                      <a:pt x="102" y="82"/>
                      <a:pt x="102" y="82"/>
                    </a:cubicBezTo>
                    <a:cubicBezTo>
                      <a:pt x="83" y="111"/>
                      <a:pt x="83" y="111"/>
                      <a:pt x="83" y="111"/>
                    </a:cubicBezTo>
                    <a:cubicBezTo>
                      <a:pt x="63" y="82"/>
                      <a:pt x="63" y="82"/>
                      <a:pt x="63" y="82"/>
                    </a:cubicBezTo>
                    <a:cubicBezTo>
                      <a:pt x="83" y="10"/>
                      <a:pt x="83" y="10"/>
                      <a:pt x="83" y="10"/>
                    </a:cubicBezTo>
                    <a:cubicBezTo>
                      <a:pt x="58" y="0"/>
                      <a:pt x="58" y="0"/>
                      <a:pt x="58" y="0"/>
                    </a:cubicBezTo>
                    <a:cubicBezTo>
                      <a:pt x="36" y="6"/>
                      <a:pt x="0" y="22"/>
                      <a:pt x="0" y="59"/>
                    </a:cubicBezTo>
                    <a:cubicBezTo>
                      <a:pt x="0" y="113"/>
                      <a:pt x="0" y="122"/>
                      <a:pt x="0" y="122"/>
                    </a:cubicBezTo>
                    <a:cubicBezTo>
                      <a:pt x="0" y="122"/>
                      <a:pt x="0" y="123"/>
                      <a:pt x="0" y="123"/>
                    </a:cubicBezTo>
                    <a:cubicBezTo>
                      <a:pt x="1" y="127"/>
                      <a:pt x="9" y="150"/>
                      <a:pt x="75" y="150"/>
                    </a:cubicBezTo>
                    <a:close/>
                  </a:path>
                </a:pathLst>
              </a:custGeom>
              <a:solidFill>
                <a:srgbClr val="84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4" name="Oval 427"/>
              <p:cNvSpPr>
                <a:spLocks noChangeArrowheads="1"/>
              </p:cNvSpPr>
              <p:nvPr/>
            </p:nvSpPr>
            <p:spPr bwMode="auto">
              <a:xfrm>
                <a:off x="1301951" y="3959521"/>
                <a:ext cx="143535" cy="167337"/>
              </a:xfrm>
              <a:prstGeom prst="ellipse">
                <a:avLst/>
              </a:prstGeom>
              <a:solidFill>
                <a:srgbClr val="84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5" name="Freeform 428"/>
              <p:cNvSpPr/>
              <p:nvPr/>
            </p:nvSpPr>
            <p:spPr bwMode="auto">
              <a:xfrm>
                <a:off x="1000456" y="4253081"/>
                <a:ext cx="219990" cy="297889"/>
              </a:xfrm>
              <a:custGeom>
                <a:avLst/>
                <a:gdLst>
                  <a:gd name="T0" fmla="*/ 129 w 129"/>
                  <a:gd name="T1" fmla="*/ 138 h 175"/>
                  <a:gd name="T2" fmla="*/ 129 w 129"/>
                  <a:gd name="T3" fmla="*/ 89 h 175"/>
                  <a:gd name="T4" fmla="*/ 121 w 129"/>
                  <a:gd name="T5" fmla="*/ 58 h 175"/>
                  <a:gd name="T6" fmla="*/ 65 w 129"/>
                  <a:gd name="T7" fmla="*/ 3 h 175"/>
                  <a:gd name="T8" fmla="*/ 116 w 129"/>
                  <a:gd name="T9" fmla="*/ 78 h 175"/>
                  <a:gd name="T10" fmla="*/ 116 w 129"/>
                  <a:gd name="T11" fmla="*/ 113 h 175"/>
                  <a:gd name="T12" fmla="*/ 78 w 129"/>
                  <a:gd name="T13" fmla="*/ 89 h 175"/>
                  <a:gd name="T14" fmla="*/ 65 w 129"/>
                  <a:gd name="T15" fmla="*/ 3 h 175"/>
                  <a:gd name="T16" fmla="*/ 0 w 129"/>
                  <a:gd name="T17" fmla="*/ 45 h 175"/>
                  <a:gd name="T18" fmla="*/ 0 w 129"/>
                  <a:gd name="T19" fmla="*/ 149 h 175"/>
                  <a:gd name="T20" fmla="*/ 65 w 129"/>
                  <a:gd name="T21" fmla="*/ 175 h 175"/>
                  <a:gd name="T22" fmla="*/ 122 w 129"/>
                  <a:gd name="T23" fmla="*/ 161 h 175"/>
                  <a:gd name="T24" fmla="*/ 129 w 129"/>
                  <a:gd name="T25" fmla="*/ 13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75">
                    <a:moveTo>
                      <a:pt x="129" y="138"/>
                    </a:moveTo>
                    <a:cubicBezTo>
                      <a:pt x="129" y="117"/>
                      <a:pt x="129" y="89"/>
                      <a:pt x="129" y="89"/>
                    </a:cubicBezTo>
                    <a:cubicBezTo>
                      <a:pt x="129" y="89"/>
                      <a:pt x="127" y="75"/>
                      <a:pt x="121" y="58"/>
                    </a:cubicBezTo>
                    <a:cubicBezTo>
                      <a:pt x="112" y="33"/>
                      <a:pt x="95" y="3"/>
                      <a:pt x="65" y="3"/>
                    </a:cubicBezTo>
                    <a:cubicBezTo>
                      <a:pt x="116" y="78"/>
                      <a:pt x="116" y="78"/>
                      <a:pt x="116" y="78"/>
                    </a:cubicBezTo>
                    <a:cubicBezTo>
                      <a:pt x="116" y="113"/>
                      <a:pt x="116" y="113"/>
                      <a:pt x="116" y="113"/>
                    </a:cubicBezTo>
                    <a:cubicBezTo>
                      <a:pt x="78" y="89"/>
                      <a:pt x="78" y="89"/>
                      <a:pt x="78" y="89"/>
                    </a:cubicBezTo>
                    <a:cubicBezTo>
                      <a:pt x="65" y="3"/>
                      <a:pt x="65" y="3"/>
                      <a:pt x="65" y="3"/>
                    </a:cubicBezTo>
                    <a:cubicBezTo>
                      <a:pt x="65" y="3"/>
                      <a:pt x="0" y="0"/>
                      <a:pt x="0" y="45"/>
                    </a:cubicBezTo>
                    <a:cubicBezTo>
                      <a:pt x="0" y="90"/>
                      <a:pt x="0" y="149"/>
                      <a:pt x="0" y="149"/>
                    </a:cubicBezTo>
                    <a:cubicBezTo>
                      <a:pt x="0" y="149"/>
                      <a:pt x="8" y="175"/>
                      <a:pt x="65" y="175"/>
                    </a:cubicBezTo>
                    <a:cubicBezTo>
                      <a:pt x="97" y="175"/>
                      <a:pt x="114" y="170"/>
                      <a:pt x="122" y="161"/>
                    </a:cubicBezTo>
                    <a:cubicBezTo>
                      <a:pt x="128" y="155"/>
                      <a:pt x="129" y="147"/>
                      <a:pt x="129" y="1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6" name="Oval 429"/>
              <p:cNvSpPr>
                <a:spLocks noChangeArrowheads="1"/>
              </p:cNvSpPr>
              <p:nvPr/>
            </p:nvSpPr>
            <p:spPr bwMode="auto">
              <a:xfrm>
                <a:off x="1011996" y="4044631"/>
                <a:ext cx="173829" cy="2034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sp>
          <p:nvSpPr>
            <p:cNvPr id="9" name="椭圆 8"/>
            <p:cNvSpPr/>
            <p:nvPr/>
          </p:nvSpPr>
          <p:spPr>
            <a:xfrm>
              <a:off x="2207349" y="2125149"/>
              <a:ext cx="1269736" cy="1269736"/>
            </a:xfrm>
            <a:prstGeom prst="ellipse">
              <a:avLst/>
            </a:prstGeom>
            <a:noFill/>
            <a:ln w="6350">
              <a:gradFill>
                <a:gsLst>
                  <a:gs pos="0">
                    <a:srgbClr val="05DAE3"/>
                  </a:gs>
                  <a:gs pos="58000">
                    <a:srgbClr val="22B9FE"/>
                  </a:gs>
                  <a:gs pos="83000">
                    <a:srgbClr val="05DAE3"/>
                  </a:gs>
                  <a:gs pos="100000">
                    <a:srgbClr val="22B9FE">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pSp>
      <p:sp>
        <p:nvSpPr>
          <p:cNvPr id="17" name="文本框 16"/>
          <p:cNvSpPr txBox="1"/>
          <p:nvPr/>
        </p:nvSpPr>
        <p:spPr>
          <a:xfrm>
            <a:off x="8771199" y="2205303"/>
            <a:ext cx="2544627" cy="1061829"/>
          </a:xfrm>
          <a:prstGeom prst="rect">
            <a:avLst/>
          </a:prstGeom>
          <a:noFill/>
        </p:spPr>
        <p:txBody>
          <a:bodyPr wrap="square" rtlCol="0">
            <a:spAutoFit/>
          </a:bodyPr>
          <a:lstStyle/>
          <a:p>
            <a:pPr lvl="0">
              <a:lnSpc>
                <a:spcPct val="150000"/>
              </a:lnSpc>
              <a:defRPr/>
            </a:pPr>
            <a:r>
              <a:rPr lang="zh-CN" altLang="en-US" sz="1050" kern="0" dirty="0">
                <a:solidFill>
                  <a:schemeClr val="bg1">
                    <a:lumMod val="85000"/>
                  </a:schemeClr>
                </a:solidFill>
                <a:cs typeface="+mn-ea"/>
                <a:sym typeface="+mn-lt"/>
              </a:rPr>
              <a:t>请替换文字内容，修改文字内容，也可以直接复制你的内容到此。请替换文字内容，修改文字内容，也可以直接复制你的内容到此请替换文字内容</a:t>
            </a:r>
          </a:p>
        </p:txBody>
      </p:sp>
      <p:cxnSp>
        <p:nvCxnSpPr>
          <p:cNvPr id="18" name="直接连接符 17"/>
          <p:cNvCxnSpPr/>
          <p:nvPr/>
        </p:nvCxnSpPr>
        <p:spPr>
          <a:xfrm>
            <a:off x="8847320" y="4069331"/>
            <a:ext cx="134193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文本框 18"/>
          <p:cNvSpPr txBox="1"/>
          <p:nvPr/>
        </p:nvSpPr>
        <p:spPr>
          <a:xfrm>
            <a:off x="8623212" y="3663343"/>
            <a:ext cx="1826260" cy="338554"/>
          </a:xfrm>
          <a:prstGeom prst="rect">
            <a:avLst/>
          </a:prstGeom>
          <a:noFill/>
        </p:spPr>
        <p:txBody>
          <a:bodyPr wrap="square" rtlCol="0">
            <a:spAutoFit/>
          </a:bodyPr>
          <a:lstStyle/>
          <a:p>
            <a:r>
              <a:rPr lang="zh-CN" altLang="en-US" sz="1600" b="1" spc="200" dirty="0">
                <a:solidFill>
                  <a:srgbClr val="84FFFF"/>
                </a:solidFill>
                <a:cs typeface="+mn-ea"/>
                <a:sym typeface="+mn-lt"/>
              </a:rPr>
              <a:t>「</a:t>
            </a:r>
            <a:r>
              <a:rPr lang="zh-CN" altLang="en-US" sz="1600" b="1" spc="200" dirty="0">
                <a:ln w="3175">
                  <a:noFill/>
                </a:ln>
                <a:solidFill>
                  <a:srgbClr val="84FFFF"/>
                </a:solidFill>
                <a:cs typeface="+mn-ea"/>
                <a:sym typeface="+mn-lt"/>
              </a:rPr>
              <a:t>标题在此</a:t>
            </a:r>
            <a:r>
              <a:rPr lang="en-US" altLang="zh-CN" sz="1600" b="1" spc="200" dirty="0">
                <a:ln w="3175">
                  <a:noFill/>
                </a:ln>
                <a:solidFill>
                  <a:srgbClr val="84FFFF"/>
                </a:solidFill>
                <a:cs typeface="+mn-ea"/>
                <a:sym typeface="+mn-lt"/>
              </a:rPr>
              <a:t>A</a:t>
            </a:r>
            <a:r>
              <a:rPr lang="zh-CN" altLang="en-US" sz="1600" b="1" spc="200" dirty="0">
                <a:solidFill>
                  <a:srgbClr val="84FFFF"/>
                </a:solidFill>
                <a:cs typeface="+mn-ea"/>
                <a:sym typeface="+mn-lt"/>
              </a:rPr>
              <a:t>」</a:t>
            </a:r>
          </a:p>
        </p:txBody>
      </p:sp>
      <p:sp>
        <p:nvSpPr>
          <p:cNvPr id="20" name="文本框 19"/>
          <p:cNvSpPr txBox="1"/>
          <p:nvPr/>
        </p:nvSpPr>
        <p:spPr>
          <a:xfrm>
            <a:off x="8746638" y="4136766"/>
            <a:ext cx="2467461" cy="1061829"/>
          </a:xfrm>
          <a:prstGeom prst="rect">
            <a:avLst/>
          </a:prstGeom>
          <a:noFill/>
        </p:spPr>
        <p:txBody>
          <a:bodyPr wrap="square" rtlCol="0">
            <a:spAutoFit/>
          </a:bodyPr>
          <a:lstStyle/>
          <a:p>
            <a:pPr lvl="0">
              <a:lnSpc>
                <a:spcPct val="150000"/>
              </a:lnSpc>
              <a:defRPr/>
            </a:pPr>
            <a:r>
              <a:rPr lang="zh-CN" altLang="en-US" sz="1050" kern="0" dirty="0">
                <a:solidFill>
                  <a:schemeClr val="bg1">
                    <a:lumMod val="85000"/>
                  </a:schemeClr>
                </a:solidFill>
                <a:cs typeface="+mn-ea"/>
                <a:sym typeface="+mn-lt"/>
              </a:rPr>
              <a:t>请替换文字内容，修改文字内容，也可以直接复制你的内容到此。请替换文字内容，修改文字内容，也可以直接复制你的内容到此请</a:t>
            </a:r>
          </a:p>
        </p:txBody>
      </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500" fill="hold"/>
                                        <p:tgtEl>
                                          <p:spTgt spid="5"/>
                                        </p:tgtEl>
                                        <p:attrNameLst>
                                          <p:attrName>ppt_x</p:attrName>
                                        </p:attrNameLst>
                                      </p:cBhvr>
                                      <p:tavLst>
                                        <p:tav tm="0">
                                          <p:val>
                                            <p:strVal val="#ppt_x"/>
                                          </p:val>
                                        </p:tav>
                                        <p:tav tm="100000">
                                          <p:val>
                                            <p:strVal val="#ppt_x"/>
                                          </p:val>
                                        </p:tav>
                                      </p:tavLst>
                                    </p:anim>
                                    <p:anim calcmode="lin" valueType="num">
                                      <p:cBhvr additive="base">
                                        <p:cTn id="8" dur="1500" fill="hold"/>
                                        <p:tgtEl>
                                          <p:spTgt spid="5"/>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par>
                          <p:cTn id="16" fill="hold">
                            <p:stCondLst>
                              <p:cond delay="0"/>
                            </p:stCondLst>
                            <p:childTnLst>
                              <p:par>
                                <p:cTn id="17" presetID="42" presetClass="entr" presetSubtype="0" fill="hold" grpId="0" nodeType="afterEffect">
                                  <p:stCondLst>
                                    <p:cond delay="0"/>
                                  </p:stCondLst>
                                  <p:childTnLst>
                                    <p:set>
                                      <p:cBhvr>
                                        <p:cTn id="18" dur="1" fill="hold">
                                          <p:stCondLst>
                                            <p:cond delay="0"/>
                                          </p:stCondLst>
                                        </p:cTn>
                                        <p:tgtEl>
                                          <p:spTgt spid="4">
                                            <p:graphicEl>
                                              <a:chart seriesIdx="-3" categoryIdx="-3" bldStep="gridLegend"/>
                                            </p:graphicEl>
                                          </p:spTgt>
                                        </p:tgtEl>
                                        <p:attrNameLst>
                                          <p:attrName>style.visibility</p:attrName>
                                        </p:attrNameLst>
                                      </p:cBhvr>
                                      <p:to>
                                        <p:strVal val="visible"/>
                                      </p:to>
                                    </p:set>
                                    <p:animEffect transition="in" filter="fade">
                                      <p:cBhvr>
                                        <p:cTn id="19" dur="1000"/>
                                        <p:tgtEl>
                                          <p:spTgt spid="4">
                                            <p:graphicEl>
                                              <a:chart seriesIdx="-3" categoryIdx="-3" bldStep="gridLegend"/>
                                            </p:graphicEl>
                                          </p:spTgt>
                                        </p:tgtEl>
                                      </p:cBhvr>
                                    </p:animEffect>
                                    <p:anim calcmode="lin" valueType="num">
                                      <p:cBhvr>
                                        <p:cTn id="20" dur="1000" fill="hold"/>
                                        <p:tgtEl>
                                          <p:spTgt spid="4">
                                            <p:graphicEl>
                                              <a:chart seriesIdx="-3" categoryIdx="-3" bldStep="gridLegend"/>
                                            </p:graphicEl>
                                          </p:spTgt>
                                        </p:tgtEl>
                                        <p:attrNameLst>
                                          <p:attrName>ppt_x</p:attrName>
                                        </p:attrNameLst>
                                      </p:cBhvr>
                                      <p:tavLst>
                                        <p:tav tm="0">
                                          <p:val>
                                            <p:strVal val="#ppt_x"/>
                                          </p:val>
                                        </p:tav>
                                        <p:tav tm="100000">
                                          <p:val>
                                            <p:strVal val="#ppt_x"/>
                                          </p:val>
                                        </p:tav>
                                      </p:tavLst>
                                    </p:anim>
                                    <p:anim calcmode="lin" valueType="num">
                                      <p:cBhvr>
                                        <p:cTn id="21" dur="1000" fill="hold"/>
                                        <p:tgtEl>
                                          <p:spTgt spid="4">
                                            <p:graphicEl>
                                              <a:chart seriesIdx="-3" categoryIdx="-3" bldStep="gridLegend"/>
                                            </p:graphicEl>
                                          </p:spTgt>
                                        </p:tgtEl>
                                        <p:attrNameLst>
                                          <p:attrName>ppt_y</p:attrName>
                                        </p:attrNameLst>
                                      </p:cBhvr>
                                      <p:tavLst>
                                        <p:tav tm="0">
                                          <p:val>
                                            <p:strVal val="#ppt_y+.1"/>
                                          </p:val>
                                        </p:tav>
                                        <p:tav tm="100000">
                                          <p:val>
                                            <p:strVal val="#ppt_y"/>
                                          </p:val>
                                        </p:tav>
                                      </p:tavLst>
                                    </p:anim>
                                  </p:childTnLst>
                                </p:cTn>
                              </p:par>
                              <p:par>
                                <p:cTn id="22" presetID="42" presetClass="entr" presetSubtype="0" fill="hold" grpId="0" nodeType="withEffect">
                                  <p:stCondLst>
                                    <p:cond delay="300"/>
                                  </p:stCondLst>
                                  <p:childTnLst>
                                    <p:set>
                                      <p:cBhvr>
                                        <p:cTn id="23" dur="1" fill="hold">
                                          <p:stCondLst>
                                            <p:cond delay="0"/>
                                          </p:stCondLst>
                                        </p:cTn>
                                        <p:tgtEl>
                                          <p:spTgt spid="4">
                                            <p:graphicEl>
                                              <a:chart seriesIdx="0" categoryIdx="0" bldStep="ptInSeries"/>
                                            </p:graphicEl>
                                          </p:spTgt>
                                        </p:tgtEl>
                                        <p:attrNameLst>
                                          <p:attrName>style.visibility</p:attrName>
                                        </p:attrNameLst>
                                      </p:cBhvr>
                                      <p:to>
                                        <p:strVal val="visible"/>
                                      </p:to>
                                    </p:set>
                                    <p:animEffect transition="in" filter="fade">
                                      <p:cBhvr>
                                        <p:cTn id="24" dur="1000"/>
                                        <p:tgtEl>
                                          <p:spTgt spid="4">
                                            <p:graphicEl>
                                              <a:chart seriesIdx="0" categoryIdx="0" bldStep="ptInSeries"/>
                                            </p:graphicEl>
                                          </p:spTgt>
                                        </p:tgtEl>
                                      </p:cBhvr>
                                    </p:animEffect>
                                    <p:anim calcmode="lin" valueType="num">
                                      <p:cBhvr>
                                        <p:cTn id="25" dur="1000" fill="hold"/>
                                        <p:tgtEl>
                                          <p:spTgt spid="4">
                                            <p:graphicEl>
                                              <a:chart seriesIdx="0" categoryIdx="0" bldStep="ptInSeries"/>
                                            </p:graphicEl>
                                          </p:spTgt>
                                        </p:tgtEl>
                                        <p:attrNameLst>
                                          <p:attrName>ppt_x</p:attrName>
                                        </p:attrNameLst>
                                      </p:cBhvr>
                                      <p:tavLst>
                                        <p:tav tm="0">
                                          <p:val>
                                            <p:strVal val="#ppt_x"/>
                                          </p:val>
                                        </p:tav>
                                        <p:tav tm="100000">
                                          <p:val>
                                            <p:strVal val="#ppt_x"/>
                                          </p:val>
                                        </p:tav>
                                      </p:tavLst>
                                    </p:anim>
                                    <p:anim calcmode="lin" valueType="num">
                                      <p:cBhvr>
                                        <p:cTn id="26" dur="1000" fill="hold"/>
                                        <p:tgtEl>
                                          <p:spTgt spid="4">
                                            <p:graphicEl>
                                              <a:chart seriesIdx="0" categoryIdx="0" bldStep="ptInSeries"/>
                                            </p:graphicEl>
                                          </p:spTgt>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600"/>
                                  </p:stCondLst>
                                  <p:childTnLst>
                                    <p:set>
                                      <p:cBhvr>
                                        <p:cTn id="28" dur="1" fill="hold">
                                          <p:stCondLst>
                                            <p:cond delay="0"/>
                                          </p:stCondLst>
                                        </p:cTn>
                                        <p:tgtEl>
                                          <p:spTgt spid="4">
                                            <p:graphicEl>
                                              <a:chart seriesIdx="0" categoryIdx="1" bldStep="ptInSeries"/>
                                            </p:graphicEl>
                                          </p:spTgt>
                                        </p:tgtEl>
                                        <p:attrNameLst>
                                          <p:attrName>style.visibility</p:attrName>
                                        </p:attrNameLst>
                                      </p:cBhvr>
                                      <p:to>
                                        <p:strVal val="visible"/>
                                      </p:to>
                                    </p:set>
                                    <p:animEffect transition="in" filter="fade">
                                      <p:cBhvr>
                                        <p:cTn id="29" dur="1000"/>
                                        <p:tgtEl>
                                          <p:spTgt spid="4">
                                            <p:graphicEl>
                                              <a:chart seriesIdx="0" categoryIdx="1" bldStep="ptInSeries"/>
                                            </p:graphicEl>
                                          </p:spTgt>
                                        </p:tgtEl>
                                      </p:cBhvr>
                                    </p:animEffect>
                                    <p:anim calcmode="lin" valueType="num">
                                      <p:cBhvr>
                                        <p:cTn id="30" dur="1000" fill="hold"/>
                                        <p:tgtEl>
                                          <p:spTgt spid="4">
                                            <p:graphicEl>
                                              <a:chart seriesIdx="0" categoryIdx="1" bldStep="ptInSeries"/>
                                            </p:graphicEl>
                                          </p:spTgt>
                                        </p:tgtEl>
                                        <p:attrNameLst>
                                          <p:attrName>ppt_x</p:attrName>
                                        </p:attrNameLst>
                                      </p:cBhvr>
                                      <p:tavLst>
                                        <p:tav tm="0">
                                          <p:val>
                                            <p:strVal val="#ppt_x"/>
                                          </p:val>
                                        </p:tav>
                                        <p:tav tm="100000">
                                          <p:val>
                                            <p:strVal val="#ppt_x"/>
                                          </p:val>
                                        </p:tav>
                                      </p:tavLst>
                                    </p:anim>
                                    <p:anim calcmode="lin" valueType="num">
                                      <p:cBhvr>
                                        <p:cTn id="31" dur="1000" fill="hold"/>
                                        <p:tgtEl>
                                          <p:spTgt spid="4">
                                            <p:graphicEl>
                                              <a:chart seriesIdx="0" categoryIdx="1" bldStep="ptInSeries"/>
                                            </p:graphicEl>
                                          </p:spTgt>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900"/>
                                  </p:stCondLst>
                                  <p:childTnLst>
                                    <p:set>
                                      <p:cBhvr>
                                        <p:cTn id="33" dur="1" fill="hold">
                                          <p:stCondLst>
                                            <p:cond delay="0"/>
                                          </p:stCondLst>
                                        </p:cTn>
                                        <p:tgtEl>
                                          <p:spTgt spid="4">
                                            <p:graphicEl>
                                              <a:chart seriesIdx="0" categoryIdx="2" bldStep="ptInSeries"/>
                                            </p:graphicEl>
                                          </p:spTgt>
                                        </p:tgtEl>
                                        <p:attrNameLst>
                                          <p:attrName>style.visibility</p:attrName>
                                        </p:attrNameLst>
                                      </p:cBhvr>
                                      <p:to>
                                        <p:strVal val="visible"/>
                                      </p:to>
                                    </p:set>
                                    <p:animEffect transition="in" filter="fade">
                                      <p:cBhvr>
                                        <p:cTn id="34" dur="1000"/>
                                        <p:tgtEl>
                                          <p:spTgt spid="4">
                                            <p:graphicEl>
                                              <a:chart seriesIdx="0" categoryIdx="2" bldStep="ptInSeries"/>
                                            </p:graphicEl>
                                          </p:spTgt>
                                        </p:tgtEl>
                                      </p:cBhvr>
                                    </p:animEffect>
                                    <p:anim calcmode="lin" valueType="num">
                                      <p:cBhvr>
                                        <p:cTn id="35" dur="1000" fill="hold"/>
                                        <p:tgtEl>
                                          <p:spTgt spid="4">
                                            <p:graphicEl>
                                              <a:chart seriesIdx="0" categoryIdx="2" bldStep="ptInSeries"/>
                                            </p:graphicEl>
                                          </p:spTgt>
                                        </p:tgtEl>
                                        <p:attrNameLst>
                                          <p:attrName>ppt_x</p:attrName>
                                        </p:attrNameLst>
                                      </p:cBhvr>
                                      <p:tavLst>
                                        <p:tav tm="0">
                                          <p:val>
                                            <p:strVal val="#ppt_x"/>
                                          </p:val>
                                        </p:tav>
                                        <p:tav tm="100000">
                                          <p:val>
                                            <p:strVal val="#ppt_x"/>
                                          </p:val>
                                        </p:tav>
                                      </p:tavLst>
                                    </p:anim>
                                    <p:anim calcmode="lin" valueType="num">
                                      <p:cBhvr>
                                        <p:cTn id="36" dur="1000" fill="hold"/>
                                        <p:tgtEl>
                                          <p:spTgt spid="4">
                                            <p:graphicEl>
                                              <a:chart seriesIdx="0" categoryIdx="2" bldStep="ptInSeries"/>
                                            </p:graphicEl>
                                          </p:spTgt>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1200"/>
                                  </p:stCondLst>
                                  <p:childTnLst>
                                    <p:set>
                                      <p:cBhvr>
                                        <p:cTn id="38" dur="1" fill="hold">
                                          <p:stCondLst>
                                            <p:cond delay="0"/>
                                          </p:stCondLst>
                                        </p:cTn>
                                        <p:tgtEl>
                                          <p:spTgt spid="4">
                                            <p:graphicEl>
                                              <a:chart seriesIdx="0" categoryIdx="3" bldStep="ptInSeries"/>
                                            </p:graphicEl>
                                          </p:spTgt>
                                        </p:tgtEl>
                                        <p:attrNameLst>
                                          <p:attrName>style.visibility</p:attrName>
                                        </p:attrNameLst>
                                      </p:cBhvr>
                                      <p:to>
                                        <p:strVal val="visible"/>
                                      </p:to>
                                    </p:set>
                                    <p:animEffect transition="in" filter="fade">
                                      <p:cBhvr>
                                        <p:cTn id="39" dur="1000"/>
                                        <p:tgtEl>
                                          <p:spTgt spid="4">
                                            <p:graphicEl>
                                              <a:chart seriesIdx="0" categoryIdx="3" bldStep="ptInSeries"/>
                                            </p:graphicEl>
                                          </p:spTgt>
                                        </p:tgtEl>
                                      </p:cBhvr>
                                    </p:animEffect>
                                    <p:anim calcmode="lin" valueType="num">
                                      <p:cBhvr>
                                        <p:cTn id="40" dur="1000" fill="hold"/>
                                        <p:tgtEl>
                                          <p:spTgt spid="4">
                                            <p:graphicEl>
                                              <a:chart seriesIdx="0" categoryIdx="3" bldStep="ptInSeries"/>
                                            </p:graphicEl>
                                          </p:spTgt>
                                        </p:tgtEl>
                                        <p:attrNameLst>
                                          <p:attrName>ppt_x</p:attrName>
                                        </p:attrNameLst>
                                      </p:cBhvr>
                                      <p:tavLst>
                                        <p:tav tm="0">
                                          <p:val>
                                            <p:strVal val="#ppt_x"/>
                                          </p:val>
                                        </p:tav>
                                        <p:tav tm="100000">
                                          <p:val>
                                            <p:strVal val="#ppt_x"/>
                                          </p:val>
                                        </p:tav>
                                      </p:tavLst>
                                    </p:anim>
                                    <p:anim calcmode="lin" valueType="num">
                                      <p:cBhvr>
                                        <p:cTn id="41" dur="1000" fill="hold"/>
                                        <p:tgtEl>
                                          <p:spTgt spid="4">
                                            <p:graphicEl>
                                              <a:chart seriesIdx="0" categoryIdx="3" bldStep="ptInSeries"/>
                                            </p:graphicEl>
                                          </p:spTgt>
                                        </p:tgtEl>
                                        <p:attrNameLst>
                                          <p:attrName>ppt_y</p:attrName>
                                        </p:attrNameLst>
                                      </p:cBhvr>
                                      <p:tavLst>
                                        <p:tav tm="0">
                                          <p:val>
                                            <p:strVal val="#ppt_y+.1"/>
                                          </p:val>
                                        </p:tav>
                                        <p:tav tm="100000">
                                          <p:val>
                                            <p:strVal val="#ppt_y"/>
                                          </p:val>
                                        </p:tav>
                                      </p:tavLst>
                                    </p:anim>
                                  </p:childTnLst>
                                </p:cTn>
                              </p:par>
                            </p:childTnLst>
                          </p:cTn>
                        </p:par>
                        <p:par>
                          <p:cTn id="42" fill="hold">
                            <p:stCondLst>
                              <p:cond delay="1000"/>
                            </p:stCondLst>
                            <p:childTnLst>
                              <p:par>
                                <p:cTn id="43" presetID="49" presetClass="entr" presetSubtype="0" decel="100000" fill="hold" nodeType="afterEffect">
                                  <p:stCondLst>
                                    <p:cond delay="0"/>
                                  </p:stCondLst>
                                  <p:childTnLst>
                                    <p:set>
                                      <p:cBhvr>
                                        <p:cTn id="44" dur="1" fill="hold">
                                          <p:stCondLst>
                                            <p:cond delay="0"/>
                                          </p:stCondLst>
                                        </p:cTn>
                                        <p:tgtEl>
                                          <p:spTgt spid="7"/>
                                        </p:tgtEl>
                                        <p:attrNameLst>
                                          <p:attrName>style.visibility</p:attrName>
                                        </p:attrNameLst>
                                      </p:cBhvr>
                                      <p:to>
                                        <p:strVal val="visible"/>
                                      </p:to>
                                    </p:set>
                                    <p:anim calcmode="lin" valueType="num">
                                      <p:cBhvr>
                                        <p:cTn id="45" dur="500" fill="hold"/>
                                        <p:tgtEl>
                                          <p:spTgt spid="7"/>
                                        </p:tgtEl>
                                        <p:attrNameLst>
                                          <p:attrName>ppt_w</p:attrName>
                                        </p:attrNameLst>
                                      </p:cBhvr>
                                      <p:tavLst>
                                        <p:tav tm="0">
                                          <p:val>
                                            <p:fltVal val="0"/>
                                          </p:val>
                                        </p:tav>
                                        <p:tav tm="100000">
                                          <p:val>
                                            <p:strVal val="#ppt_w"/>
                                          </p:val>
                                        </p:tav>
                                      </p:tavLst>
                                    </p:anim>
                                    <p:anim calcmode="lin" valueType="num">
                                      <p:cBhvr>
                                        <p:cTn id="46" dur="500" fill="hold"/>
                                        <p:tgtEl>
                                          <p:spTgt spid="7"/>
                                        </p:tgtEl>
                                        <p:attrNameLst>
                                          <p:attrName>ppt_h</p:attrName>
                                        </p:attrNameLst>
                                      </p:cBhvr>
                                      <p:tavLst>
                                        <p:tav tm="0">
                                          <p:val>
                                            <p:fltVal val="0"/>
                                          </p:val>
                                        </p:tav>
                                        <p:tav tm="100000">
                                          <p:val>
                                            <p:strVal val="#ppt_h"/>
                                          </p:val>
                                        </p:tav>
                                      </p:tavLst>
                                    </p:anim>
                                    <p:anim calcmode="lin" valueType="num">
                                      <p:cBhvr>
                                        <p:cTn id="47" dur="500" fill="hold"/>
                                        <p:tgtEl>
                                          <p:spTgt spid="7"/>
                                        </p:tgtEl>
                                        <p:attrNameLst>
                                          <p:attrName>style.rotation</p:attrName>
                                        </p:attrNameLst>
                                      </p:cBhvr>
                                      <p:tavLst>
                                        <p:tav tm="0">
                                          <p:val>
                                            <p:fltVal val="360"/>
                                          </p:val>
                                        </p:tav>
                                        <p:tav tm="100000">
                                          <p:val>
                                            <p:fltVal val="0"/>
                                          </p:val>
                                        </p:tav>
                                      </p:tavLst>
                                    </p:anim>
                                    <p:animEffect transition="in" filter="fade">
                                      <p:cBhvr>
                                        <p:cTn id="48" dur="500"/>
                                        <p:tgtEl>
                                          <p:spTgt spid="7"/>
                                        </p:tgtEl>
                                      </p:cBhvr>
                                    </p:animEffect>
                                  </p:childTnLst>
                                </p:cTn>
                              </p:par>
                              <p:par>
                                <p:cTn id="49" presetID="10" presetClass="entr" presetSubtype="0" fill="hold" grpId="0" nodeType="withEffect">
                                  <p:stCondLst>
                                    <p:cond delay="0"/>
                                  </p:stCondLst>
                                  <p:iterate type="lt">
                                    <p:tmPct val="4935"/>
                                  </p:iterate>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childTnLst>
                          </p:cTn>
                        </p:par>
                        <p:par>
                          <p:cTn id="52" fill="hold">
                            <p:stCondLst>
                              <p:cond delay="4254"/>
                            </p:stCondLst>
                            <p:childTnLst>
                              <p:par>
                                <p:cTn id="53" presetID="49" presetClass="entr" presetSubtype="0" decel="100000" fill="hold" grpId="0" nodeType="afterEffect">
                                  <p:stCondLst>
                                    <p:cond delay="0"/>
                                  </p:stCondLst>
                                  <p:iterate type="lt">
                                    <p:tmPct val="20000"/>
                                  </p:iterate>
                                  <p:childTnLst>
                                    <p:set>
                                      <p:cBhvr>
                                        <p:cTn id="54" dur="1" fill="hold">
                                          <p:stCondLst>
                                            <p:cond delay="0"/>
                                          </p:stCondLst>
                                        </p:cTn>
                                        <p:tgtEl>
                                          <p:spTgt spid="19"/>
                                        </p:tgtEl>
                                        <p:attrNameLst>
                                          <p:attrName>style.visibility</p:attrName>
                                        </p:attrNameLst>
                                      </p:cBhvr>
                                      <p:to>
                                        <p:strVal val="visible"/>
                                      </p:to>
                                    </p:set>
                                    <p:anim calcmode="lin" valueType="num">
                                      <p:cBhvr>
                                        <p:cTn id="55" dur="500" fill="hold"/>
                                        <p:tgtEl>
                                          <p:spTgt spid="19"/>
                                        </p:tgtEl>
                                        <p:attrNameLst>
                                          <p:attrName>ppt_w</p:attrName>
                                        </p:attrNameLst>
                                      </p:cBhvr>
                                      <p:tavLst>
                                        <p:tav tm="0">
                                          <p:val>
                                            <p:fltVal val="0"/>
                                          </p:val>
                                        </p:tav>
                                        <p:tav tm="100000">
                                          <p:val>
                                            <p:strVal val="#ppt_w"/>
                                          </p:val>
                                        </p:tav>
                                      </p:tavLst>
                                    </p:anim>
                                    <p:anim calcmode="lin" valueType="num">
                                      <p:cBhvr>
                                        <p:cTn id="56" dur="500" fill="hold"/>
                                        <p:tgtEl>
                                          <p:spTgt spid="19"/>
                                        </p:tgtEl>
                                        <p:attrNameLst>
                                          <p:attrName>ppt_h</p:attrName>
                                        </p:attrNameLst>
                                      </p:cBhvr>
                                      <p:tavLst>
                                        <p:tav tm="0">
                                          <p:val>
                                            <p:fltVal val="0"/>
                                          </p:val>
                                        </p:tav>
                                        <p:tav tm="100000">
                                          <p:val>
                                            <p:strVal val="#ppt_h"/>
                                          </p:val>
                                        </p:tav>
                                      </p:tavLst>
                                    </p:anim>
                                    <p:anim calcmode="lin" valueType="num">
                                      <p:cBhvr>
                                        <p:cTn id="57" dur="500" fill="hold"/>
                                        <p:tgtEl>
                                          <p:spTgt spid="19"/>
                                        </p:tgtEl>
                                        <p:attrNameLst>
                                          <p:attrName>style.rotation</p:attrName>
                                        </p:attrNameLst>
                                      </p:cBhvr>
                                      <p:tavLst>
                                        <p:tav tm="0">
                                          <p:val>
                                            <p:fltVal val="360"/>
                                          </p:val>
                                        </p:tav>
                                        <p:tav tm="100000">
                                          <p:val>
                                            <p:fltVal val="0"/>
                                          </p:val>
                                        </p:tav>
                                      </p:tavLst>
                                    </p:anim>
                                    <p:animEffect transition="in" filter="fade">
                                      <p:cBhvr>
                                        <p:cTn id="58" dur="500"/>
                                        <p:tgtEl>
                                          <p:spTgt spid="19"/>
                                        </p:tgtEl>
                                      </p:cBhvr>
                                    </p:animEffect>
                                  </p:childTnLst>
                                </p:cTn>
                              </p:par>
                              <p:par>
                                <p:cTn id="59" presetID="16" presetClass="entr" presetSubtype="21" fill="hold" nodeType="withEffect">
                                  <p:stCondLst>
                                    <p:cond delay="300"/>
                                  </p:stCondLst>
                                  <p:childTnLst>
                                    <p:set>
                                      <p:cBhvr>
                                        <p:cTn id="60" dur="1" fill="hold">
                                          <p:stCondLst>
                                            <p:cond delay="0"/>
                                          </p:stCondLst>
                                        </p:cTn>
                                        <p:tgtEl>
                                          <p:spTgt spid="18"/>
                                        </p:tgtEl>
                                        <p:attrNameLst>
                                          <p:attrName>style.visibility</p:attrName>
                                        </p:attrNameLst>
                                      </p:cBhvr>
                                      <p:to>
                                        <p:strVal val="visible"/>
                                      </p:to>
                                    </p:set>
                                    <p:animEffect transition="in" filter="barn(inVertical)">
                                      <p:cBhvr>
                                        <p:cTn id="61" dur="1000"/>
                                        <p:tgtEl>
                                          <p:spTgt spid="18"/>
                                        </p:tgtEl>
                                      </p:cBhvr>
                                    </p:animEffect>
                                  </p:childTnLst>
                                </p:cTn>
                              </p:par>
                              <p:par>
                                <p:cTn id="62" presetID="10" presetClass="entr" presetSubtype="0" fill="hold" grpId="0" nodeType="withEffect">
                                  <p:stCondLst>
                                    <p:cond delay="800"/>
                                  </p:stCondLst>
                                  <p:iterate type="lt">
                                    <p:tmPct val="3117"/>
                                  </p:iterate>
                                  <p:childTnLst>
                                    <p:set>
                                      <p:cBhvr>
                                        <p:cTn id="63" dur="1" fill="hold">
                                          <p:stCondLst>
                                            <p:cond delay="0"/>
                                          </p:stCondLst>
                                        </p:cTn>
                                        <p:tgtEl>
                                          <p:spTgt spid="20"/>
                                        </p:tgtEl>
                                        <p:attrNameLst>
                                          <p:attrName>style.visibility</p:attrName>
                                        </p:attrNameLst>
                                      </p:cBhvr>
                                      <p:to>
                                        <p:strVal val="visible"/>
                                      </p:to>
                                    </p:set>
                                    <p:animEffect transition="in" filter="fade">
                                      <p:cBhvr>
                                        <p:cTn id="64" dur="500"/>
                                        <p:tgtEl>
                                          <p:spTgt spid="20"/>
                                        </p:tgtEl>
                                      </p:cBhvr>
                                    </p:animEffect>
                                  </p:childTnLst>
                                </p:cTn>
                              </p:par>
                            </p:childTnLst>
                          </p:cTn>
                        </p:par>
                        <p:par>
                          <p:cTn id="65" fill="hold">
                            <p:stCondLst>
                              <p:cond delay="6442"/>
                            </p:stCondLst>
                            <p:childTnLst>
                              <p:par>
                                <p:cTn id="66" presetID="10" presetClass="entr" presetSubtype="0" fill="hold" grpId="0" nodeType="afterEffect">
                                  <p:stCondLst>
                                    <p:cond delay="0"/>
                                  </p:stCondLst>
                                  <p:iterate type="lt">
                                    <p:tmPct val="2604"/>
                                  </p:iterate>
                                  <p:childTnLst>
                                    <p:set>
                                      <p:cBhvr>
                                        <p:cTn id="67" dur="1" fill="hold">
                                          <p:stCondLst>
                                            <p:cond delay="0"/>
                                          </p:stCondLst>
                                        </p:cTn>
                                        <p:tgtEl>
                                          <p:spTgt spid="6"/>
                                        </p:tgtEl>
                                        <p:attrNameLst>
                                          <p:attrName>style.visibility</p:attrName>
                                        </p:attrNameLst>
                                      </p:cBhvr>
                                      <p:to>
                                        <p:strVal val="visible"/>
                                      </p:to>
                                    </p:set>
                                    <p:animEffect transition="in" filter="fade">
                                      <p:cBhvr>
                                        <p:cTn id="68" dur="8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Graphic spid="4" grpId="0" uiExpand="1">
        <p:bldSub>
          <a:bldChart bld="seriesEl"/>
        </p:bldSub>
      </p:bldGraphic>
      <p:bldP spid="6" grpId="0"/>
      <p:bldP spid="17" grpId="0"/>
      <p:bldP spid="19" grpId="0"/>
      <p:bldP spid="2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218757" y="2726968"/>
            <a:ext cx="5225142" cy="2215991"/>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lang="en-US" altLang="zh-CN" sz="13800" kern="3000" dirty="0">
                <a:gradFill>
                  <a:gsLst>
                    <a:gs pos="14000">
                      <a:srgbClr val="00B0F0"/>
                    </a:gs>
                    <a:gs pos="64000">
                      <a:srgbClr val="0BB0AD"/>
                    </a:gs>
                    <a:gs pos="42000">
                      <a:srgbClr val="13FFEC"/>
                    </a:gs>
                  </a:gsLst>
                  <a:lin ang="5400000" scaled="0"/>
                </a:gradFill>
                <a:cs typeface="+mn-ea"/>
                <a:sym typeface="+mn-lt"/>
              </a:rPr>
              <a:t>THA</a:t>
            </a:r>
            <a:endParaRPr kumimoji="0" lang="zh-CN" altLang="en-US" sz="2400" i="0" u="none" strike="noStrike" kern="0" cap="none" normalizeH="0" baseline="0" noProof="0" dirty="0">
              <a:ln>
                <a:noFill/>
              </a:ln>
              <a:gradFill>
                <a:gsLst>
                  <a:gs pos="14000">
                    <a:srgbClr val="00B0F0"/>
                  </a:gs>
                  <a:gs pos="64000">
                    <a:srgbClr val="0BB0AD"/>
                  </a:gs>
                  <a:gs pos="42000">
                    <a:srgbClr val="13FFEC"/>
                  </a:gs>
                </a:gsLst>
                <a:lin ang="5400000" scaled="0"/>
              </a:gradFill>
              <a:effectLst/>
              <a:uLnTx/>
              <a:uFillTx/>
              <a:cs typeface="+mn-ea"/>
              <a:sym typeface="+mn-lt"/>
            </a:endParaRPr>
          </a:p>
        </p:txBody>
      </p:sp>
      <p:pic>
        <p:nvPicPr>
          <p:cNvPr id="14" name="图片 13"/>
          <p:cNvPicPr/>
          <p:nvPr/>
        </p:nvPicPr>
        <p:blipFill rotWithShape="1">
          <a:blip r:embed="rId2" cstate="screen"/>
          <a:srcRect/>
          <a:stretch>
            <a:fillRect/>
          </a:stretch>
        </p:blipFill>
        <p:spPr>
          <a:xfrm>
            <a:off x="3678365" y="1122138"/>
            <a:ext cx="5163589" cy="5490024"/>
          </a:xfrm>
          <a:prstGeom prst="rect">
            <a:avLst/>
          </a:prstGeom>
        </p:spPr>
      </p:pic>
      <p:pic>
        <p:nvPicPr>
          <p:cNvPr id="15" name="图片 14"/>
          <p:cNvPicPr/>
          <p:nvPr/>
        </p:nvPicPr>
        <p:blipFill rotWithShape="1">
          <a:blip r:embed="rId3" cstate="screen"/>
          <a:srcRect/>
          <a:stretch>
            <a:fillRect/>
          </a:stretch>
        </p:blipFill>
        <p:spPr>
          <a:xfrm>
            <a:off x="3678365" y="1122138"/>
            <a:ext cx="5163589" cy="5490024"/>
          </a:xfrm>
          <a:prstGeom prst="rect">
            <a:avLst/>
          </a:prstGeom>
        </p:spPr>
      </p:pic>
      <p:sp>
        <p:nvSpPr>
          <p:cNvPr id="16" name="矩形 15"/>
          <p:cNvSpPr/>
          <p:nvPr/>
        </p:nvSpPr>
        <p:spPr>
          <a:xfrm>
            <a:off x="7566714" y="2726968"/>
            <a:ext cx="3768980" cy="2215991"/>
          </a:xfrm>
          <a:prstGeom prst="rect">
            <a:avLst/>
          </a:prstGeom>
        </p:spPr>
        <p:txBody>
          <a:bodyPr wrap="non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3800" i="0" u="none" strike="noStrike" kern="3000" cap="none" normalizeH="0" baseline="0" noProof="0" dirty="0">
                <a:ln>
                  <a:noFill/>
                </a:ln>
                <a:gradFill flip="none" rotWithShape="1">
                  <a:gsLst>
                    <a:gs pos="78000">
                      <a:srgbClr val="00B0F0">
                        <a:alpha val="0"/>
                      </a:srgbClr>
                    </a:gs>
                    <a:gs pos="13000">
                      <a:srgbClr val="13FFEC"/>
                    </a:gs>
                    <a:gs pos="39000">
                      <a:srgbClr val="00B0F0">
                        <a:alpha val="66000"/>
                      </a:srgbClr>
                    </a:gs>
                  </a:gsLst>
                  <a:lin ang="5400000" scaled="0"/>
                  <a:tileRect/>
                </a:gradFill>
                <a:effectLst/>
                <a:uLnTx/>
                <a:uFillTx/>
                <a:cs typeface="+mn-ea"/>
                <a:sym typeface="+mn-lt"/>
              </a:rPr>
              <a:t>NKS</a:t>
            </a:r>
            <a:endParaRPr kumimoji="0" lang="zh-CN" altLang="en-US" sz="13800" i="0" u="none" strike="noStrike" kern="3000" cap="none" normalizeH="0" baseline="0" noProof="0" dirty="0">
              <a:ln>
                <a:noFill/>
              </a:ln>
              <a:gradFill flip="none" rotWithShape="1">
                <a:gsLst>
                  <a:gs pos="78000">
                    <a:srgbClr val="00B0F0">
                      <a:alpha val="0"/>
                    </a:srgbClr>
                  </a:gs>
                  <a:gs pos="13000">
                    <a:srgbClr val="13FFEC"/>
                  </a:gs>
                  <a:gs pos="39000">
                    <a:srgbClr val="00B0F0">
                      <a:alpha val="66000"/>
                    </a:srgbClr>
                  </a:gs>
                </a:gsLst>
                <a:lin ang="5400000" scaled="0"/>
                <a:tileRect/>
              </a:gradFill>
              <a:effectLst/>
              <a:uLnTx/>
              <a:uFillTx/>
              <a:cs typeface="+mn-ea"/>
              <a:sym typeface="+mn-lt"/>
            </a:endParaRPr>
          </a:p>
        </p:txBody>
      </p:sp>
      <p:pic>
        <p:nvPicPr>
          <p:cNvPr id="25" name="图片 24"/>
          <p:cNvPicPr>
            <a:picLocks noChangeAspect="1"/>
          </p:cNvPicPr>
          <p:nvPr/>
        </p:nvPicPr>
        <p:blipFill rotWithShape="1">
          <a:blip r:embed="rId4" cstate="screen"/>
          <a:srcRect/>
          <a:stretch>
            <a:fillRect/>
          </a:stretch>
        </p:blipFill>
        <p:spPr>
          <a:xfrm>
            <a:off x="323850" y="147319"/>
            <a:ext cx="946150" cy="1417236"/>
          </a:xfrm>
          <a:prstGeom prst="rect">
            <a:avLst/>
          </a:prstGeom>
        </p:spPr>
      </p:pic>
      <p:pic>
        <p:nvPicPr>
          <p:cNvPr id="26" name="图片 25"/>
          <p:cNvPicPr>
            <a:picLocks noChangeAspect="1"/>
          </p:cNvPicPr>
          <p:nvPr/>
        </p:nvPicPr>
        <p:blipFill rotWithShape="1">
          <a:blip r:embed="rId5" cstate="screen"/>
          <a:srcRect/>
          <a:stretch>
            <a:fillRect/>
          </a:stretch>
        </p:blipFill>
        <p:spPr>
          <a:xfrm>
            <a:off x="10598150" y="372783"/>
            <a:ext cx="1193800" cy="655917"/>
          </a:xfrm>
          <a:prstGeom prst="rect">
            <a:avLst/>
          </a:prstGeom>
        </p:spPr>
      </p:pic>
      <p:sp>
        <p:nvSpPr>
          <p:cNvPr id="28" name="等腰三角形 27"/>
          <p:cNvSpPr/>
          <p:nvPr/>
        </p:nvSpPr>
        <p:spPr>
          <a:xfrm>
            <a:off x="9443368" y="3419855"/>
            <a:ext cx="216786" cy="4543467"/>
          </a:xfrm>
          <a:prstGeom prst="triangle">
            <a:avLst/>
          </a:prstGeom>
          <a:gradFill flip="none" rotWithShape="1">
            <a:gsLst>
              <a:gs pos="0">
                <a:schemeClr val="bg1">
                  <a:alpha val="0"/>
                </a:schemeClr>
              </a:gs>
              <a:gs pos="100000">
                <a:schemeClr val="bg1">
                  <a:alpha val="29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pic>
        <p:nvPicPr>
          <p:cNvPr id="29" name="图片 28"/>
          <p:cNvPicPr>
            <a:picLocks noChangeAspect="1"/>
          </p:cNvPicPr>
          <p:nvPr/>
        </p:nvPicPr>
        <p:blipFill>
          <a:blip r:embed="rId6"/>
          <a:stretch>
            <a:fillRect/>
          </a:stretch>
        </p:blipFill>
        <p:spPr>
          <a:xfrm>
            <a:off x="9057491" y="1917061"/>
            <a:ext cx="1005927" cy="1511939"/>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fla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1500" fill="hold"/>
                                        <p:tgtEl>
                                          <p:spTgt spid="14"/>
                                        </p:tgtEl>
                                        <p:attrNameLst>
                                          <p:attrName>ppt_x</p:attrName>
                                        </p:attrNameLst>
                                      </p:cBhvr>
                                      <p:tavLst>
                                        <p:tav tm="0">
                                          <p:val>
                                            <p:strVal val="#ppt_x"/>
                                          </p:val>
                                        </p:tav>
                                        <p:tav tm="100000">
                                          <p:val>
                                            <p:strVal val="#ppt_x"/>
                                          </p:val>
                                        </p:tav>
                                      </p:tavLst>
                                    </p:anim>
                                    <p:anim calcmode="lin" valueType="num">
                                      <p:cBhvr additive="base">
                                        <p:cTn id="8" dur="1500" fill="hold"/>
                                        <p:tgtEl>
                                          <p:spTgt spid="14"/>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50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500" fill="hold"/>
                                        <p:tgtEl>
                                          <p:spTgt spid="15"/>
                                        </p:tgtEl>
                                        <p:attrNameLst>
                                          <p:attrName>ppt_x</p:attrName>
                                        </p:attrNameLst>
                                      </p:cBhvr>
                                      <p:tavLst>
                                        <p:tav tm="0">
                                          <p:val>
                                            <p:strVal val="#ppt_x"/>
                                          </p:val>
                                        </p:tav>
                                        <p:tav tm="100000">
                                          <p:val>
                                            <p:strVal val="#ppt_x"/>
                                          </p:val>
                                        </p:tav>
                                      </p:tavLst>
                                    </p:anim>
                                    <p:anim calcmode="lin" valueType="num">
                                      <p:cBhvr additive="base">
                                        <p:cTn id="12" dur="1500" fill="hold"/>
                                        <p:tgtEl>
                                          <p:spTgt spid="15"/>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17" presetClass="entr" presetSubtype="10" fill="hold" grpId="0" nodeType="afterEffect">
                                  <p:stCondLst>
                                    <p:cond delay="0"/>
                                  </p:stCondLst>
                                  <p:iterate type="lt">
                                    <p:tmPct val="10000"/>
                                  </p:iterate>
                                  <p:childTnLst>
                                    <p:set>
                                      <p:cBhvr>
                                        <p:cTn id="15" dur="1" fill="hold">
                                          <p:stCondLst>
                                            <p:cond delay="0"/>
                                          </p:stCondLst>
                                        </p:cTn>
                                        <p:tgtEl>
                                          <p:spTgt spid="3"/>
                                        </p:tgtEl>
                                        <p:attrNameLst>
                                          <p:attrName>style.visibility</p:attrName>
                                        </p:attrNameLst>
                                      </p:cBhvr>
                                      <p:to>
                                        <p:strVal val="visible"/>
                                      </p:to>
                                    </p:set>
                                    <p:anim calcmode="lin" valueType="num">
                                      <p:cBhvr>
                                        <p:cTn id="16" dur="500" fill="hold"/>
                                        <p:tgtEl>
                                          <p:spTgt spid="3"/>
                                        </p:tgtEl>
                                        <p:attrNameLst>
                                          <p:attrName>ppt_w</p:attrName>
                                        </p:attrNameLst>
                                      </p:cBhvr>
                                      <p:tavLst>
                                        <p:tav tm="0">
                                          <p:val>
                                            <p:fltVal val="0"/>
                                          </p:val>
                                        </p:tav>
                                        <p:tav tm="100000">
                                          <p:val>
                                            <p:strVal val="#ppt_w"/>
                                          </p:val>
                                        </p:tav>
                                      </p:tavLst>
                                    </p:anim>
                                    <p:anim calcmode="lin" valueType="num">
                                      <p:cBhvr>
                                        <p:cTn id="17" dur="500" fill="hold"/>
                                        <p:tgtEl>
                                          <p:spTgt spid="3"/>
                                        </p:tgtEl>
                                        <p:attrNameLst>
                                          <p:attrName>ppt_h</p:attrName>
                                        </p:attrNameLst>
                                      </p:cBhvr>
                                      <p:tavLst>
                                        <p:tav tm="0">
                                          <p:val>
                                            <p:strVal val="#ppt_h"/>
                                          </p:val>
                                        </p:tav>
                                        <p:tav tm="100000">
                                          <p:val>
                                            <p:strVal val="#ppt_h"/>
                                          </p:val>
                                        </p:tav>
                                      </p:tavLst>
                                    </p:anim>
                                  </p:childTnLst>
                                </p:cTn>
                              </p:par>
                              <p:par>
                                <p:cTn id="18" presetID="17" presetClass="entr" presetSubtype="10" fill="hold" grpId="0" nodeType="withEffect">
                                  <p:stCondLst>
                                    <p:cond delay="300"/>
                                  </p:stCondLst>
                                  <p:iterate type="lt">
                                    <p:tmPct val="10000"/>
                                  </p:iterate>
                                  <p:childTnLst>
                                    <p:set>
                                      <p:cBhvr>
                                        <p:cTn id="19" dur="1" fill="hold">
                                          <p:stCondLst>
                                            <p:cond delay="0"/>
                                          </p:stCondLst>
                                        </p:cTn>
                                        <p:tgtEl>
                                          <p:spTgt spid="16"/>
                                        </p:tgtEl>
                                        <p:attrNameLst>
                                          <p:attrName>style.visibility</p:attrName>
                                        </p:attrNameLst>
                                      </p:cBhvr>
                                      <p:to>
                                        <p:strVal val="visible"/>
                                      </p:to>
                                    </p:set>
                                    <p:anim calcmode="lin" valueType="num">
                                      <p:cBhvr>
                                        <p:cTn id="20" dur="500" fill="hold"/>
                                        <p:tgtEl>
                                          <p:spTgt spid="16"/>
                                        </p:tgtEl>
                                        <p:attrNameLst>
                                          <p:attrName>ppt_w</p:attrName>
                                        </p:attrNameLst>
                                      </p:cBhvr>
                                      <p:tavLst>
                                        <p:tav tm="0">
                                          <p:val>
                                            <p:fltVal val="0"/>
                                          </p:val>
                                        </p:tav>
                                        <p:tav tm="100000">
                                          <p:val>
                                            <p:strVal val="#ppt_w"/>
                                          </p:val>
                                        </p:tav>
                                      </p:tavLst>
                                    </p:anim>
                                    <p:anim calcmode="lin" valueType="num">
                                      <p:cBhvr>
                                        <p:cTn id="21" dur="500" fill="hold"/>
                                        <p:tgtEl>
                                          <p:spTgt spid="16"/>
                                        </p:tgtEl>
                                        <p:attrNameLst>
                                          <p:attrName>ppt_h</p:attrName>
                                        </p:attrNameLst>
                                      </p:cBhvr>
                                      <p:tavLst>
                                        <p:tav tm="0">
                                          <p:val>
                                            <p:strVal val="#ppt_h"/>
                                          </p:val>
                                        </p:tav>
                                        <p:tav tm="100000">
                                          <p:val>
                                            <p:strVal val="#ppt_h"/>
                                          </p:val>
                                        </p:tav>
                                      </p:tavLst>
                                    </p:anim>
                                  </p:childTnLst>
                                </p:cTn>
                              </p:par>
                            </p:childTnLst>
                          </p:cTn>
                        </p:par>
                        <p:par>
                          <p:cTn id="22" fill="hold">
                            <p:stCondLst>
                              <p:cond delay="900"/>
                            </p:stCondLst>
                            <p:childTnLst>
                              <p:par>
                                <p:cTn id="23" presetID="2" presetClass="entr" presetSubtype="1" decel="100000" fill="hold" nodeType="afterEffect">
                                  <p:stCondLst>
                                    <p:cond delay="0"/>
                                  </p:stCondLst>
                                  <p:childTnLst>
                                    <p:set>
                                      <p:cBhvr>
                                        <p:cTn id="24" dur="1" fill="hold">
                                          <p:stCondLst>
                                            <p:cond delay="0"/>
                                          </p:stCondLst>
                                        </p:cTn>
                                        <p:tgtEl>
                                          <p:spTgt spid="25"/>
                                        </p:tgtEl>
                                        <p:attrNameLst>
                                          <p:attrName>style.visibility</p:attrName>
                                        </p:attrNameLst>
                                      </p:cBhvr>
                                      <p:to>
                                        <p:strVal val="visible"/>
                                      </p:to>
                                    </p:set>
                                    <p:anim calcmode="lin" valueType="num">
                                      <p:cBhvr additive="base">
                                        <p:cTn id="25" dur="1500" fill="hold"/>
                                        <p:tgtEl>
                                          <p:spTgt spid="25"/>
                                        </p:tgtEl>
                                        <p:attrNameLst>
                                          <p:attrName>ppt_x</p:attrName>
                                        </p:attrNameLst>
                                      </p:cBhvr>
                                      <p:tavLst>
                                        <p:tav tm="0">
                                          <p:val>
                                            <p:strVal val="#ppt_x"/>
                                          </p:val>
                                        </p:tav>
                                        <p:tav tm="100000">
                                          <p:val>
                                            <p:strVal val="#ppt_x"/>
                                          </p:val>
                                        </p:tav>
                                      </p:tavLst>
                                    </p:anim>
                                    <p:anim calcmode="lin" valueType="num">
                                      <p:cBhvr additive="base">
                                        <p:cTn id="26" dur="1500" fill="hold"/>
                                        <p:tgtEl>
                                          <p:spTgt spid="25"/>
                                        </p:tgtEl>
                                        <p:attrNameLst>
                                          <p:attrName>ppt_y</p:attrName>
                                        </p:attrNameLst>
                                      </p:cBhvr>
                                      <p:tavLst>
                                        <p:tav tm="0">
                                          <p:val>
                                            <p:strVal val="0-#ppt_h/2"/>
                                          </p:val>
                                        </p:tav>
                                        <p:tav tm="100000">
                                          <p:val>
                                            <p:strVal val="#ppt_y"/>
                                          </p:val>
                                        </p:tav>
                                      </p:tavLst>
                                    </p:anim>
                                  </p:childTnLst>
                                </p:cTn>
                              </p:par>
                              <p:par>
                                <p:cTn id="27" presetID="2" presetClass="entr" presetSubtype="1" decel="100000" fill="hold" nodeType="withEffect">
                                  <p:stCondLst>
                                    <p:cond delay="300"/>
                                  </p:stCondLst>
                                  <p:childTnLst>
                                    <p:set>
                                      <p:cBhvr>
                                        <p:cTn id="28" dur="1" fill="hold">
                                          <p:stCondLst>
                                            <p:cond delay="0"/>
                                          </p:stCondLst>
                                        </p:cTn>
                                        <p:tgtEl>
                                          <p:spTgt spid="26"/>
                                        </p:tgtEl>
                                        <p:attrNameLst>
                                          <p:attrName>style.visibility</p:attrName>
                                        </p:attrNameLst>
                                      </p:cBhvr>
                                      <p:to>
                                        <p:strVal val="visible"/>
                                      </p:to>
                                    </p:set>
                                    <p:anim calcmode="lin" valueType="num">
                                      <p:cBhvr additive="base">
                                        <p:cTn id="29" dur="1500" fill="hold"/>
                                        <p:tgtEl>
                                          <p:spTgt spid="26"/>
                                        </p:tgtEl>
                                        <p:attrNameLst>
                                          <p:attrName>ppt_x</p:attrName>
                                        </p:attrNameLst>
                                      </p:cBhvr>
                                      <p:tavLst>
                                        <p:tav tm="0">
                                          <p:val>
                                            <p:strVal val="#ppt_x"/>
                                          </p:val>
                                        </p:tav>
                                        <p:tav tm="100000">
                                          <p:val>
                                            <p:strVal val="#ppt_x"/>
                                          </p:val>
                                        </p:tav>
                                      </p:tavLst>
                                    </p:anim>
                                    <p:anim calcmode="lin" valueType="num">
                                      <p:cBhvr additive="base">
                                        <p:cTn id="30" dur="1500" fill="hold"/>
                                        <p:tgtEl>
                                          <p:spTgt spid="26"/>
                                        </p:tgtEl>
                                        <p:attrNameLst>
                                          <p:attrName>ppt_y</p:attrName>
                                        </p:attrNameLst>
                                      </p:cBhvr>
                                      <p:tavLst>
                                        <p:tav tm="0">
                                          <p:val>
                                            <p:strVal val="0-#ppt_h/2"/>
                                          </p:val>
                                        </p:tav>
                                        <p:tav tm="100000">
                                          <p:val>
                                            <p:strVal val="#ppt_y"/>
                                          </p:val>
                                        </p:tav>
                                      </p:tavLst>
                                    </p:anim>
                                  </p:childTnLst>
                                </p:cTn>
                              </p:par>
                              <p:par>
                                <p:cTn id="31" presetID="2" presetClass="entr" presetSubtype="4" fill="hold" grpId="1" nodeType="withEffect">
                                  <p:stCondLst>
                                    <p:cond delay="0"/>
                                  </p:stCondLst>
                                  <p:childTnLst>
                                    <p:set>
                                      <p:cBhvr>
                                        <p:cTn id="32" dur="1" fill="hold">
                                          <p:stCondLst>
                                            <p:cond delay="0"/>
                                          </p:stCondLst>
                                        </p:cTn>
                                        <p:tgtEl>
                                          <p:spTgt spid="28"/>
                                        </p:tgtEl>
                                        <p:attrNameLst>
                                          <p:attrName>style.visibility</p:attrName>
                                        </p:attrNameLst>
                                      </p:cBhvr>
                                      <p:to>
                                        <p:strVal val="visible"/>
                                      </p:to>
                                    </p:set>
                                    <p:anim calcmode="lin" valueType="num">
                                      <p:cBhvr additive="base">
                                        <p:cTn id="33" dur="3000" fill="hold"/>
                                        <p:tgtEl>
                                          <p:spTgt spid="28"/>
                                        </p:tgtEl>
                                        <p:attrNameLst>
                                          <p:attrName>ppt_x</p:attrName>
                                        </p:attrNameLst>
                                      </p:cBhvr>
                                      <p:tavLst>
                                        <p:tav tm="0">
                                          <p:val>
                                            <p:strVal val="#ppt_x"/>
                                          </p:val>
                                        </p:tav>
                                        <p:tav tm="100000">
                                          <p:val>
                                            <p:strVal val="#ppt_x"/>
                                          </p:val>
                                        </p:tav>
                                      </p:tavLst>
                                    </p:anim>
                                    <p:anim calcmode="lin" valueType="num">
                                      <p:cBhvr additive="base">
                                        <p:cTn id="34" dur="3000" fill="hold"/>
                                        <p:tgtEl>
                                          <p:spTgt spid="28"/>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29"/>
                                        </p:tgtEl>
                                        <p:attrNameLst>
                                          <p:attrName>style.visibility</p:attrName>
                                        </p:attrNameLst>
                                      </p:cBhvr>
                                      <p:to>
                                        <p:strVal val="visible"/>
                                      </p:to>
                                    </p:set>
                                    <p:anim calcmode="lin" valueType="num">
                                      <p:cBhvr additive="base">
                                        <p:cTn id="37" dur="3000" fill="hold"/>
                                        <p:tgtEl>
                                          <p:spTgt spid="29"/>
                                        </p:tgtEl>
                                        <p:attrNameLst>
                                          <p:attrName>ppt_x</p:attrName>
                                        </p:attrNameLst>
                                      </p:cBhvr>
                                      <p:tavLst>
                                        <p:tav tm="0">
                                          <p:val>
                                            <p:strVal val="#ppt_x"/>
                                          </p:val>
                                        </p:tav>
                                        <p:tav tm="100000">
                                          <p:val>
                                            <p:strVal val="#ppt_x"/>
                                          </p:val>
                                        </p:tav>
                                      </p:tavLst>
                                    </p:anim>
                                    <p:anim calcmode="lin" valueType="num">
                                      <p:cBhvr additive="base">
                                        <p:cTn id="38" dur="3000" fill="hold"/>
                                        <p:tgtEl>
                                          <p:spTgt spid="29"/>
                                        </p:tgtEl>
                                        <p:attrNameLst>
                                          <p:attrName>ppt_y</p:attrName>
                                        </p:attrNameLst>
                                      </p:cBhvr>
                                      <p:tavLst>
                                        <p:tav tm="0">
                                          <p:val>
                                            <p:strVal val="1+#ppt_h/2"/>
                                          </p:val>
                                        </p:tav>
                                        <p:tav tm="100000">
                                          <p:val>
                                            <p:strVal val="#ppt_y"/>
                                          </p:val>
                                        </p:tav>
                                      </p:tavLst>
                                    </p:anim>
                                  </p:childTnLst>
                                </p:cTn>
                              </p:par>
                            </p:childTnLst>
                          </p:cTn>
                        </p:par>
                        <p:par>
                          <p:cTn id="39" fill="hold">
                            <p:stCondLst>
                              <p:cond delay="2400"/>
                            </p:stCondLst>
                            <p:childTnLst>
                              <p:par>
                                <p:cTn id="40" presetID="22" presetClass="exit" presetSubtype="1" fill="hold" grpId="0" nodeType="afterEffect">
                                  <p:stCondLst>
                                    <p:cond delay="0"/>
                                  </p:stCondLst>
                                  <p:childTnLst>
                                    <p:animEffect transition="out" filter="wipe(up)">
                                      <p:cBhvr>
                                        <p:cTn id="41" dur="5000"/>
                                        <p:tgtEl>
                                          <p:spTgt spid="28"/>
                                        </p:tgtEl>
                                      </p:cBhvr>
                                    </p:animEffect>
                                    <p:set>
                                      <p:cBhvr>
                                        <p:cTn id="42" dur="1" fill="hold">
                                          <p:stCondLst>
                                            <p:cond delay="4999"/>
                                          </p:stCondLst>
                                        </p:cTn>
                                        <p:tgtEl>
                                          <p:spTgt spid="28"/>
                                        </p:tgtEl>
                                        <p:attrNameLst>
                                          <p:attrName>style.visibility</p:attrName>
                                        </p:attrNameLst>
                                      </p:cBhvr>
                                      <p:to>
                                        <p:strVal val="hidden"/>
                                      </p:to>
                                    </p:set>
                                  </p:childTnLst>
                                </p:cTn>
                              </p:par>
                              <p:par>
                                <p:cTn id="43" presetID="2" presetClass="entr" presetSubtype="4" fill="hold" nodeType="withEffect">
                                  <p:stCondLst>
                                    <p:cond delay="0"/>
                                  </p:stCondLst>
                                  <p:childTnLst>
                                    <p:set>
                                      <p:cBhvr>
                                        <p:cTn id="44" dur="1" fill="hold">
                                          <p:stCondLst>
                                            <p:cond delay="0"/>
                                          </p:stCondLst>
                                        </p:cTn>
                                        <p:tgtEl>
                                          <p:spTgt spid="29"/>
                                        </p:tgtEl>
                                        <p:attrNameLst>
                                          <p:attrName>style.visibility</p:attrName>
                                        </p:attrNameLst>
                                      </p:cBhvr>
                                      <p:to>
                                        <p:strVal val="visible"/>
                                      </p:to>
                                    </p:set>
                                    <p:anim calcmode="lin" valueType="num">
                                      <p:cBhvr additive="base">
                                        <p:cTn id="45" dur="3000" fill="hold"/>
                                        <p:tgtEl>
                                          <p:spTgt spid="29"/>
                                        </p:tgtEl>
                                        <p:attrNameLst>
                                          <p:attrName>ppt_x</p:attrName>
                                        </p:attrNameLst>
                                      </p:cBhvr>
                                      <p:tavLst>
                                        <p:tav tm="0">
                                          <p:val>
                                            <p:strVal val="#ppt_x"/>
                                          </p:val>
                                        </p:tav>
                                        <p:tav tm="100000">
                                          <p:val>
                                            <p:strVal val="#ppt_x"/>
                                          </p:val>
                                        </p:tav>
                                      </p:tavLst>
                                    </p:anim>
                                    <p:anim calcmode="lin" valueType="num">
                                      <p:cBhvr additive="base">
                                        <p:cTn id="46" dur="3000" fill="hold"/>
                                        <p:tgtEl>
                                          <p:spTgt spid="29"/>
                                        </p:tgtEl>
                                        <p:attrNameLst>
                                          <p:attrName>ppt_y</p:attrName>
                                        </p:attrNameLst>
                                      </p:cBhvr>
                                      <p:tavLst>
                                        <p:tav tm="0">
                                          <p:val>
                                            <p:strVal val="1+#ppt_h/2"/>
                                          </p:val>
                                        </p:tav>
                                        <p:tav tm="100000">
                                          <p:val>
                                            <p:strVal val="#ppt_y"/>
                                          </p:val>
                                        </p:tav>
                                      </p:tavLst>
                                    </p:anim>
                                  </p:childTnLst>
                                </p:cTn>
                              </p:par>
                              <p:par>
                                <p:cTn id="47" presetID="42" presetClass="path" presetSubtype="0" accel="50000" decel="50000" fill="hold" nodeType="withEffect">
                                  <p:stCondLst>
                                    <p:cond delay="0"/>
                                  </p:stCondLst>
                                  <p:childTnLst>
                                    <p:animMotion origin="layout" path="M -4.58333E-6 -4.81481E-6 L -4.58333E-6 0.16459 " pathEditMode="relative" rAng="0" ptsTypes="AA">
                                      <p:cBhvr>
                                        <p:cTn id="48" dur="5000" fill="hold"/>
                                        <p:tgtEl>
                                          <p:spTgt spid="29"/>
                                        </p:tgtEl>
                                        <p:attrNameLst>
                                          <p:attrName>ppt_x</p:attrName>
                                          <p:attrName>ppt_y</p:attrName>
                                        </p:attrNameLst>
                                      </p:cBhvr>
                                      <p:rCtr x="0" y="8218"/>
                                    </p:animMotion>
                                  </p:childTnLst>
                                </p:cTn>
                              </p:par>
                              <p:par>
                                <p:cTn id="49" presetID="37" presetClass="emph" presetSubtype="256" fill="hold" nodeType="withEffect">
                                  <p:stCondLst>
                                    <p:cond delay="0"/>
                                  </p:stCondLst>
                                  <p:childTnLst>
                                    <p:animRot by="-5400000">
                                      <p:cBhvr>
                                        <p:cTn id="50" dur="5000" fill="hold"/>
                                        <p:tgtEl>
                                          <p:spTgt spid="29"/>
                                        </p:tgtEl>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6" grpId="0"/>
      <p:bldP spid="28" grpId="0" animBg="1"/>
      <p:bldP spid="28"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2" cstate="screen"/>
          <a:srcRect/>
          <a:stretch>
            <a:fillRect/>
          </a:stretch>
        </p:blipFill>
        <p:spPr>
          <a:xfrm>
            <a:off x="323850" y="147319"/>
            <a:ext cx="946150" cy="1417236"/>
          </a:xfrm>
          <a:prstGeom prst="rect">
            <a:avLst/>
          </a:prstGeom>
        </p:spPr>
      </p:pic>
      <p:pic>
        <p:nvPicPr>
          <p:cNvPr id="9" name="图片 8"/>
          <p:cNvPicPr>
            <a:picLocks noChangeAspect="1"/>
          </p:cNvPicPr>
          <p:nvPr/>
        </p:nvPicPr>
        <p:blipFill rotWithShape="1">
          <a:blip r:embed="rId3" cstate="screen"/>
          <a:srcRect/>
          <a:stretch>
            <a:fillRect/>
          </a:stretch>
        </p:blipFill>
        <p:spPr>
          <a:xfrm>
            <a:off x="10598150" y="372783"/>
            <a:ext cx="1193800" cy="655917"/>
          </a:xfrm>
          <a:prstGeom prst="rect">
            <a:avLst/>
          </a:prstGeom>
        </p:spPr>
      </p:pic>
      <p:sp>
        <p:nvSpPr>
          <p:cNvPr id="10" name="矩形 9"/>
          <p:cNvSpPr/>
          <p:nvPr/>
        </p:nvSpPr>
        <p:spPr>
          <a:xfrm>
            <a:off x="4497286" y="2387118"/>
            <a:ext cx="3314302" cy="769441"/>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zh-CN" altLang="en-US" sz="44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智慧企业</a:t>
            </a:r>
          </a:p>
        </p:txBody>
      </p:sp>
      <p:pic>
        <p:nvPicPr>
          <p:cNvPr id="11" name="1"/>
          <p:cNvPicPr>
            <a:picLocks noChangeAspect="1"/>
          </p:cNvPicPr>
          <p:nvPr/>
        </p:nvPicPr>
        <p:blipFill rotWithShape="1">
          <a:blip r:embed="rId4" cstate="screen"/>
          <a:srcRect/>
          <a:stretch>
            <a:fillRect/>
          </a:stretch>
        </p:blipFill>
        <p:spPr>
          <a:xfrm>
            <a:off x="5578703" y="1028700"/>
            <a:ext cx="1151467" cy="1984083"/>
          </a:xfrm>
          <a:prstGeom prst="rect">
            <a:avLst/>
          </a:prstGeom>
        </p:spPr>
      </p:pic>
      <p:sp>
        <p:nvSpPr>
          <p:cNvPr id="12" name="矩形 11"/>
          <p:cNvSpPr/>
          <p:nvPr/>
        </p:nvSpPr>
        <p:spPr>
          <a:xfrm>
            <a:off x="3809603" y="6006066"/>
            <a:ext cx="4572794" cy="507839"/>
          </a:xfrm>
          <a:prstGeom prst="rect">
            <a:avLst/>
          </a:prstGeom>
        </p:spPr>
        <p:txBody>
          <a:bodyPr lIns="91448" tIns="45724" rIns="91448" bIns="45724">
            <a:spAutoFit/>
          </a:bodyPr>
          <a:lstStyle/>
          <a:p>
            <a:pPr algn="ctr"/>
            <a:r>
              <a:rPr lang="en-US" altLang="zh-CN" sz="900" dirty="0">
                <a:solidFill>
                  <a:schemeClr val="bg1">
                    <a:lumMod val="75000"/>
                  </a:schemeClr>
                </a:solidFill>
                <a:cs typeface="+mn-ea"/>
                <a:sym typeface="+mn-lt"/>
              </a:rPr>
              <a:t>Chinese  companies  will no longer remain in the hard stage and they are also promoting a culture Chinese  companies  will no longer remain </a:t>
            </a:r>
          </a:p>
          <a:p>
            <a:pPr algn="ctr"/>
            <a:r>
              <a:rPr lang="en-US" altLang="zh-CN" sz="900" dirty="0">
                <a:solidFill>
                  <a:schemeClr val="bg1">
                    <a:lumMod val="75000"/>
                  </a:schemeClr>
                </a:solidFill>
                <a:cs typeface="+mn-ea"/>
                <a:sym typeface="+mn-lt"/>
              </a:rPr>
              <a:t>in the hard stage and they are also wang ling </a:t>
            </a:r>
            <a:r>
              <a:rPr lang="en-US" altLang="zh-CN" sz="900" dirty="0" err="1">
                <a:solidFill>
                  <a:schemeClr val="bg1">
                    <a:lumMod val="75000"/>
                  </a:schemeClr>
                </a:solidFill>
                <a:cs typeface="+mn-ea"/>
                <a:sym typeface="+mn-lt"/>
              </a:rPr>
              <a:t>yan</a:t>
            </a:r>
            <a:r>
              <a:rPr lang="en-US" altLang="zh-CN" sz="900" dirty="0">
                <a:solidFill>
                  <a:schemeClr val="bg1">
                    <a:lumMod val="75000"/>
                  </a:schemeClr>
                </a:solidFill>
                <a:cs typeface="+mn-ea"/>
                <a:sym typeface="+mn-lt"/>
              </a:rPr>
              <a:t> a culture</a:t>
            </a:r>
          </a:p>
        </p:txBody>
      </p:sp>
    </p:spTree>
  </p:cSld>
  <p:clrMapOvr>
    <a:masterClrMapping/>
  </p:clrMapOvr>
  <mc:AlternateContent xmlns:mc="http://schemas.openxmlformats.org/markup-compatibility/2006" xmlns:p14="http://schemas.microsoft.com/office/powerpoint/2010/main">
    <mc:Choice Requires="p14">
      <p:transition spd="slow" advTm="0">
        <p14:flash/>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ppt_x"/>
                                          </p:val>
                                        </p:tav>
                                        <p:tav tm="100000">
                                          <p:val>
                                            <p:strVal val="#ppt_x"/>
                                          </p:val>
                                        </p:tav>
                                      </p:tavLst>
                                    </p:anim>
                                    <p:anim calcmode="lin" valueType="num">
                                      <p:cBhvr additive="base">
                                        <p:cTn id="8" dur="1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3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500" fill="hold"/>
                                        <p:tgtEl>
                                          <p:spTgt spid="9"/>
                                        </p:tgtEl>
                                        <p:attrNameLst>
                                          <p:attrName>ppt_x</p:attrName>
                                        </p:attrNameLst>
                                      </p:cBhvr>
                                      <p:tavLst>
                                        <p:tav tm="0">
                                          <p:val>
                                            <p:strVal val="#ppt_x"/>
                                          </p:val>
                                        </p:tav>
                                        <p:tav tm="100000">
                                          <p:val>
                                            <p:strVal val="#ppt_x"/>
                                          </p:val>
                                        </p:tav>
                                      </p:tavLst>
                                    </p:anim>
                                    <p:anim calcmode="lin" valueType="num">
                                      <p:cBhvr additive="base">
                                        <p:cTn id="12" dur="1500" fill="hold"/>
                                        <p:tgtEl>
                                          <p:spTgt spid="9"/>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 presetClass="entr" presetSubtype="1" decel="100000" fill="hold" nodeType="afterEffect">
                                  <p:stCondLst>
                                    <p:cond delay="0"/>
                                  </p:stCondLst>
                                  <p:childTnLst>
                                    <p:set>
                                      <p:cBhvr>
                                        <p:cTn id="15" dur="1" fill="hold">
                                          <p:stCondLst>
                                            <p:cond delay="0"/>
                                          </p:stCondLst>
                                        </p:cTn>
                                        <p:tgtEl>
                                          <p:spTgt spid="11"/>
                                        </p:tgtEl>
                                        <p:attrNameLst>
                                          <p:attrName>style.visibility</p:attrName>
                                        </p:attrNameLst>
                                      </p:cBhvr>
                                      <p:to>
                                        <p:strVal val="visible"/>
                                      </p:to>
                                    </p:set>
                                    <p:anim calcmode="lin" valueType="num">
                                      <p:cBhvr additive="base">
                                        <p:cTn id="16" dur="1500" fill="hold"/>
                                        <p:tgtEl>
                                          <p:spTgt spid="11"/>
                                        </p:tgtEl>
                                        <p:attrNameLst>
                                          <p:attrName>ppt_x</p:attrName>
                                        </p:attrNameLst>
                                      </p:cBhvr>
                                      <p:tavLst>
                                        <p:tav tm="0">
                                          <p:val>
                                            <p:strVal val="#ppt_x"/>
                                          </p:val>
                                        </p:tav>
                                        <p:tav tm="100000">
                                          <p:val>
                                            <p:strVal val="#ppt_x"/>
                                          </p:val>
                                        </p:tav>
                                      </p:tavLst>
                                    </p:anim>
                                    <p:anim calcmode="lin" valueType="num">
                                      <p:cBhvr additive="base">
                                        <p:cTn id="17" dur="1500" fill="hold"/>
                                        <p:tgtEl>
                                          <p:spTgt spid="11"/>
                                        </p:tgtEl>
                                        <p:attrNameLst>
                                          <p:attrName>ppt_y</p:attrName>
                                        </p:attrNameLst>
                                      </p:cBhvr>
                                      <p:tavLst>
                                        <p:tav tm="0">
                                          <p:val>
                                            <p:strVal val="0-#ppt_h/2"/>
                                          </p:val>
                                        </p:tav>
                                        <p:tav tm="100000">
                                          <p:val>
                                            <p:strVal val="#ppt_y"/>
                                          </p:val>
                                        </p:tav>
                                      </p:tavLst>
                                    </p:anim>
                                  </p:childTnLst>
                                </p:cTn>
                              </p:par>
                            </p:childTnLst>
                          </p:cTn>
                        </p:par>
                        <p:par>
                          <p:cTn id="18" fill="hold">
                            <p:stCondLst>
                              <p:cond delay="3000"/>
                            </p:stCondLst>
                            <p:childTnLst>
                              <p:par>
                                <p:cTn id="19" presetID="2" presetClass="entr" presetSubtype="4" fill="hold" grpId="0" nodeType="afterEffect">
                                  <p:stCondLst>
                                    <p:cond delay="0"/>
                                  </p:stCondLst>
                                  <p:iterate type="lt">
                                    <p:tmPct val="10000"/>
                                  </p:iterate>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ppt_x"/>
                                          </p:val>
                                        </p:tav>
                                        <p:tav tm="100000">
                                          <p:val>
                                            <p:strVal val="#ppt_x"/>
                                          </p:val>
                                        </p:tav>
                                      </p:tavLst>
                                    </p:anim>
                                    <p:anim calcmode="lin" valueType="num">
                                      <p:cBhvr additive="base">
                                        <p:cTn id="22" dur="500" fill="hold"/>
                                        <p:tgtEl>
                                          <p:spTgt spid="10"/>
                                        </p:tgtEl>
                                        <p:attrNameLst>
                                          <p:attrName>ppt_y</p:attrName>
                                        </p:attrNameLst>
                                      </p:cBhvr>
                                      <p:tavLst>
                                        <p:tav tm="0">
                                          <p:val>
                                            <p:strVal val="1+#ppt_h/2"/>
                                          </p:val>
                                        </p:tav>
                                        <p:tav tm="100000">
                                          <p:val>
                                            <p:strVal val="#ppt_y"/>
                                          </p:val>
                                        </p:tav>
                                      </p:tavLst>
                                    </p:anim>
                                  </p:childTnLst>
                                </p:cTn>
                              </p:par>
                              <p:par>
                                <p:cTn id="23" presetID="26" presetClass="emph" presetSubtype="0" fill="hold" grpId="1" nodeType="withEffect">
                                  <p:stCondLst>
                                    <p:cond delay="1000"/>
                                  </p:stCondLst>
                                  <p:iterate type="lt">
                                    <p:tmPct val="10000"/>
                                  </p:iterate>
                                  <p:childTnLst>
                                    <p:animEffect transition="out" filter="fade">
                                      <p:cBhvr>
                                        <p:cTn id="24" dur="500" tmFilter="0, 0; .2, .5; .8, .5; 1, 0"/>
                                        <p:tgtEl>
                                          <p:spTgt spid="10"/>
                                        </p:tgtEl>
                                      </p:cBhvr>
                                    </p:animEffect>
                                    <p:animScale>
                                      <p:cBhvr>
                                        <p:cTn id="25" dur="250" autoRev="1" fill="hold"/>
                                        <p:tgtEl>
                                          <p:spTgt spid="10"/>
                                        </p:tgtEl>
                                      </p:cBhvr>
                                      <p:by x="105000" y="105000"/>
                                    </p:animScale>
                                  </p:childTnLst>
                                </p:cTn>
                              </p:par>
                              <p:par>
                                <p:cTn id="26" presetID="14" presetClass="entr" presetSubtype="10" fill="hold" grpId="0" nodeType="withEffect">
                                  <p:stCondLst>
                                    <p:cond delay="1500"/>
                                  </p:stCondLst>
                                  <p:childTnLst>
                                    <p:set>
                                      <p:cBhvr>
                                        <p:cTn id="27" dur="1" fill="hold">
                                          <p:stCondLst>
                                            <p:cond delay="0"/>
                                          </p:stCondLst>
                                        </p:cTn>
                                        <p:tgtEl>
                                          <p:spTgt spid="12"/>
                                        </p:tgtEl>
                                        <p:attrNameLst>
                                          <p:attrName>style.visibility</p:attrName>
                                        </p:attrNameLst>
                                      </p:cBhvr>
                                      <p:to>
                                        <p:strVal val="visible"/>
                                      </p:to>
                                    </p:set>
                                    <p:animEffect transition="in" filter="randombar(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p:cNvPicPr>
            <a:picLocks noChangeAspect="1"/>
          </p:cNvPicPr>
          <p:nvPr/>
        </p:nvPicPr>
        <p:blipFill rotWithShape="1">
          <a:blip r:embed="rId2" cstate="screen"/>
          <a:srcRect/>
          <a:stretch>
            <a:fillRect/>
          </a:stretch>
        </p:blipFill>
        <p:spPr>
          <a:xfrm>
            <a:off x="284893" y="56713"/>
            <a:ext cx="869970" cy="1499038"/>
          </a:xfrm>
          <a:prstGeom prst="rect">
            <a:avLst/>
          </a:prstGeom>
        </p:spPr>
      </p:pic>
      <p:sp>
        <p:nvSpPr>
          <p:cNvPr id="3" name="矩形 2"/>
          <p:cNvSpPr/>
          <p:nvPr/>
        </p:nvSpPr>
        <p:spPr>
          <a:xfrm>
            <a:off x="1154863" y="459121"/>
            <a:ext cx="2622550" cy="523220"/>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智慧企业</a:t>
            </a:r>
          </a:p>
        </p:txBody>
      </p:sp>
      <p:pic>
        <p:nvPicPr>
          <p:cNvPr id="53" name="图片 52"/>
          <p:cNvPicPr>
            <a:picLocks noChangeAspect="1"/>
          </p:cNvPicPr>
          <p:nvPr/>
        </p:nvPicPr>
        <p:blipFill rotWithShape="1">
          <a:blip r:embed="rId3" cstate="screen"/>
          <a:srcRect/>
          <a:stretch>
            <a:fillRect/>
          </a:stretch>
        </p:blipFill>
        <p:spPr>
          <a:xfrm>
            <a:off x="397343" y="1168498"/>
            <a:ext cx="4777498" cy="5553202"/>
          </a:xfrm>
          <a:prstGeom prst="rect">
            <a:avLst/>
          </a:prstGeom>
        </p:spPr>
      </p:pic>
      <p:cxnSp>
        <p:nvCxnSpPr>
          <p:cNvPr id="54" name="直接连接符 53"/>
          <p:cNvCxnSpPr/>
          <p:nvPr/>
        </p:nvCxnSpPr>
        <p:spPr>
          <a:xfrm>
            <a:off x="9337040" y="127000"/>
            <a:ext cx="2854960" cy="6858000"/>
          </a:xfrm>
          <a:prstGeom prst="line">
            <a:avLst/>
          </a:prstGeom>
          <a:ln>
            <a:gradFill>
              <a:gsLst>
                <a:gs pos="52000">
                  <a:srgbClr val="84FFFF"/>
                </a:gs>
                <a:gs pos="78000">
                  <a:srgbClr val="68FFCF">
                    <a:alpha val="40000"/>
                  </a:srgbClr>
                </a:gs>
                <a:gs pos="28000">
                  <a:srgbClr val="68FFCF">
                    <a:alpha val="0"/>
                  </a:srgb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9182890" y="593950"/>
            <a:ext cx="752863" cy="1808480"/>
          </a:xfrm>
          <a:prstGeom prst="line">
            <a:avLst/>
          </a:prstGeom>
          <a:ln>
            <a:gradFill>
              <a:gsLst>
                <a:gs pos="30000">
                  <a:srgbClr val="84FFFF"/>
                </a:gs>
                <a:gs pos="72000">
                  <a:srgbClr val="68FFCF"/>
                </a:gs>
                <a:gs pos="100000">
                  <a:srgbClr val="68FFCF">
                    <a:alpha val="0"/>
                  </a:srgb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9958065" y="2040297"/>
            <a:ext cx="1189743" cy="2857926"/>
          </a:xfrm>
          <a:prstGeom prst="line">
            <a:avLst/>
          </a:prstGeom>
          <a:ln>
            <a:gradFill>
              <a:gsLst>
                <a:gs pos="52000">
                  <a:srgbClr val="84FFFF"/>
                </a:gs>
                <a:gs pos="65000">
                  <a:srgbClr val="68FFCF"/>
                </a:gs>
                <a:gs pos="100000">
                  <a:srgbClr val="68FFCF">
                    <a:alpha val="0"/>
                  </a:srgbClr>
                </a:gs>
              </a:gsLst>
              <a:lin ang="5400000" scaled="1"/>
            </a:gradFill>
          </a:ln>
        </p:spPr>
        <p:style>
          <a:lnRef idx="1">
            <a:schemeClr val="accent1"/>
          </a:lnRef>
          <a:fillRef idx="0">
            <a:schemeClr val="accent1"/>
          </a:fillRef>
          <a:effectRef idx="0">
            <a:schemeClr val="accent1"/>
          </a:effectRef>
          <a:fontRef idx="minor">
            <a:schemeClr val="tx1"/>
          </a:fontRef>
        </p:style>
      </p:cxnSp>
      <p:grpSp>
        <p:nvGrpSpPr>
          <p:cNvPr id="60" name="组合 59"/>
          <p:cNvGrpSpPr/>
          <p:nvPr/>
        </p:nvGrpSpPr>
        <p:grpSpPr>
          <a:xfrm>
            <a:off x="6154646" y="1018808"/>
            <a:ext cx="418500" cy="397536"/>
            <a:chOff x="6952496" y="1664561"/>
            <a:chExt cx="591389" cy="561764"/>
          </a:xfrm>
        </p:grpSpPr>
        <p:sp>
          <p:nvSpPr>
            <p:cNvPr id="61" name="Freeform 14"/>
            <p:cNvSpPr/>
            <p:nvPr/>
          </p:nvSpPr>
          <p:spPr bwMode="auto">
            <a:xfrm>
              <a:off x="6952496" y="1664561"/>
              <a:ext cx="591389" cy="561764"/>
            </a:xfrm>
            <a:custGeom>
              <a:avLst/>
              <a:gdLst>
                <a:gd name="T0" fmla="*/ 359 w 684"/>
                <a:gd name="T1" fmla="*/ 57 h 650"/>
                <a:gd name="T2" fmla="*/ 331 w 684"/>
                <a:gd name="T3" fmla="*/ 28 h 650"/>
                <a:gd name="T4" fmla="*/ 360 w 684"/>
                <a:gd name="T5" fmla="*/ 0 h 650"/>
                <a:gd name="T6" fmla="*/ 360 w 684"/>
                <a:gd name="T7" fmla="*/ 0 h 650"/>
                <a:gd name="T8" fmla="*/ 360 w 684"/>
                <a:gd name="T9" fmla="*/ 0 h 650"/>
                <a:gd name="T10" fmla="*/ 360 w 684"/>
                <a:gd name="T11" fmla="*/ 0 h 650"/>
                <a:gd name="T12" fmla="*/ 361 w 684"/>
                <a:gd name="T13" fmla="*/ 0 h 650"/>
                <a:gd name="T14" fmla="*/ 361 w 684"/>
                <a:gd name="T15" fmla="*/ 0 h 650"/>
                <a:gd name="T16" fmla="*/ 589 w 684"/>
                <a:gd name="T17" fmla="*/ 95 h 650"/>
                <a:gd name="T18" fmla="*/ 684 w 684"/>
                <a:gd name="T19" fmla="*/ 325 h 650"/>
                <a:gd name="T20" fmla="*/ 589 w 684"/>
                <a:gd name="T21" fmla="*/ 554 h 650"/>
                <a:gd name="T22" fmla="*/ 359 w 684"/>
                <a:gd name="T23" fmla="*/ 650 h 650"/>
                <a:gd name="T24" fmla="*/ 130 w 684"/>
                <a:gd name="T25" fmla="*/ 554 h 650"/>
                <a:gd name="T26" fmla="*/ 34 w 684"/>
                <a:gd name="T27" fmla="*/ 325 h 650"/>
                <a:gd name="T28" fmla="*/ 43 w 684"/>
                <a:gd name="T29" fmla="*/ 253 h 650"/>
                <a:gd name="T30" fmla="*/ 56 w 684"/>
                <a:gd name="T31" fmla="*/ 210 h 650"/>
                <a:gd name="T32" fmla="*/ 15 w 684"/>
                <a:gd name="T33" fmla="*/ 193 h 650"/>
                <a:gd name="T34" fmla="*/ 5 w 684"/>
                <a:gd name="T35" fmla="*/ 187 h 650"/>
                <a:gd name="T36" fmla="*/ 1 w 684"/>
                <a:gd name="T37" fmla="*/ 176 h 650"/>
                <a:gd name="T38" fmla="*/ 2 w 684"/>
                <a:gd name="T39" fmla="*/ 165 h 650"/>
                <a:gd name="T40" fmla="*/ 9 w 684"/>
                <a:gd name="T41" fmla="*/ 155 h 650"/>
                <a:gd name="T42" fmla="*/ 124 w 684"/>
                <a:gd name="T43" fmla="*/ 66 h 650"/>
                <a:gd name="T44" fmla="*/ 134 w 684"/>
                <a:gd name="T45" fmla="*/ 61 h 650"/>
                <a:gd name="T46" fmla="*/ 146 w 684"/>
                <a:gd name="T47" fmla="*/ 63 h 650"/>
                <a:gd name="T48" fmla="*/ 155 w 684"/>
                <a:gd name="T49" fmla="*/ 70 h 650"/>
                <a:gd name="T50" fmla="*/ 159 w 684"/>
                <a:gd name="T51" fmla="*/ 80 h 650"/>
                <a:gd name="T52" fmla="*/ 180 w 684"/>
                <a:gd name="T53" fmla="*/ 224 h 650"/>
                <a:gd name="T54" fmla="*/ 178 w 684"/>
                <a:gd name="T55" fmla="*/ 236 h 650"/>
                <a:gd name="T56" fmla="*/ 171 w 684"/>
                <a:gd name="T57" fmla="*/ 245 h 650"/>
                <a:gd name="T58" fmla="*/ 161 w 684"/>
                <a:gd name="T59" fmla="*/ 249 h 650"/>
                <a:gd name="T60" fmla="*/ 149 w 684"/>
                <a:gd name="T61" fmla="*/ 248 h 650"/>
                <a:gd name="T62" fmla="*/ 108 w 684"/>
                <a:gd name="T63" fmla="*/ 231 h 650"/>
                <a:gd name="T64" fmla="*/ 98 w 684"/>
                <a:gd name="T65" fmla="*/ 266 h 650"/>
                <a:gd name="T66" fmla="*/ 92 w 684"/>
                <a:gd name="T67" fmla="*/ 325 h 650"/>
                <a:gd name="T68" fmla="*/ 170 w 684"/>
                <a:gd name="T69" fmla="*/ 514 h 650"/>
                <a:gd name="T70" fmla="*/ 359 w 684"/>
                <a:gd name="T71" fmla="*/ 592 h 650"/>
                <a:gd name="T72" fmla="*/ 549 w 684"/>
                <a:gd name="T73" fmla="*/ 514 h 650"/>
                <a:gd name="T74" fmla="*/ 627 w 684"/>
                <a:gd name="T75" fmla="*/ 325 h 650"/>
                <a:gd name="T76" fmla="*/ 549 w 684"/>
                <a:gd name="T77" fmla="*/ 136 h 650"/>
                <a:gd name="T78" fmla="*/ 360 w 684"/>
                <a:gd name="T79" fmla="*/ 57 h 650"/>
                <a:gd name="T80" fmla="*/ 360 w 684"/>
                <a:gd name="T81" fmla="*/ 57 h 650"/>
                <a:gd name="T82" fmla="*/ 360 w 684"/>
                <a:gd name="T83" fmla="*/ 57 h 650"/>
                <a:gd name="T84" fmla="*/ 360 w 684"/>
                <a:gd name="T85" fmla="*/ 57 h 650"/>
                <a:gd name="T86" fmla="*/ 359 w 684"/>
                <a:gd name="T87" fmla="*/ 5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4" h="650">
                  <a:moveTo>
                    <a:pt x="359" y="57"/>
                  </a:moveTo>
                  <a:cubicBezTo>
                    <a:pt x="343" y="57"/>
                    <a:pt x="331" y="44"/>
                    <a:pt x="331" y="28"/>
                  </a:cubicBezTo>
                  <a:cubicBezTo>
                    <a:pt x="331" y="13"/>
                    <a:pt x="344" y="0"/>
                    <a:pt x="360" y="0"/>
                  </a:cubicBezTo>
                  <a:cubicBezTo>
                    <a:pt x="360" y="0"/>
                    <a:pt x="360" y="0"/>
                    <a:pt x="360" y="0"/>
                  </a:cubicBezTo>
                  <a:cubicBezTo>
                    <a:pt x="360" y="0"/>
                    <a:pt x="360" y="0"/>
                    <a:pt x="360" y="0"/>
                  </a:cubicBezTo>
                  <a:cubicBezTo>
                    <a:pt x="360" y="0"/>
                    <a:pt x="360" y="0"/>
                    <a:pt x="360" y="0"/>
                  </a:cubicBezTo>
                  <a:cubicBezTo>
                    <a:pt x="361" y="0"/>
                    <a:pt x="361" y="0"/>
                    <a:pt x="361" y="0"/>
                  </a:cubicBezTo>
                  <a:cubicBezTo>
                    <a:pt x="361" y="0"/>
                    <a:pt x="361" y="0"/>
                    <a:pt x="361" y="0"/>
                  </a:cubicBezTo>
                  <a:cubicBezTo>
                    <a:pt x="450" y="0"/>
                    <a:pt x="531" y="37"/>
                    <a:pt x="589" y="95"/>
                  </a:cubicBezTo>
                  <a:cubicBezTo>
                    <a:pt x="648" y="154"/>
                    <a:pt x="684" y="235"/>
                    <a:pt x="684" y="325"/>
                  </a:cubicBezTo>
                  <a:cubicBezTo>
                    <a:pt x="684" y="414"/>
                    <a:pt x="648" y="496"/>
                    <a:pt x="589" y="554"/>
                  </a:cubicBezTo>
                  <a:cubicBezTo>
                    <a:pt x="530" y="613"/>
                    <a:pt x="449" y="650"/>
                    <a:pt x="359" y="650"/>
                  </a:cubicBezTo>
                  <a:cubicBezTo>
                    <a:pt x="270" y="650"/>
                    <a:pt x="188" y="613"/>
                    <a:pt x="130" y="554"/>
                  </a:cubicBezTo>
                  <a:cubicBezTo>
                    <a:pt x="71" y="496"/>
                    <a:pt x="34" y="414"/>
                    <a:pt x="34" y="325"/>
                  </a:cubicBezTo>
                  <a:cubicBezTo>
                    <a:pt x="34" y="301"/>
                    <a:pt x="37" y="277"/>
                    <a:pt x="43" y="253"/>
                  </a:cubicBezTo>
                  <a:cubicBezTo>
                    <a:pt x="46" y="238"/>
                    <a:pt x="50" y="224"/>
                    <a:pt x="56" y="210"/>
                  </a:cubicBezTo>
                  <a:cubicBezTo>
                    <a:pt x="15" y="193"/>
                    <a:pt x="15" y="193"/>
                    <a:pt x="15" y="193"/>
                  </a:cubicBezTo>
                  <a:cubicBezTo>
                    <a:pt x="11" y="192"/>
                    <a:pt x="8" y="190"/>
                    <a:pt x="5" y="187"/>
                  </a:cubicBezTo>
                  <a:cubicBezTo>
                    <a:pt x="3" y="183"/>
                    <a:pt x="1" y="180"/>
                    <a:pt x="1" y="176"/>
                  </a:cubicBezTo>
                  <a:cubicBezTo>
                    <a:pt x="0" y="172"/>
                    <a:pt x="1" y="168"/>
                    <a:pt x="2" y="165"/>
                  </a:cubicBezTo>
                  <a:cubicBezTo>
                    <a:pt x="4" y="161"/>
                    <a:pt x="6" y="158"/>
                    <a:pt x="9" y="155"/>
                  </a:cubicBezTo>
                  <a:cubicBezTo>
                    <a:pt x="124" y="66"/>
                    <a:pt x="124" y="66"/>
                    <a:pt x="124" y="66"/>
                  </a:cubicBezTo>
                  <a:cubicBezTo>
                    <a:pt x="127" y="63"/>
                    <a:pt x="131" y="62"/>
                    <a:pt x="134" y="61"/>
                  </a:cubicBezTo>
                  <a:cubicBezTo>
                    <a:pt x="138" y="61"/>
                    <a:pt x="142" y="61"/>
                    <a:pt x="146" y="63"/>
                  </a:cubicBezTo>
                  <a:cubicBezTo>
                    <a:pt x="149" y="64"/>
                    <a:pt x="153" y="67"/>
                    <a:pt x="155" y="70"/>
                  </a:cubicBezTo>
                  <a:cubicBezTo>
                    <a:pt x="157" y="73"/>
                    <a:pt x="159" y="76"/>
                    <a:pt x="159" y="80"/>
                  </a:cubicBezTo>
                  <a:cubicBezTo>
                    <a:pt x="180" y="224"/>
                    <a:pt x="180" y="224"/>
                    <a:pt x="180" y="224"/>
                  </a:cubicBezTo>
                  <a:cubicBezTo>
                    <a:pt x="180" y="228"/>
                    <a:pt x="180" y="232"/>
                    <a:pt x="178" y="236"/>
                  </a:cubicBezTo>
                  <a:cubicBezTo>
                    <a:pt x="177" y="239"/>
                    <a:pt x="175" y="242"/>
                    <a:pt x="171" y="245"/>
                  </a:cubicBezTo>
                  <a:cubicBezTo>
                    <a:pt x="168" y="247"/>
                    <a:pt x="165" y="249"/>
                    <a:pt x="161" y="249"/>
                  </a:cubicBezTo>
                  <a:cubicBezTo>
                    <a:pt x="157" y="250"/>
                    <a:pt x="153" y="249"/>
                    <a:pt x="149" y="248"/>
                  </a:cubicBezTo>
                  <a:cubicBezTo>
                    <a:pt x="108" y="231"/>
                    <a:pt x="108" y="231"/>
                    <a:pt x="108" y="231"/>
                  </a:cubicBezTo>
                  <a:cubicBezTo>
                    <a:pt x="104" y="243"/>
                    <a:pt x="101" y="254"/>
                    <a:pt x="98" y="266"/>
                  </a:cubicBezTo>
                  <a:cubicBezTo>
                    <a:pt x="94" y="285"/>
                    <a:pt x="92" y="305"/>
                    <a:pt x="92" y="325"/>
                  </a:cubicBezTo>
                  <a:cubicBezTo>
                    <a:pt x="92" y="399"/>
                    <a:pt x="122" y="466"/>
                    <a:pt x="170" y="514"/>
                  </a:cubicBezTo>
                  <a:cubicBezTo>
                    <a:pt x="219" y="562"/>
                    <a:pt x="285" y="592"/>
                    <a:pt x="359" y="592"/>
                  </a:cubicBezTo>
                  <a:cubicBezTo>
                    <a:pt x="433" y="592"/>
                    <a:pt x="500" y="562"/>
                    <a:pt x="549" y="514"/>
                  </a:cubicBezTo>
                  <a:cubicBezTo>
                    <a:pt x="597" y="466"/>
                    <a:pt x="627" y="399"/>
                    <a:pt x="627" y="325"/>
                  </a:cubicBezTo>
                  <a:cubicBezTo>
                    <a:pt x="627" y="251"/>
                    <a:pt x="597" y="184"/>
                    <a:pt x="549" y="136"/>
                  </a:cubicBezTo>
                  <a:cubicBezTo>
                    <a:pt x="501" y="87"/>
                    <a:pt x="434" y="57"/>
                    <a:pt x="360" y="57"/>
                  </a:cubicBezTo>
                  <a:cubicBezTo>
                    <a:pt x="360" y="57"/>
                    <a:pt x="360" y="57"/>
                    <a:pt x="360" y="57"/>
                  </a:cubicBezTo>
                  <a:cubicBezTo>
                    <a:pt x="360" y="57"/>
                    <a:pt x="360" y="57"/>
                    <a:pt x="360" y="57"/>
                  </a:cubicBezTo>
                  <a:cubicBezTo>
                    <a:pt x="360" y="57"/>
                    <a:pt x="360" y="57"/>
                    <a:pt x="360" y="57"/>
                  </a:cubicBezTo>
                  <a:cubicBezTo>
                    <a:pt x="359" y="57"/>
                    <a:pt x="359" y="57"/>
                    <a:pt x="359" y="57"/>
                  </a:cubicBezTo>
                  <a:close/>
                </a:path>
              </a:pathLst>
            </a:custGeom>
            <a:solidFill>
              <a:schemeClr val="bg1"/>
            </a:solidFill>
            <a:ln>
              <a:noFill/>
            </a:ln>
          </p:spPr>
          <p:txBody>
            <a:bodyPr vert="horz" wrap="square" lIns="91440" tIns="45720" rIns="91440" bIns="45720" numCol="1" anchor="t" anchorCtr="0" compatLnSpc="1"/>
            <a:lstStyle/>
            <a:p>
              <a:endParaRPr lang="zh-CN" altLang="en-US">
                <a:cs typeface="+mn-ea"/>
                <a:sym typeface="+mn-lt"/>
              </a:endParaRPr>
            </a:p>
          </p:txBody>
        </p:sp>
        <p:sp>
          <p:nvSpPr>
            <p:cNvPr id="62" name="Freeform 15"/>
            <p:cNvSpPr>
              <a:spLocks noEditPoints="1"/>
            </p:cNvSpPr>
            <p:nvPr/>
          </p:nvSpPr>
          <p:spPr bwMode="auto">
            <a:xfrm>
              <a:off x="7121830" y="1742096"/>
              <a:ext cx="217976" cy="344885"/>
            </a:xfrm>
            <a:custGeom>
              <a:avLst/>
              <a:gdLst>
                <a:gd name="T0" fmla="*/ 51 w 252"/>
                <a:gd name="T1" fmla="*/ 388 h 399"/>
                <a:gd name="T2" fmla="*/ 11 w 252"/>
                <a:gd name="T3" fmla="*/ 388 h 399"/>
                <a:gd name="T4" fmla="*/ 11 w 252"/>
                <a:gd name="T5" fmla="*/ 347 h 399"/>
                <a:gd name="T6" fmla="*/ 84 w 252"/>
                <a:gd name="T7" fmla="*/ 274 h 399"/>
                <a:gd name="T8" fmla="*/ 75 w 252"/>
                <a:gd name="T9" fmla="*/ 235 h 399"/>
                <a:gd name="T10" fmla="*/ 101 w 252"/>
                <a:gd name="T11" fmla="*/ 172 h 399"/>
                <a:gd name="T12" fmla="*/ 144 w 252"/>
                <a:gd name="T13" fmla="*/ 149 h 399"/>
                <a:gd name="T14" fmla="*/ 144 w 252"/>
                <a:gd name="T15" fmla="*/ 19 h 399"/>
                <a:gd name="T16" fmla="*/ 163 w 252"/>
                <a:gd name="T17" fmla="*/ 0 h 399"/>
                <a:gd name="T18" fmla="*/ 183 w 252"/>
                <a:gd name="T19" fmla="*/ 19 h 399"/>
                <a:gd name="T20" fmla="*/ 183 w 252"/>
                <a:gd name="T21" fmla="*/ 149 h 399"/>
                <a:gd name="T22" fmla="*/ 226 w 252"/>
                <a:gd name="T23" fmla="*/ 172 h 399"/>
                <a:gd name="T24" fmla="*/ 252 w 252"/>
                <a:gd name="T25" fmla="*/ 235 h 399"/>
                <a:gd name="T26" fmla="*/ 226 w 252"/>
                <a:gd name="T27" fmla="*/ 297 h 399"/>
                <a:gd name="T28" fmla="*/ 163 w 252"/>
                <a:gd name="T29" fmla="*/ 323 h 399"/>
                <a:gd name="T30" fmla="*/ 125 w 252"/>
                <a:gd name="T31" fmla="*/ 314 h 399"/>
                <a:gd name="T32" fmla="*/ 51 w 252"/>
                <a:gd name="T33" fmla="*/ 388 h 399"/>
                <a:gd name="T34" fmla="*/ 190 w 252"/>
                <a:gd name="T35" fmla="*/ 208 h 399"/>
                <a:gd name="T36" fmla="*/ 163 w 252"/>
                <a:gd name="T37" fmla="*/ 197 h 399"/>
                <a:gd name="T38" fmla="*/ 137 w 252"/>
                <a:gd name="T39" fmla="*/ 208 h 399"/>
                <a:gd name="T40" fmla="*/ 126 w 252"/>
                <a:gd name="T41" fmla="*/ 235 h 399"/>
                <a:gd name="T42" fmla="*/ 137 w 252"/>
                <a:gd name="T43" fmla="*/ 261 h 399"/>
                <a:gd name="T44" fmla="*/ 163 w 252"/>
                <a:gd name="T45" fmla="*/ 272 h 399"/>
                <a:gd name="T46" fmla="*/ 190 w 252"/>
                <a:gd name="T47" fmla="*/ 261 h 399"/>
                <a:gd name="T48" fmla="*/ 201 w 252"/>
                <a:gd name="T49" fmla="*/ 235 h 399"/>
                <a:gd name="T50" fmla="*/ 190 w 252"/>
                <a:gd name="T51" fmla="*/ 2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2" h="399">
                  <a:moveTo>
                    <a:pt x="51" y="388"/>
                  </a:moveTo>
                  <a:cubicBezTo>
                    <a:pt x="40" y="399"/>
                    <a:pt x="22" y="399"/>
                    <a:pt x="11" y="388"/>
                  </a:cubicBezTo>
                  <a:cubicBezTo>
                    <a:pt x="0" y="377"/>
                    <a:pt x="0" y="359"/>
                    <a:pt x="11" y="347"/>
                  </a:cubicBezTo>
                  <a:cubicBezTo>
                    <a:pt x="84" y="274"/>
                    <a:pt x="84" y="274"/>
                    <a:pt x="84" y="274"/>
                  </a:cubicBezTo>
                  <a:cubicBezTo>
                    <a:pt x="78" y="262"/>
                    <a:pt x="75" y="249"/>
                    <a:pt x="75" y="235"/>
                  </a:cubicBezTo>
                  <a:cubicBezTo>
                    <a:pt x="75" y="210"/>
                    <a:pt x="85" y="188"/>
                    <a:pt x="101" y="172"/>
                  </a:cubicBezTo>
                  <a:cubicBezTo>
                    <a:pt x="113" y="161"/>
                    <a:pt x="128" y="152"/>
                    <a:pt x="144" y="149"/>
                  </a:cubicBezTo>
                  <a:cubicBezTo>
                    <a:pt x="144" y="19"/>
                    <a:pt x="144" y="19"/>
                    <a:pt x="144" y="19"/>
                  </a:cubicBezTo>
                  <a:cubicBezTo>
                    <a:pt x="144" y="8"/>
                    <a:pt x="153" y="0"/>
                    <a:pt x="163" y="0"/>
                  </a:cubicBezTo>
                  <a:cubicBezTo>
                    <a:pt x="174" y="0"/>
                    <a:pt x="183" y="8"/>
                    <a:pt x="183" y="19"/>
                  </a:cubicBezTo>
                  <a:cubicBezTo>
                    <a:pt x="183" y="149"/>
                    <a:pt x="183" y="149"/>
                    <a:pt x="183" y="149"/>
                  </a:cubicBezTo>
                  <a:cubicBezTo>
                    <a:pt x="199" y="152"/>
                    <a:pt x="214" y="161"/>
                    <a:pt x="226" y="172"/>
                  </a:cubicBezTo>
                  <a:cubicBezTo>
                    <a:pt x="242" y="188"/>
                    <a:pt x="252" y="210"/>
                    <a:pt x="252" y="235"/>
                  </a:cubicBezTo>
                  <a:cubicBezTo>
                    <a:pt x="252" y="259"/>
                    <a:pt x="242" y="281"/>
                    <a:pt x="226" y="297"/>
                  </a:cubicBezTo>
                  <a:cubicBezTo>
                    <a:pt x="210" y="313"/>
                    <a:pt x="188" y="323"/>
                    <a:pt x="163" y="323"/>
                  </a:cubicBezTo>
                  <a:cubicBezTo>
                    <a:pt x="150" y="323"/>
                    <a:pt x="136" y="320"/>
                    <a:pt x="125" y="314"/>
                  </a:cubicBezTo>
                  <a:cubicBezTo>
                    <a:pt x="51" y="388"/>
                    <a:pt x="51" y="388"/>
                    <a:pt x="51" y="388"/>
                  </a:cubicBezTo>
                  <a:close/>
                  <a:moveTo>
                    <a:pt x="190" y="208"/>
                  </a:moveTo>
                  <a:cubicBezTo>
                    <a:pt x="183" y="201"/>
                    <a:pt x="174" y="197"/>
                    <a:pt x="163" y="197"/>
                  </a:cubicBezTo>
                  <a:cubicBezTo>
                    <a:pt x="153" y="197"/>
                    <a:pt x="144" y="201"/>
                    <a:pt x="137" y="208"/>
                  </a:cubicBezTo>
                  <a:cubicBezTo>
                    <a:pt x="130" y="215"/>
                    <a:pt x="126" y="224"/>
                    <a:pt x="126" y="235"/>
                  </a:cubicBezTo>
                  <a:cubicBezTo>
                    <a:pt x="126" y="245"/>
                    <a:pt x="130" y="254"/>
                    <a:pt x="137" y="261"/>
                  </a:cubicBezTo>
                  <a:cubicBezTo>
                    <a:pt x="144" y="268"/>
                    <a:pt x="153" y="272"/>
                    <a:pt x="163" y="272"/>
                  </a:cubicBezTo>
                  <a:cubicBezTo>
                    <a:pt x="174" y="272"/>
                    <a:pt x="183" y="268"/>
                    <a:pt x="190" y="261"/>
                  </a:cubicBezTo>
                  <a:cubicBezTo>
                    <a:pt x="197" y="254"/>
                    <a:pt x="201" y="245"/>
                    <a:pt x="201" y="235"/>
                  </a:cubicBezTo>
                  <a:cubicBezTo>
                    <a:pt x="201" y="224"/>
                    <a:pt x="197" y="215"/>
                    <a:pt x="190" y="208"/>
                  </a:cubicBezTo>
                  <a:close/>
                </a:path>
              </a:pathLst>
            </a:custGeom>
            <a:solidFill>
              <a:srgbClr val="68FFCF"/>
            </a:solidFill>
            <a:ln>
              <a:noFill/>
            </a:ln>
          </p:spPr>
          <p:txBody>
            <a:bodyPr vert="horz" wrap="square" lIns="91440" tIns="45720" rIns="91440" bIns="45720" numCol="1" anchor="t" anchorCtr="0" compatLnSpc="1"/>
            <a:lstStyle/>
            <a:p>
              <a:endParaRPr lang="zh-CN" altLang="en-US">
                <a:cs typeface="+mn-ea"/>
                <a:sym typeface="+mn-lt"/>
              </a:endParaRPr>
            </a:p>
          </p:txBody>
        </p:sp>
      </p:grpSp>
      <p:sp>
        <p:nvSpPr>
          <p:cNvPr id="63" name="椭圆 62"/>
          <p:cNvSpPr/>
          <p:nvPr/>
        </p:nvSpPr>
        <p:spPr>
          <a:xfrm>
            <a:off x="5943256" y="791706"/>
            <a:ext cx="851740" cy="851740"/>
          </a:xfrm>
          <a:prstGeom prst="ellipse">
            <a:avLst/>
          </a:prstGeom>
          <a:noFill/>
          <a:ln w="6350">
            <a:gradFill>
              <a:gsLst>
                <a:gs pos="0">
                  <a:srgbClr val="05DAE3"/>
                </a:gs>
                <a:gs pos="58000">
                  <a:srgbClr val="22B9FE"/>
                </a:gs>
                <a:gs pos="83000">
                  <a:srgbClr val="05DAE3"/>
                </a:gs>
                <a:gs pos="100000">
                  <a:srgbClr val="22B9FE">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64" name="矩形 63"/>
          <p:cNvSpPr/>
          <p:nvPr/>
        </p:nvSpPr>
        <p:spPr>
          <a:xfrm>
            <a:off x="6853848" y="1141422"/>
            <a:ext cx="2329042" cy="1061829"/>
          </a:xfrm>
          <a:prstGeom prst="rect">
            <a:avLst/>
          </a:prstGeom>
        </p:spPr>
        <p:txBody>
          <a:bodyPr wrap="square">
            <a:spAutoFit/>
          </a:bodyPr>
          <a:lstStyle/>
          <a:p>
            <a:pPr>
              <a:lnSpc>
                <a:spcPct val="150000"/>
              </a:lnSpc>
            </a:pPr>
            <a:r>
              <a:rPr lang="zh-CN" altLang="en-US" sz="1050" dirty="0">
                <a:solidFill>
                  <a:schemeClr val="bg1">
                    <a:lumMod val="85000"/>
                  </a:schemeClr>
                </a:solidFill>
                <a:cs typeface="+mn-ea"/>
                <a:sym typeface="+mn-lt"/>
              </a:rPr>
              <a:t>请替换文字内容，修改文字内容，也可以直接复制你的内容到此。请替换文字内容，修改文字内容，也可以直接复制你的内容到此。</a:t>
            </a:r>
          </a:p>
        </p:txBody>
      </p:sp>
      <p:sp>
        <p:nvSpPr>
          <p:cNvPr id="65" name="文本框 64"/>
          <p:cNvSpPr txBox="1"/>
          <p:nvPr/>
        </p:nvSpPr>
        <p:spPr>
          <a:xfrm>
            <a:off x="6747907" y="829944"/>
            <a:ext cx="1826260" cy="338554"/>
          </a:xfrm>
          <a:prstGeom prst="rect">
            <a:avLst/>
          </a:prstGeom>
          <a:noFill/>
        </p:spPr>
        <p:txBody>
          <a:bodyPr wrap="square" rtlCol="0">
            <a:spAutoFit/>
          </a:bodyPr>
          <a:lstStyle/>
          <a:p>
            <a:r>
              <a:rPr lang="zh-CN" altLang="en-US" sz="1600" b="1" spc="200" dirty="0">
                <a:solidFill>
                  <a:srgbClr val="84FFFF"/>
                </a:solidFill>
                <a:cs typeface="+mn-ea"/>
                <a:sym typeface="+mn-lt"/>
              </a:rPr>
              <a:t>「</a:t>
            </a:r>
            <a:r>
              <a:rPr lang="zh-CN" altLang="en-US" sz="1600" b="1" spc="200" dirty="0">
                <a:ln w="3175">
                  <a:noFill/>
                </a:ln>
                <a:solidFill>
                  <a:srgbClr val="84FFFF"/>
                </a:solidFill>
                <a:cs typeface="+mn-ea"/>
                <a:sym typeface="+mn-lt"/>
              </a:rPr>
              <a:t>标题在此</a:t>
            </a:r>
            <a:r>
              <a:rPr lang="zh-CN" altLang="en-US" sz="1600" b="1" spc="200" dirty="0">
                <a:solidFill>
                  <a:srgbClr val="84FFFF"/>
                </a:solidFill>
                <a:cs typeface="+mn-ea"/>
                <a:sym typeface="+mn-lt"/>
              </a:rPr>
              <a:t>」</a:t>
            </a:r>
          </a:p>
        </p:txBody>
      </p:sp>
      <p:graphicFrame>
        <p:nvGraphicFramePr>
          <p:cNvPr id="66" name="图表 65"/>
          <p:cNvGraphicFramePr/>
          <p:nvPr/>
        </p:nvGraphicFramePr>
        <p:xfrm>
          <a:off x="6143846" y="2939718"/>
          <a:ext cx="2462112" cy="3543174"/>
        </p:xfrm>
        <a:graphic>
          <a:graphicData uri="http://schemas.openxmlformats.org/drawingml/2006/chart">
            <c:chart xmlns:c="http://schemas.openxmlformats.org/drawingml/2006/chart" xmlns:r="http://schemas.openxmlformats.org/officeDocument/2006/relationships" r:id="rId4"/>
          </a:graphicData>
        </a:graphic>
      </p:graphicFrame>
      <p:sp>
        <p:nvSpPr>
          <p:cNvPr id="67" name="文本框 66"/>
          <p:cNvSpPr txBox="1"/>
          <p:nvPr/>
        </p:nvSpPr>
        <p:spPr>
          <a:xfrm>
            <a:off x="8590877" y="5032400"/>
            <a:ext cx="2113352" cy="1061829"/>
          </a:xfrm>
          <a:prstGeom prst="rect">
            <a:avLst/>
          </a:prstGeom>
          <a:noFill/>
        </p:spPr>
        <p:txBody>
          <a:bodyPr wrap="square" rtlCol="0">
            <a:spAutoFit/>
          </a:bodyPr>
          <a:lstStyle/>
          <a:p>
            <a:pPr lvl="0">
              <a:lnSpc>
                <a:spcPct val="150000"/>
              </a:lnSpc>
              <a:defRPr/>
            </a:pPr>
            <a:r>
              <a:rPr lang="zh-CN" altLang="en-US" sz="1050" kern="0" dirty="0">
                <a:solidFill>
                  <a:schemeClr val="bg1">
                    <a:lumMod val="85000"/>
                  </a:schemeClr>
                </a:solidFill>
                <a:cs typeface="+mn-ea"/>
                <a:sym typeface="+mn-lt"/>
              </a:rPr>
              <a:t>请替换文字内容，修改文字内容，也可以直接复制你的内容到此。请替换文字内容，修改文字内容，也可以直接复制你的内容</a:t>
            </a:r>
          </a:p>
        </p:txBody>
      </p:sp>
      <p:sp>
        <p:nvSpPr>
          <p:cNvPr id="68" name="圆角矩形 3"/>
          <p:cNvSpPr/>
          <p:nvPr/>
        </p:nvSpPr>
        <p:spPr>
          <a:xfrm>
            <a:off x="8653920" y="3604351"/>
            <a:ext cx="948268" cy="974220"/>
          </a:xfrm>
          <a:prstGeom prst="roundRect">
            <a:avLst>
              <a:gd name="adj" fmla="val 50000"/>
            </a:avLst>
          </a:prstGeom>
          <a:noFill/>
          <a:ln w="6350">
            <a:gradFill>
              <a:gsLst>
                <a:gs pos="0">
                  <a:srgbClr val="84FFFF"/>
                </a:gs>
                <a:gs pos="100000">
                  <a:srgbClr val="68FFCF"/>
                </a:gs>
              </a:gsLst>
              <a:lin ang="5400000" scaled="1"/>
            </a:gradFill>
          </a:ln>
          <a:effectLst>
            <a:outerShdw blurRad="139700" dist="76200" dir="5400000" sx="94000" sy="94000" algn="t" rotWithShape="0">
              <a:srgbClr val="00D4FD">
                <a:alpha val="28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400" b="1" kern="0" spc="100" dirty="0">
                <a:solidFill>
                  <a:schemeClr val="bg1"/>
                </a:solidFill>
                <a:cs typeface="+mn-ea"/>
                <a:sym typeface="+mn-lt"/>
              </a:rPr>
              <a:t>智慧企业</a:t>
            </a:r>
          </a:p>
        </p:txBody>
      </p:sp>
      <p:sp>
        <p:nvSpPr>
          <p:cNvPr id="69" name="文本框 68"/>
          <p:cNvSpPr txBox="1"/>
          <p:nvPr/>
        </p:nvSpPr>
        <p:spPr>
          <a:xfrm>
            <a:off x="8486935" y="4693846"/>
            <a:ext cx="1826260" cy="338554"/>
          </a:xfrm>
          <a:prstGeom prst="rect">
            <a:avLst/>
          </a:prstGeom>
          <a:noFill/>
        </p:spPr>
        <p:txBody>
          <a:bodyPr wrap="square" rtlCol="0">
            <a:spAutoFit/>
          </a:bodyPr>
          <a:lstStyle/>
          <a:p>
            <a:r>
              <a:rPr lang="zh-CN" altLang="en-US" sz="1600" b="1" spc="200" dirty="0">
                <a:solidFill>
                  <a:srgbClr val="84FFFF"/>
                </a:solidFill>
                <a:cs typeface="+mn-ea"/>
                <a:sym typeface="+mn-lt"/>
              </a:rPr>
              <a:t>「</a:t>
            </a:r>
            <a:r>
              <a:rPr lang="zh-CN" altLang="en-US" sz="1600" b="1" spc="200" dirty="0">
                <a:ln w="3175">
                  <a:noFill/>
                </a:ln>
                <a:solidFill>
                  <a:srgbClr val="84FFFF"/>
                </a:solidFill>
                <a:cs typeface="+mn-ea"/>
                <a:sym typeface="+mn-lt"/>
              </a:rPr>
              <a:t>标题在此</a:t>
            </a:r>
            <a:r>
              <a:rPr lang="zh-CN" altLang="en-US" sz="1600" b="1" spc="200" dirty="0">
                <a:solidFill>
                  <a:srgbClr val="84FFFF"/>
                </a:solidFill>
                <a:cs typeface="+mn-ea"/>
                <a:sym typeface="+mn-lt"/>
              </a:rPr>
              <a:t>」</a:t>
            </a:r>
          </a:p>
        </p:txBody>
      </p:sp>
      <p:grpSp>
        <p:nvGrpSpPr>
          <p:cNvPr id="70" name="组合 69"/>
          <p:cNvGrpSpPr/>
          <p:nvPr/>
        </p:nvGrpSpPr>
        <p:grpSpPr>
          <a:xfrm>
            <a:off x="2321437" y="3583149"/>
            <a:ext cx="723900" cy="723900"/>
            <a:chOff x="2966842" y="2885684"/>
            <a:chExt cx="893836" cy="893836"/>
          </a:xfrm>
        </p:grpSpPr>
        <p:grpSp>
          <p:nvGrpSpPr>
            <p:cNvPr id="71" name="组合 70"/>
            <p:cNvGrpSpPr/>
            <p:nvPr/>
          </p:nvGrpSpPr>
          <p:grpSpPr>
            <a:xfrm>
              <a:off x="3106138" y="3022898"/>
              <a:ext cx="615244" cy="619408"/>
              <a:chOff x="3048511" y="2986615"/>
              <a:chExt cx="702937" cy="707692"/>
            </a:xfrm>
          </p:grpSpPr>
          <p:sp>
            <p:nvSpPr>
              <p:cNvPr id="73" name="Freeform 12"/>
              <p:cNvSpPr/>
              <p:nvPr/>
            </p:nvSpPr>
            <p:spPr bwMode="auto">
              <a:xfrm>
                <a:off x="3290626" y="3502663"/>
                <a:ext cx="460822" cy="191644"/>
              </a:xfrm>
              <a:custGeom>
                <a:avLst/>
                <a:gdLst>
                  <a:gd name="T0" fmla="*/ 25 w 533"/>
                  <a:gd name="T1" fmla="*/ 165 h 222"/>
                  <a:gd name="T2" fmla="*/ 158 w 533"/>
                  <a:gd name="T3" fmla="*/ 165 h 222"/>
                  <a:gd name="T4" fmla="*/ 158 w 533"/>
                  <a:gd name="T5" fmla="*/ 108 h 222"/>
                  <a:gd name="T6" fmla="*/ 184 w 533"/>
                  <a:gd name="T7" fmla="*/ 83 h 222"/>
                  <a:gd name="T8" fmla="*/ 317 w 533"/>
                  <a:gd name="T9" fmla="*/ 83 h 222"/>
                  <a:gd name="T10" fmla="*/ 317 w 533"/>
                  <a:gd name="T11" fmla="*/ 25 h 222"/>
                  <a:gd name="T12" fmla="*/ 343 w 533"/>
                  <a:gd name="T13" fmla="*/ 0 h 222"/>
                  <a:gd name="T14" fmla="*/ 533 w 533"/>
                  <a:gd name="T15" fmla="*/ 0 h 222"/>
                  <a:gd name="T16" fmla="*/ 533 w 533"/>
                  <a:gd name="T17" fmla="*/ 32 h 222"/>
                  <a:gd name="T18" fmla="*/ 508 w 533"/>
                  <a:gd name="T19" fmla="*/ 57 h 222"/>
                  <a:gd name="T20" fmla="*/ 375 w 533"/>
                  <a:gd name="T21" fmla="*/ 57 h 222"/>
                  <a:gd name="T22" fmla="*/ 375 w 533"/>
                  <a:gd name="T23" fmla="*/ 114 h 222"/>
                  <a:gd name="T24" fmla="*/ 349 w 533"/>
                  <a:gd name="T25" fmla="*/ 140 h 222"/>
                  <a:gd name="T26" fmla="*/ 216 w 533"/>
                  <a:gd name="T27" fmla="*/ 140 h 222"/>
                  <a:gd name="T28" fmla="*/ 216 w 533"/>
                  <a:gd name="T29" fmla="*/ 197 h 222"/>
                  <a:gd name="T30" fmla="*/ 190 w 533"/>
                  <a:gd name="T31" fmla="*/ 222 h 222"/>
                  <a:gd name="T32" fmla="*/ 0 w 533"/>
                  <a:gd name="T33" fmla="*/ 222 h 222"/>
                  <a:gd name="T34" fmla="*/ 0 w 533"/>
                  <a:gd name="T35" fmla="*/ 191 h 222"/>
                  <a:gd name="T36" fmla="*/ 25 w 533"/>
                  <a:gd name="T37" fmla="*/ 16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3" h="222">
                    <a:moveTo>
                      <a:pt x="25" y="165"/>
                    </a:moveTo>
                    <a:cubicBezTo>
                      <a:pt x="158" y="165"/>
                      <a:pt x="158" y="165"/>
                      <a:pt x="158" y="165"/>
                    </a:cubicBezTo>
                    <a:cubicBezTo>
                      <a:pt x="158" y="108"/>
                      <a:pt x="158" y="108"/>
                      <a:pt x="158" y="108"/>
                    </a:cubicBezTo>
                    <a:cubicBezTo>
                      <a:pt x="158" y="94"/>
                      <a:pt x="170" y="83"/>
                      <a:pt x="184" y="83"/>
                    </a:cubicBezTo>
                    <a:cubicBezTo>
                      <a:pt x="317" y="83"/>
                      <a:pt x="317" y="83"/>
                      <a:pt x="317" y="83"/>
                    </a:cubicBezTo>
                    <a:cubicBezTo>
                      <a:pt x="317" y="25"/>
                      <a:pt x="317" y="25"/>
                      <a:pt x="317" y="25"/>
                    </a:cubicBezTo>
                    <a:cubicBezTo>
                      <a:pt x="317" y="11"/>
                      <a:pt x="329" y="0"/>
                      <a:pt x="343" y="0"/>
                    </a:cubicBezTo>
                    <a:cubicBezTo>
                      <a:pt x="533" y="0"/>
                      <a:pt x="533" y="0"/>
                      <a:pt x="533" y="0"/>
                    </a:cubicBezTo>
                    <a:cubicBezTo>
                      <a:pt x="533" y="32"/>
                      <a:pt x="533" y="32"/>
                      <a:pt x="533" y="32"/>
                    </a:cubicBezTo>
                    <a:cubicBezTo>
                      <a:pt x="533" y="46"/>
                      <a:pt x="522" y="57"/>
                      <a:pt x="508" y="57"/>
                    </a:cubicBezTo>
                    <a:cubicBezTo>
                      <a:pt x="375" y="57"/>
                      <a:pt x="375" y="57"/>
                      <a:pt x="375" y="57"/>
                    </a:cubicBezTo>
                    <a:cubicBezTo>
                      <a:pt x="375" y="114"/>
                      <a:pt x="375" y="114"/>
                      <a:pt x="375" y="114"/>
                    </a:cubicBezTo>
                    <a:cubicBezTo>
                      <a:pt x="375" y="128"/>
                      <a:pt x="363" y="140"/>
                      <a:pt x="349" y="140"/>
                    </a:cubicBezTo>
                    <a:cubicBezTo>
                      <a:pt x="216" y="140"/>
                      <a:pt x="216" y="140"/>
                      <a:pt x="216" y="140"/>
                    </a:cubicBezTo>
                    <a:cubicBezTo>
                      <a:pt x="216" y="197"/>
                      <a:pt x="216" y="197"/>
                      <a:pt x="216" y="197"/>
                    </a:cubicBezTo>
                    <a:cubicBezTo>
                      <a:pt x="216" y="211"/>
                      <a:pt x="204" y="222"/>
                      <a:pt x="190" y="222"/>
                    </a:cubicBezTo>
                    <a:cubicBezTo>
                      <a:pt x="0" y="222"/>
                      <a:pt x="0" y="222"/>
                      <a:pt x="0" y="222"/>
                    </a:cubicBezTo>
                    <a:cubicBezTo>
                      <a:pt x="0" y="191"/>
                      <a:pt x="0" y="191"/>
                      <a:pt x="0" y="191"/>
                    </a:cubicBezTo>
                    <a:cubicBezTo>
                      <a:pt x="0" y="177"/>
                      <a:pt x="11" y="165"/>
                      <a:pt x="25" y="165"/>
                    </a:cubicBezTo>
                    <a:close/>
                  </a:path>
                </a:pathLst>
              </a:custGeom>
              <a:solidFill>
                <a:schemeClr val="bg1"/>
              </a:solidFill>
              <a:ln>
                <a:noFill/>
              </a:ln>
            </p:spPr>
            <p:txBody>
              <a:bodyPr vert="horz" wrap="square" lIns="91440" tIns="45720" rIns="91440" bIns="45720" numCol="1" anchor="t" anchorCtr="0" compatLnSpc="1"/>
              <a:lstStyle/>
              <a:p>
                <a:endParaRPr lang="zh-CN" altLang="en-US">
                  <a:cs typeface="+mn-ea"/>
                  <a:sym typeface="+mn-lt"/>
                </a:endParaRPr>
              </a:p>
            </p:txBody>
          </p:sp>
          <p:sp>
            <p:nvSpPr>
              <p:cNvPr id="74" name="Freeform 13"/>
              <p:cNvSpPr>
                <a:spLocks noEditPoints="1"/>
              </p:cNvSpPr>
              <p:nvPr/>
            </p:nvSpPr>
            <p:spPr bwMode="auto">
              <a:xfrm>
                <a:off x="3048511" y="2986615"/>
                <a:ext cx="529214" cy="655758"/>
              </a:xfrm>
              <a:custGeom>
                <a:avLst/>
                <a:gdLst>
                  <a:gd name="T0" fmla="*/ 28 w 612"/>
                  <a:gd name="T1" fmla="*/ 504 h 759"/>
                  <a:gd name="T2" fmla="*/ 148 w 612"/>
                  <a:gd name="T3" fmla="*/ 514 h 759"/>
                  <a:gd name="T4" fmla="*/ 179 w 612"/>
                  <a:gd name="T5" fmla="*/ 488 h 759"/>
                  <a:gd name="T6" fmla="*/ 184 w 612"/>
                  <a:gd name="T7" fmla="*/ 423 h 759"/>
                  <a:gd name="T8" fmla="*/ 158 w 612"/>
                  <a:gd name="T9" fmla="*/ 392 h 759"/>
                  <a:gd name="T10" fmla="*/ 38 w 612"/>
                  <a:gd name="T11" fmla="*/ 381 h 759"/>
                  <a:gd name="T12" fmla="*/ 7 w 612"/>
                  <a:gd name="T13" fmla="*/ 407 h 759"/>
                  <a:gd name="T14" fmla="*/ 2 w 612"/>
                  <a:gd name="T15" fmla="*/ 473 h 759"/>
                  <a:gd name="T16" fmla="*/ 28 w 612"/>
                  <a:gd name="T17" fmla="*/ 504 h 759"/>
                  <a:gd name="T18" fmla="*/ 157 w 612"/>
                  <a:gd name="T19" fmla="*/ 669 h 759"/>
                  <a:gd name="T20" fmla="*/ 254 w 612"/>
                  <a:gd name="T21" fmla="*/ 487 h 759"/>
                  <a:gd name="T22" fmla="*/ 334 w 612"/>
                  <a:gd name="T23" fmla="*/ 512 h 759"/>
                  <a:gd name="T24" fmla="*/ 342 w 612"/>
                  <a:gd name="T25" fmla="*/ 515 h 759"/>
                  <a:gd name="T26" fmla="*/ 216 w 612"/>
                  <a:gd name="T27" fmla="*/ 722 h 759"/>
                  <a:gd name="T28" fmla="*/ 157 w 612"/>
                  <a:gd name="T29" fmla="*/ 669 h 759"/>
                  <a:gd name="T30" fmla="*/ 379 w 612"/>
                  <a:gd name="T31" fmla="*/ 7 h 759"/>
                  <a:gd name="T32" fmla="*/ 426 w 612"/>
                  <a:gd name="T33" fmla="*/ 84 h 759"/>
                  <a:gd name="T34" fmla="*/ 349 w 612"/>
                  <a:gd name="T35" fmla="*/ 150 h 759"/>
                  <a:gd name="T36" fmla="*/ 304 w 612"/>
                  <a:gd name="T37" fmla="*/ 59 h 759"/>
                  <a:gd name="T38" fmla="*/ 379 w 612"/>
                  <a:gd name="T39" fmla="*/ 7 h 759"/>
                  <a:gd name="T40" fmla="*/ 371 w 612"/>
                  <a:gd name="T41" fmla="*/ 183 h 759"/>
                  <a:gd name="T42" fmla="*/ 403 w 612"/>
                  <a:gd name="T43" fmla="*/ 199 h 759"/>
                  <a:gd name="T44" fmla="*/ 574 w 612"/>
                  <a:gd name="T45" fmla="*/ 278 h 759"/>
                  <a:gd name="T46" fmla="*/ 579 w 612"/>
                  <a:gd name="T47" fmla="*/ 341 h 759"/>
                  <a:gd name="T48" fmla="*/ 398 w 612"/>
                  <a:gd name="T49" fmla="*/ 296 h 759"/>
                  <a:gd name="T50" fmla="*/ 381 w 612"/>
                  <a:gd name="T51" fmla="*/ 385 h 759"/>
                  <a:gd name="T52" fmla="*/ 390 w 612"/>
                  <a:gd name="T53" fmla="*/ 402 h 759"/>
                  <a:gd name="T54" fmla="*/ 561 w 612"/>
                  <a:gd name="T55" fmla="*/ 593 h 759"/>
                  <a:gd name="T56" fmla="*/ 489 w 612"/>
                  <a:gd name="T57" fmla="*/ 626 h 759"/>
                  <a:gd name="T58" fmla="*/ 233 w 612"/>
                  <a:gd name="T59" fmla="*/ 447 h 759"/>
                  <a:gd name="T60" fmla="*/ 203 w 612"/>
                  <a:gd name="T61" fmla="*/ 392 h 759"/>
                  <a:gd name="T62" fmla="*/ 231 w 612"/>
                  <a:gd name="T63" fmla="*/ 239 h 759"/>
                  <a:gd name="T64" fmla="*/ 157 w 612"/>
                  <a:gd name="T65" fmla="*/ 344 h 759"/>
                  <a:gd name="T66" fmla="*/ 95 w 612"/>
                  <a:gd name="T67" fmla="*/ 332 h 759"/>
                  <a:gd name="T68" fmla="*/ 247 w 612"/>
                  <a:gd name="T69" fmla="*/ 155 h 759"/>
                  <a:gd name="T70" fmla="*/ 313 w 612"/>
                  <a:gd name="T71" fmla="*/ 163 h 759"/>
                  <a:gd name="T72" fmla="*/ 349 w 612"/>
                  <a:gd name="T73" fmla="*/ 227 h 759"/>
                  <a:gd name="T74" fmla="*/ 371 w 612"/>
                  <a:gd name="T75" fmla="*/ 183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2" h="759">
                    <a:moveTo>
                      <a:pt x="28" y="504"/>
                    </a:moveTo>
                    <a:cubicBezTo>
                      <a:pt x="148" y="514"/>
                      <a:pt x="148" y="514"/>
                      <a:pt x="148" y="514"/>
                    </a:cubicBezTo>
                    <a:cubicBezTo>
                      <a:pt x="164" y="516"/>
                      <a:pt x="177" y="504"/>
                      <a:pt x="179" y="488"/>
                    </a:cubicBezTo>
                    <a:cubicBezTo>
                      <a:pt x="184" y="423"/>
                      <a:pt x="184" y="423"/>
                      <a:pt x="184" y="423"/>
                    </a:cubicBezTo>
                    <a:cubicBezTo>
                      <a:pt x="186" y="407"/>
                      <a:pt x="174" y="393"/>
                      <a:pt x="158" y="392"/>
                    </a:cubicBezTo>
                    <a:cubicBezTo>
                      <a:pt x="38" y="381"/>
                      <a:pt x="38" y="381"/>
                      <a:pt x="38" y="381"/>
                    </a:cubicBezTo>
                    <a:cubicBezTo>
                      <a:pt x="23" y="380"/>
                      <a:pt x="9" y="392"/>
                      <a:pt x="7" y="407"/>
                    </a:cubicBezTo>
                    <a:cubicBezTo>
                      <a:pt x="2" y="473"/>
                      <a:pt x="2" y="473"/>
                      <a:pt x="2" y="473"/>
                    </a:cubicBezTo>
                    <a:cubicBezTo>
                      <a:pt x="0" y="489"/>
                      <a:pt x="12" y="503"/>
                      <a:pt x="28" y="504"/>
                    </a:cubicBezTo>
                    <a:close/>
                    <a:moveTo>
                      <a:pt x="157" y="669"/>
                    </a:moveTo>
                    <a:cubicBezTo>
                      <a:pt x="220" y="595"/>
                      <a:pt x="230" y="592"/>
                      <a:pt x="254" y="487"/>
                    </a:cubicBezTo>
                    <a:cubicBezTo>
                      <a:pt x="280" y="496"/>
                      <a:pt x="307" y="504"/>
                      <a:pt x="334" y="512"/>
                    </a:cubicBezTo>
                    <a:cubicBezTo>
                      <a:pt x="337" y="513"/>
                      <a:pt x="339" y="514"/>
                      <a:pt x="342" y="515"/>
                    </a:cubicBezTo>
                    <a:cubicBezTo>
                      <a:pt x="303" y="633"/>
                      <a:pt x="296" y="637"/>
                      <a:pt x="216" y="722"/>
                    </a:cubicBezTo>
                    <a:cubicBezTo>
                      <a:pt x="180" y="759"/>
                      <a:pt x="122" y="709"/>
                      <a:pt x="157" y="669"/>
                    </a:cubicBezTo>
                    <a:close/>
                    <a:moveTo>
                      <a:pt x="379" y="7"/>
                    </a:moveTo>
                    <a:cubicBezTo>
                      <a:pt x="413" y="15"/>
                      <a:pt x="434" y="49"/>
                      <a:pt x="426" y="84"/>
                    </a:cubicBezTo>
                    <a:cubicBezTo>
                      <a:pt x="419" y="120"/>
                      <a:pt x="383" y="157"/>
                      <a:pt x="349" y="150"/>
                    </a:cubicBezTo>
                    <a:cubicBezTo>
                      <a:pt x="315" y="143"/>
                      <a:pt x="297" y="94"/>
                      <a:pt x="304" y="59"/>
                    </a:cubicBezTo>
                    <a:cubicBezTo>
                      <a:pt x="312" y="23"/>
                      <a:pt x="345" y="0"/>
                      <a:pt x="379" y="7"/>
                    </a:cubicBezTo>
                    <a:close/>
                    <a:moveTo>
                      <a:pt x="371" y="183"/>
                    </a:moveTo>
                    <a:cubicBezTo>
                      <a:pt x="378" y="185"/>
                      <a:pt x="393" y="190"/>
                      <a:pt x="403" y="199"/>
                    </a:cubicBezTo>
                    <a:cubicBezTo>
                      <a:pt x="494" y="286"/>
                      <a:pt x="474" y="282"/>
                      <a:pt x="574" y="278"/>
                    </a:cubicBezTo>
                    <a:cubicBezTo>
                      <a:pt x="612" y="277"/>
                      <a:pt x="611" y="338"/>
                      <a:pt x="579" y="341"/>
                    </a:cubicBezTo>
                    <a:cubicBezTo>
                      <a:pt x="477" y="350"/>
                      <a:pt x="470" y="358"/>
                      <a:pt x="398" y="296"/>
                    </a:cubicBezTo>
                    <a:cubicBezTo>
                      <a:pt x="381" y="385"/>
                      <a:pt x="381" y="385"/>
                      <a:pt x="381" y="385"/>
                    </a:cubicBezTo>
                    <a:cubicBezTo>
                      <a:pt x="380" y="392"/>
                      <a:pt x="383" y="399"/>
                      <a:pt x="390" y="402"/>
                    </a:cubicBezTo>
                    <a:cubicBezTo>
                      <a:pt x="494" y="448"/>
                      <a:pt x="515" y="448"/>
                      <a:pt x="561" y="593"/>
                    </a:cubicBezTo>
                    <a:cubicBezTo>
                      <a:pt x="578" y="638"/>
                      <a:pt x="510" y="668"/>
                      <a:pt x="489" y="626"/>
                    </a:cubicBezTo>
                    <a:cubicBezTo>
                      <a:pt x="417" y="484"/>
                      <a:pt x="405" y="506"/>
                      <a:pt x="233" y="447"/>
                    </a:cubicBezTo>
                    <a:cubicBezTo>
                      <a:pt x="211" y="435"/>
                      <a:pt x="203" y="416"/>
                      <a:pt x="203" y="392"/>
                    </a:cubicBezTo>
                    <a:cubicBezTo>
                      <a:pt x="231" y="239"/>
                      <a:pt x="231" y="239"/>
                      <a:pt x="231" y="239"/>
                    </a:cubicBezTo>
                    <a:cubicBezTo>
                      <a:pt x="164" y="260"/>
                      <a:pt x="171" y="259"/>
                      <a:pt x="157" y="344"/>
                    </a:cubicBezTo>
                    <a:cubicBezTo>
                      <a:pt x="151" y="376"/>
                      <a:pt x="91" y="372"/>
                      <a:pt x="95" y="332"/>
                    </a:cubicBezTo>
                    <a:cubicBezTo>
                      <a:pt x="107" y="207"/>
                      <a:pt x="126" y="199"/>
                      <a:pt x="247" y="155"/>
                    </a:cubicBezTo>
                    <a:cubicBezTo>
                      <a:pt x="264" y="149"/>
                      <a:pt x="304" y="160"/>
                      <a:pt x="313" y="163"/>
                    </a:cubicBezTo>
                    <a:cubicBezTo>
                      <a:pt x="349" y="227"/>
                      <a:pt x="349" y="227"/>
                      <a:pt x="349" y="227"/>
                    </a:cubicBezTo>
                    <a:cubicBezTo>
                      <a:pt x="371" y="183"/>
                      <a:pt x="371" y="183"/>
                      <a:pt x="371" y="183"/>
                    </a:cubicBezTo>
                    <a:close/>
                  </a:path>
                </a:pathLst>
              </a:custGeom>
              <a:solidFill>
                <a:srgbClr val="84FFFF"/>
              </a:solidFill>
              <a:ln>
                <a:noFill/>
              </a:ln>
            </p:spPr>
            <p:txBody>
              <a:bodyPr vert="horz" wrap="square" lIns="91440" tIns="45720" rIns="91440" bIns="45720" numCol="1" anchor="t" anchorCtr="0" compatLnSpc="1"/>
              <a:lstStyle/>
              <a:p>
                <a:endParaRPr lang="zh-CN" altLang="en-US">
                  <a:cs typeface="+mn-ea"/>
                  <a:sym typeface="+mn-lt"/>
                </a:endParaRPr>
              </a:p>
            </p:txBody>
          </p:sp>
        </p:grpSp>
        <p:sp>
          <p:nvSpPr>
            <p:cNvPr id="72" name="椭圆 71"/>
            <p:cNvSpPr/>
            <p:nvPr/>
          </p:nvSpPr>
          <p:spPr>
            <a:xfrm>
              <a:off x="2966842" y="2885684"/>
              <a:ext cx="893836" cy="893836"/>
            </a:xfrm>
            <a:prstGeom prst="ellipse">
              <a:avLst/>
            </a:prstGeom>
            <a:noFill/>
            <a:ln w="6350">
              <a:gradFill>
                <a:gsLst>
                  <a:gs pos="0">
                    <a:srgbClr val="05DAE3"/>
                  </a:gs>
                  <a:gs pos="58000">
                    <a:srgbClr val="22B9FE"/>
                  </a:gs>
                  <a:gs pos="83000">
                    <a:srgbClr val="05DAE3"/>
                  </a:gs>
                  <a:gs pos="100000">
                    <a:srgbClr val="22B9FE">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pSp>
      <p:sp>
        <p:nvSpPr>
          <p:cNvPr id="75" name="文本框 74"/>
          <p:cNvSpPr txBox="1"/>
          <p:nvPr/>
        </p:nvSpPr>
        <p:spPr>
          <a:xfrm>
            <a:off x="1741223" y="4338898"/>
            <a:ext cx="1884328"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altLang="zh-CN" sz="1200" b="1" i="0" u="none" strike="noStrike" kern="0" cap="none" spc="0" normalizeH="0" baseline="0" noProof="0" dirty="0">
                <a:ln>
                  <a:noFill/>
                </a:ln>
                <a:solidFill>
                  <a:srgbClr val="84FFFF"/>
                </a:solidFill>
                <a:effectLst/>
                <a:uLnTx/>
                <a:uFillTx/>
                <a:cs typeface="+mn-ea"/>
                <a:sym typeface="+mn-lt"/>
              </a:rPr>
              <a:t>LOREM IPSUM</a:t>
            </a:r>
            <a:endParaRPr kumimoji="0" lang="zh-CN" altLang="en-US" sz="1200" b="0" i="0" u="none" strike="noStrike" kern="0" cap="none" spc="0" normalizeH="0" baseline="0" noProof="0" dirty="0">
              <a:ln>
                <a:noFill/>
              </a:ln>
              <a:solidFill>
                <a:schemeClr val="bg1">
                  <a:lumMod val="95000"/>
                </a:schemeClr>
              </a:solidFill>
              <a:effectLst/>
              <a:uLnTx/>
              <a:uFillTx/>
              <a:cs typeface="+mn-ea"/>
              <a:sym typeface="+mn-lt"/>
            </a:endParaRPr>
          </a:p>
        </p:txBody>
      </p:sp>
      <p:sp>
        <p:nvSpPr>
          <p:cNvPr id="76" name="标注: 弯曲线形(带强调线) 75"/>
          <p:cNvSpPr/>
          <p:nvPr/>
        </p:nvSpPr>
        <p:spPr>
          <a:xfrm rot="16200000">
            <a:off x="6276761" y="1390501"/>
            <a:ext cx="184731" cy="400110"/>
          </a:xfrm>
          <a:prstGeom prst="accentCallout2">
            <a:avLst>
              <a:gd name="adj1" fmla="val 66362"/>
              <a:gd name="adj2" fmla="val -16584"/>
              <a:gd name="adj3" fmla="val 66839"/>
              <a:gd name="adj4" fmla="val -160009"/>
              <a:gd name="adj5" fmla="val -405652"/>
              <a:gd name="adj6" fmla="val -590794"/>
            </a:avLst>
          </a:prstGeom>
          <a:ln w="3175">
            <a:solidFill>
              <a:srgbClr val="84FFFF"/>
            </a:solidFill>
            <a:prstDash val="dash"/>
          </a:ln>
        </p:spPr>
        <p:txBody>
          <a:bodyPr wrap="none" rtlCol="0" anchor="ctr">
            <a:spAutoFit/>
          </a:bodyPr>
          <a:lstStyle/>
          <a:p>
            <a:pPr algn="ctr"/>
            <a:endParaRPr lang="zh-CN" altLang="en-US" sz="20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grpSp>
        <p:nvGrpSpPr>
          <p:cNvPr id="79" name="组合 78" descr="e7d195523061f1c03a90ee8e42cb24248e56383cd534985688F9F494128731F165EE95AB4B0C0A38076AAEA07667B1565C446FC45FF01DFB0E885BCDBDF3A284F3DB14DA61DD97F0BAB2E6C668FB4931D588590651A0FE2F633716D72D6FDCDC58F637E6FA41532C3E3BF67DE7A6E1EA93CE61B846D25FBAA84E7A82E6674115C45D1FED83C2F2E2"/>
          <p:cNvGrpSpPr/>
          <p:nvPr/>
        </p:nvGrpSpPr>
        <p:grpSpPr>
          <a:xfrm>
            <a:off x="11657391" y="2872970"/>
            <a:ext cx="76200" cy="1087966"/>
            <a:chOff x="11624734" y="2496460"/>
            <a:chExt cx="76200" cy="1087966"/>
          </a:xfrm>
        </p:grpSpPr>
        <p:sp>
          <p:nvSpPr>
            <p:cNvPr id="80" name="椭圆 79"/>
            <p:cNvSpPr/>
            <p:nvPr/>
          </p:nvSpPr>
          <p:spPr>
            <a:xfrm>
              <a:off x="11624734" y="2496460"/>
              <a:ext cx="76200" cy="7620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1" name="椭圆 80"/>
            <p:cNvSpPr/>
            <p:nvPr/>
          </p:nvSpPr>
          <p:spPr>
            <a:xfrm>
              <a:off x="11624734" y="2749401"/>
              <a:ext cx="76200" cy="762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2" name="椭圆 81"/>
            <p:cNvSpPr/>
            <p:nvPr/>
          </p:nvSpPr>
          <p:spPr>
            <a:xfrm>
              <a:off x="11624734" y="3002342"/>
              <a:ext cx="76200" cy="762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3" name="椭圆 82"/>
            <p:cNvSpPr/>
            <p:nvPr/>
          </p:nvSpPr>
          <p:spPr>
            <a:xfrm>
              <a:off x="11624734" y="3255283"/>
              <a:ext cx="76200" cy="762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84" name="椭圆 83"/>
            <p:cNvSpPr/>
            <p:nvPr/>
          </p:nvSpPr>
          <p:spPr>
            <a:xfrm>
              <a:off x="11624734" y="3508226"/>
              <a:ext cx="76200" cy="76200"/>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Tree>
  </p:cSld>
  <p:clrMapOvr>
    <a:masterClrMapping/>
  </p:clrMapOvr>
  <mc:AlternateContent xmlns:mc="http://schemas.openxmlformats.org/markup-compatibility/2006" xmlns:p14="http://schemas.microsoft.com/office/powerpoint/2010/main">
    <mc:Choice Requires="p14">
      <p:transition spd="slow" advTm="0">
        <p14:flash/>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ppt_x"/>
                                          </p:val>
                                        </p:tav>
                                        <p:tav tm="100000">
                                          <p:val>
                                            <p:strVal val="#ppt_x"/>
                                          </p:val>
                                        </p:tav>
                                      </p:tavLst>
                                    </p:anim>
                                    <p:anim calcmode="lin" valueType="num">
                                      <p:cBhvr additive="base">
                                        <p:cTn id="8" dur="1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par>
                          <p:cTn id="16" fill="hold">
                            <p:stCondLst>
                              <p:cond delay="0"/>
                            </p:stCondLst>
                            <p:childTnLst>
                              <p:par>
                                <p:cTn id="17" presetID="49" presetClass="entr" presetSubtype="0" decel="100000" fill="hold" nodeType="afterEffect">
                                  <p:stCondLst>
                                    <p:cond delay="0"/>
                                  </p:stCondLst>
                                  <p:childTnLst>
                                    <p:set>
                                      <p:cBhvr>
                                        <p:cTn id="18" dur="1" fill="hold">
                                          <p:stCondLst>
                                            <p:cond delay="0"/>
                                          </p:stCondLst>
                                        </p:cTn>
                                        <p:tgtEl>
                                          <p:spTgt spid="70"/>
                                        </p:tgtEl>
                                        <p:attrNameLst>
                                          <p:attrName>style.visibility</p:attrName>
                                        </p:attrNameLst>
                                      </p:cBhvr>
                                      <p:to>
                                        <p:strVal val="visible"/>
                                      </p:to>
                                    </p:set>
                                    <p:anim calcmode="lin" valueType="num">
                                      <p:cBhvr>
                                        <p:cTn id="19" dur="500" fill="hold"/>
                                        <p:tgtEl>
                                          <p:spTgt spid="70"/>
                                        </p:tgtEl>
                                        <p:attrNameLst>
                                          <p:attrName>ppt_w</p:attrName>
                                        </p:attrNameLst>
                                      </p:cBhvr>
                                      <p:tavLst>
                                        <p:tav tm="0">
                                          <p:val>
                                            <p:fltVal val="0"/>
                                          </p:val>
                                        </p:tav>
                                        <p:tav tm="100000">
                                          <p:val>
                                            <p:strVal val="#ppt_w"/>
                                          </p:val>
                                        </p:tav>
                                      </p:tavLst>
                                    </p:anim>
                                    <p:anim calcmode="lin" valueType="num">
                                      <p:cBhvr>
                                        <p:cTn id="20" dur="500" fill="hold"/>
                                        <p:tgtEl>
                                          <p:spTgt spid="70"/>
                                        </p:tgtEl>
                                        <p:attrNameLst>
                                          <p:attrName>ppt_h</p:attrName>
                                        </p:attrNameLst>
                                      </p:cBhvr>
                                      <p:tavLst>
                                        <p:tav tm="0">
                                          <p:val>
                                            <p:fltVal val="0"/>
                                          </p:val>
                                        </p:tav>
                                        <p:tav tm="100000">
                                          <p:val>
                                            <p:strVal val="#ppt_h"/>
                                          </p:val>
                                        </p:tav>
                                      </p:tavLst>
                                    </p:anim>
                                    <p:anim calcmode="lin" valueType="num">
                                      <p:cBhvr>
                                        <p:cTn id="21" dur="500" fill="hold"/>
                                        <p:tgtEl>
                                          <p:spTgt spid="70"/>
                                        </p:tgtEl>
                                        <p:attrNameLst>
                                          <p:attrName>style.rotation</p:attrName>
                                        </p:attrNameLst>
                                      </p:cBhvr>
                                      <p:tavLst>
                                        <p:tav tm="0">
                                          <p:val>
                                            <p:fltVal val="360"/>
                                          </p:val>
                                        </p:tav>
                                        <p:tav tm="100000">
                                          <p:val>
                                            <p:fltVal val="0"/>
                                          </p:val>
                                        </p:tav>
                                      </p:tavLst>
                                    </p:anim>
                                    <p:animEffect transition="in" filter="fade">
                                      <p:cBhvr>
                                        <p:cTn id="22" dur="500"/>
                                        <p:tgtEl>
                                          <p:spTgt spid="70"/>
                                        </p:tgtEl>
                                      </p:cBhvr>
                                    </p:animEffect>
                                  </p:childTnLst>
                                </p:cTn>
                              </p:par>
                              <p:par>
                                <p:cTn id="23" presetID="49" presetClass="entr" presetSubtype="0" decel="100000" fill="hold" grpId="0" nodeType="withEffect">
                                  <p:stCondLst>
                                    <p:cond delay="0"/>
                                  </p:stCondLst>
                                  <p:iterate type="lt">
                                    <p:tmPct val="20000"/>
                                  </p:iterate>
                                  <p:childTnLst>
                                    <p:set>
                                      <p:cBhvr>
                                        <p:cTn id="24" dur="1" fill="hold">
                                          <p:stCondLst>
                                            <p:cond delay="0"/>
                                          </p:stCondLst>
                                        </p:cTn>
                                        <p:tgtEl>
                                          <p:spTgt spid="75"/>
                                        </p:tgtEl>
                                        <p:attrNameLst>
                                          <p:attrName>style.visibility</p:attrName>
                                        </p:attrNameLst>
                                      </p:cBhvr>
                                      <p:to>
                                        <p:strVal val="visible"/>
                                      </p:to>
                                    </p:set>
                                    <p:anim calcmode="lin" valueType="num">
                                      <p:cBhvr>
                                        <p:cTn id="25" dur="500" fill="hold"/>
                                        <p:tgtEl>
                                          <p:spTgt spid="75"/>
                                        </p:tgtEl>
                                        <p:attrNameLst>
                                          <p:attrName>ppt_w</p:attrName>
                                        </p:attrNameLst>
                                      </p:cBhvr>
                                      <p:tavLst>
                                        <p:tav tm="0">
                                          <p:val>
                                            <p:fltVal val="0"/>
                                          </p:val>
                                        </p:tav>
                                        <p:tav tm="100000">
                                          <p:val>
                                            <p:strVal val="#ppt_w"/>
                                          </p:val>
                                        </p:tav>
                                      </p:tavLst>
                                    </p:anim>
                                    <p:anim calcmode="lin" valueType="num">
                                      <p:cBhvr>
                                        <p:cTn id="26" dur="500" fill="hold"/>
                                        <p:tgtEl>
                                          <p:spTgt spid="75"/>
                                        </p:tgtEl>
                                        <p:attrNameLst>
                                          <p:attrName>ppt_h</p:attrName>
                                        </p:attrNameLst>
                                      </p:cBhvr>
                                      <p:tavLst>
                                        <p:tav tm="0">
                                          <p:val>
                                            <p:fltVal val="0"/>
                                          </p:val>
                                        </p:tav>
                                        <p:tav tm="100000">
                                          <p:val>
                                            <p:strVal val="#ppt_h"/>
                                          </p:val>
                                        </p:tav>
                                      </p:tavLst>
                                    </p:anim>
                                    <p:anim calcmode="lin" valueType="num">
                                      <p:cBhvr>
                                        <p:cTn id="27" dur="500" fill="hold"/>
                                        <p:tgtEl>
                                          <p:spTgt spid="75"/>
                                        </p:tgtEl>
                                        <p:attrNameLst>
                                          <p:attrName>style.rotation</p:attrName>
                                        </p:attrNameLst>
                                      </p:cBhvr>
                                      <p:tavLst>
                                        <p:tav tm="0">
                                          <p:val>
                                            <p:fltVal val="360"/>
                                          </p:val>
                                        </p:tav>
                                        <p:tav tm="100000">
                                          <p:val>
                                            <p:fltVal val="0"/>
                                          </p:val>
                                        </p:tav>
                                      </p:tavLst>
                                    </p:anim>
                                    <p:animEffect transition="in" filter="fade">
                                      <p:cBhvr>
                                        <p:cTn id="28" dur="500"/>
                                        <p:tgtEl>
                                          <p:spTgt spid="75"/>
                                        </p:tgtEl>
                                      </p:cBhvr>
                                    </p:animEffect>
                                  </p:childTnLst>
                                </p:cTn>
                              </p:par>
                              <p:par>
                                <p:cTn id="29" presetID="50" presetClass="entr" presetSubtype="0" decel="100000" fill="hold" nodeType="withEffect">
                                  <p:stCondLst>
                                    <p:cond delay="0"/>
                                  </p:stCondLst>
                                  <p:childTnLst>
                                    <p:set>
                                      <p:cBhvr>
                                        <p:cTn id="30" dur="1" fill="hold">
                                          <p:stCondLst>
                                            <p:cond delay="0"/>
                                          </p:stCondLst>
                                        </p:cTn>
                                        <p:tgtEl>
                                          <p:spTgt spid="53"/>
                                        </p:tgtEl>
                                        <p:attrNameLst>
                                          <p:attrName>style.visibility</p:attrName>
                                        </p:attrNameLst>
                                      </p:cBhvr>
                                      <p:to>
                                        <p:strVal val="visible"/>
                                      </p:to>
                                    </p:set>
                                    <p:anim calcmode="lin" valueType="num">
                                      <p:cBhvr>
                                        <p:cTn id="31" dur="2000" fill="hold"/>
                                        <p:tgtEl>
                                          <p:spTgt spid="53"/>
                                        </p:tgtEl>
                                        <p:attrNameLst>
                                          <p:attrName>ppt_w</p:attrName>
                                        </p:attrNameLst>
                                      </p:cBhvr>
                                      <p:tavLst>
                                        <p:tav tm="0">
                                          <p:val>
                                            <p:strVal val="#ppt_w+.3"/>
                                          </p:val>
                                        </p:tav>
                                        <p:tav tm="100000">
                                          <p:val>
                                            <p:strVal val="#ppt_w"/>
                                          </p:val>
                                        </p:tav>
                                      </p:tavLst>
                                    </p:anim>
                                    <p:anim calcmode="lin" valueType="num">
                                      <p:cBhvr>
                                        <p:cTn id="32" dur="2000" fill="hold"/>
                                        <p:tgtEl>
                                          <p:spTgt spid="53"/>
                                        </p:tgtEl>
                                        <p:attrNameLst>
                                          <p:attrName>ppt_h</p:attrName>
                                        </p:attrNameLst>
                                      </p:cBhvr>
                                      <p:tavLst>
                                        <p:tav tm="0">
                                          <p:val>
                                            <p:strVal val="#ppt_h"/>
                                          </p:val>
                                        </p:tav>
                                        <p:tav tm="100000">
                                          <p:val>
                                            <p:strVal val="#ppt_h"/>
                                          </p:val>
                                        </p:tav>
                                      </p:tavLst>
                                    </p:anim>
                                    <p:animEffect transition="in" filter="fade">
                                      <p:cBhvr>
                                        <p:cTn id="33" dur="2000"/>
                                        <p:tgtEl>
                                          <p:spTgt spid="53"/>
                                        </p:tgtEl>
                                      </p:cBhvr>
                                    </p:animEffect>
                                  </p:childTnLst>
                                </p:cTn>
                              </p:par>
                            </p:childTnLst>
                          </p:cTn>
                        </p:par>
                        <p:par>
                          <p:cTn id="34" fill="hold">
                            <p:stCondLst>
                              <p:cond delay="2000"/>
                            </p:stCondLst>
                            <p:childTnLst>
                              <p:par>
                                <p:cTn id="35" presetID="22" presetClass="entr" presetSubtype="4" fill="hold" grpId="0" nodeType="afterEffect">
                                  <p:stCondLst>
                                    <p:cond delay="0"/>
                                  </p:stCondLst>
                                  <p:childTnLst>
                                    <p:set>
                                      <p:cBhvr>
                                        <p:cTn id="36" dur="1" fill="hold">
                                          <p:stCondLst>
                                            <p:cond delay="0"/>
                                          </p:stCondLst>
                                        </p:cTn>
                                        <p:tgtEl>
                                          <p:spTgt spid="76"/>
                                        </p:tgtEl>
                                        <p:attrNameLst>
                                          <p:attrName>style.visibility</p:attrName>
                                        </p:attrNameLst>
                                      </p:cBhvr>
                                      <p:to>
                                        <p:strVal val="visible"/>
                                      </p:to>
                                    </p:set>
                                    <p:animEffect transition="in" filter="wipe(down)">
                                      <p:cBhvr>
                                        <p:cTn id="37" dur="500"/>
                                        <p:tgtEl>
                                          <p:spTgt spid="76"/>
                                        </p:tgtEl>
                                      </p:cBhvr>
                                    </p:animEffect>
                                  </p:childTnLst>
                                </p:cTn>
                              </p:par>
                            </p:childTnLst>
                          </p:cTn>
                        </p:par>
                        <p:par>
                          <p:cTn id="38" fill="hold">
                            <p:stCondLst>
                              <p:cond delay="2500"/>
                            </p:stCondLst>
                            <p:childTnLst>
                              <p:par>
                                <p:cTn id="39" presetID="49" presetClass="entr" presetSubtype="0" decel="100000" fill="hold" grpId="0" nodeType="afterEffect">
                                  <p:stCondLst>
                                    <p:cond delay="0"/>
                                  </p:stCondLst>
                                  <p:childTnLst>
                                    <p:set>
                                      <p:cBhvr>
                                        <p:cTn id="40" dur="1" fill="hold">
                                          <p:stCondLst>
                                            <p:cond delay="0"/>
                                          </p:stCondLst>
                                        </p:cTn>
                                        <p:tgtEl>
                                          <p:spTgt spid="63"/>
                                        </p:tgtEl>
                                        <p:attrNameLst>
                                          <p:attrName>style.visibility</p:attrName>
                                        </p:attrNameLst>
                                      </p:cBhvr>
                                      <p:to>
                                        <p:strVal val="visible"/>
                                      </p:to>
                                    </p:set>
                                    <p:anim calcmode="lin" valueType="num">
                                      <p:cBhvr>
                                        <p:cTn id="41" dur="500" fill="hold"/>
                                        <p:tgtEl>
                                          <p:spTgt spid="63"/>
                                        </p:tgtEl>
                                        <p:attrNameLst>
                                          <p:attrName>ppt_w</p:attrName>
                                        </p:attrNameLst>
                                      </p:cBhvr>
                                      <p:tavLst>
                                        <p:tav tm="0">
                                          <p:val>
                                            <p:fltVal val="0"/>
                                          </p:val>
                                        </p:tav>
                                        <p:tav tm="100000">
                                          <p:val>
                                            <p:strVal val="#ppt_w"/>
                                          </p:val>
                                        </p:tav>
                                      </p:tavLst>
                                    </p:anim>
                                    <p:anim calcmode="lin" valueType="num">
                                      <p:cBhvr>
                                        <p:cTn id="42" dur="500" fill="hold"/>
                                        <p:tgtEl>
                                          <p:spTgt spid="63"/>
                                        </p:tgtEl>
                                        <p:attrNameLst>
                                          <p:attrName>ppt_h</p:attrName>
                                        </p:attrNameLst>
                                      </p:cBhvr>
                                      <p:tavLst>
                                        <p:tav tm="0">
                                          <p:val>
                                            <p:fltVal val="0"/>
                                          </p:val>
                                        </p:tav>
                                        <p:tav tm="100000">
                                          <p:val>
                                            <p:strVal val="#ppt_h"/>
                                          </p:val>
                                        </p:tav>
                                      </p:tavLst>
                                    </p:anim>
                                    <p:anim calcmode="lin" valueType="num">
                                      <p:cBhvr>
                                        <p:cTn id="43" dur="500" fill="hold"/>
                                        <p:tgtEl>
                                          <p:spTgt spid="63"/>
                                        </p:tgtEl>
                                        <p:attrNameLst>
                                          <p:attrName>style.rotation</p:attrName>
                                        </p:attrNameLst>
                                      </p:cBhvr>
                                      <p:tavLst>
                                        <p:tav tm="0">
                                          <p:val>
                                            <p:fltVal val="360"/>
                                          </p:val>
                                        </p:tav>
                                        <p:tav tm="100000">
                                          <p:val>
                                            <p:fltVal val="0"/>
                                          </p:val>
                                        </p:tav>
                                      </p:tavLst>
                                    </p:anim>
                                    <p:animEffect transition="in" filter="fade">
                                      <p:cBhvr>
                                        <p:cTn id="44" dur="500"/>
                                        <p:tgtEl>
                                          <p:spTgt spid="63"/>
                                        </p:tgtEl>
                                      </p:cBhvr>
                                    </p:animEffect>
                                  </p:childTnLst>
                                </p:cTn>
                              </p:par>
                              <p:par>
                                <p:cTn id="45" presetID="49" presetClass="entr" presetSubtype="0" decel="100000" fill="hold" nodeType="withEffect">
                                  <p:stCondLst>
                                    <p:cond delay="0"/>
                                  </p:stCondLst>
                                  <p:childTnLst>
                                    <p:set>
                                      <p:cBhvr>
                                        <p:cTn id="46" dur="1" fill="hold">
                                          <p:stCondLst>
                                            <p:cond delay="0"/>
                                          </p:stCondLst>
                                        </p:cTn>
                                        <p:tgtEl>
                                          <p:spTgt spid="60"/>
                                        </p:tgtEl>
                                        <p:attrNameLst>
                                          <p:attrName>style.visibility</p:attrName>
                                        </p:attrNameLst>
                                      </p:cBhvr>
                                      <p:to>
                                        <p:strVal val="visible"/>
                                      </p:to>
                                    </p:set>
                                    <p:anim calcmode="lin" valueType="num">
                                      <p:cBhvr>
                                        <p:cTn id="47" dur="500" fill="hold"/>
                                        <p:tgtEl>
                                          <p:spTgt spid="60"/>
                                        </p:tgtEl>
                                        <p:attrNameLst>
                                          <p:attrName>ppt_w</p:attrName>
                                        </p:attrNameLst>
                                      </p:cBhvr>
                                      <p:tavLst>
                                        <p:tav tm="0">
                                          <p:val>
                                            <p:fltVal val="0"/>
                                          </p:val>
                                        </p:tav>
                                        <p:tav tm="100000">
                                          <p:val>
                                            <p:strVal val="#ppt_w"/>
                                          </p:val>
                                        </p:tav>
                                      </p:tavLst>
                                    </p:anim>
                                    <p:anim calcmode="lin" valueType="num">
                                      <p:cBhvr>
                                        <p:cTn id="48" dur="500" fill="hold"/>
                                        <p:tgtEl>
                                          <p:spTgt spid="60"/>
                                        </p:tgtEl>
                                        <p:attrNameLst>
                                          <p:attrName>ppt_h</p:attrName>
                                        </p:attrNameLst>
                                      </p:cBhvr>
                                      <p:tavLst>
                                        <p:tav tm="0">
                                          <p:val>
                                            <p:fltVal val="0"/>
                                          </p:val>
                                        </p:tav>
                                        <p:tav tm="100000">
                                          <p:val>
                                            <p:strVal val="#ppt_h"/>
                                          </p:val>
                                        </p:tav>
                                      </p:tavLst>
                                    </p:anim>
                                    <p:anim calcmode="lin" valueType="num">
                                      <p:cBhvr>
                                        <p:cTn id="49" dur="500" fill="hold"/>
                                        <p:tgtEl>
                                          <p:spTgt spid="60"/>
                                        </p:tgtEl>
                                        <p:attrNameLst>
                                          <p:attrName>style.rotation</p:attrName>
                                        </p:attrNameLst>
                                      </p:cBhvr>
                                      <p:tavLst>
                                        <p:tav tm="0">
                                          <p:val>
                                            <p:fltVal val="360"/>
                                          </p:val>
                                        </p:tav>
                                        <p:tav tm="100000">
                                          <p:val>
                                            <p:fltVal val="0"/>
                                          </p:val>
                                        </p:tav>
                                      </p:tavLst>
                                    </p:anim>
                                    <p:animEffect transition="in" filter="fade">
                                      <p:cBhvr>
                                        <p:cTn id="50" dur="500"/>
                                        <p:tgtEl>
                                          <p:spTgt spid="60"/>
                                        </p:tgtEl>
                                      </p:cBhvr>
                                    </p:animEffect>
                                  </p:childTnLst>
                                </p:cTn>
                              </p:par>
                              <p:par>
                                <p:cTn id="51" presetID="49" presetClass="entr" presetSubtype="0" decel="100000" fill="hold" grpId="0" nodeType="withEffect">
                                  <p:stCondLst>
                                    <p:cond delay="0"/>
                                  </p:stCondLst>
                                  <p:iterate type="lt">
                                    <p:tmPct val="20000"/>
                                  </p:iterate>
                                  <p:childTnLst>
                                    <p:set>
                                      <p:cBhvr>
                                        <p:cTn id="52" dur="1" fill="hold">
                                          <p:stCondLst>
                                            <p:cond delay="0"/>
                                          </p:stCondLst>
                                        </p:cTn>
                                        <p:tgtEl>
                                          <p:spTgt spid="65"/>
                                        </p:tgtEl>
                                        <p:attrNameLst>
                                          <p:attrName>style.visibility</p:attrName>
                                        </p:attrNameLst>
                                      </p:cBhvr>
                                      <p:to>
                                        <p:strVal val="visible"/>
                                      </p:to>
                                    </p:set>
                                    <p:anim calcmode="lin" valueType="num">
                                      <p:cBhvr>
                                        <p:cTn id="53" dur="500" fill="hold"/>
                                        <p:tgtEl>
                                          <p:spTgt spid="65"/>
                                        </p:tgtEl>
                                        <p:attrNameLst>
                                          <p:attrName>ppt_w</p:attrName>
                                        </p:attrNameLst>
                                      </p:cBhvr>
                                      <p:tavLst>
                                        <p:tav tm="0">
                                          <p:val>
                                            <p:fltVal val="0"/>
                                          </p:val>
                                        </p:tav>
                                        <p:tav tm="100000">
                                          <p:val>
                                            <p:strVal val="#ppt_w"/>
                                          </p:val>
                                        </p:tav>
                                      </p:tavLst>
                                    </p:anim>
                                    <p:anim calcmode="lin" valueType="num">
                                      <p:cBhvr>
                                        <p:cTn id="54" dur="500" fill="hold"/>
                                        <p:tgtEl>
                                          <p:spTgt spid="65"/>
                                        </p:tgtEl>
                                        <p:attrNameLst>
                                          <p:attrName>ppt_h</p:attrName>
                                        </p:attrNameLst>
                                      </p:cBhvr>
                                      <p:tavLst>
                                        <p:tav tm="0">
                                          <p:val>
                                            <p:fltVal val="0"/>
                                          </p:val>
                                        </p:tav>
                                        <p:tav tm="100000">
                                          <p:val>
                                            <p:strVal val="#ppt_h"/>
                                          </p:val>
                                        </p:tav>
                                      </p:tavLst>
                                    </p:anim>
                                    <p:anim calcmode="lin" valueType="num">
                                      <p:cBhvr>
                                        <p:cTn id="55" dur="500" fill="hold"/>
                                        <p:tgtEl>
                                          <p:spTgt spid="65"/>
                                        </p:tgtEl>
                                        <p:attrNameLst>
                                          <p:attrName>style.rotation</p:attrName>
                                        </p:attrNameLst>
                                      </p:cBhvr>
                                      <p:tavLst>
                                        <p:tav tm="0">
                                          <p:val>
                                            <p:fltVal val="360"/>
                                          </p:val>
                                        </p:tav>
                                        <p:tav tm="100000">
                                          <p:val>
                                            <p:fltVal val="0"/>
                                          </p:val>
                                        </p:tav>
                                      </p:tavLst>
                                    </p:anim>
                                    <p:animEffect transition="in" filter="fade">
                                      <p:cBhvr>
                                        <p:cTn id="56" dur="500"/>
                                        <p:tgtEl>
                                          <p:spTgt spid="65"/>
                                        </p:tgtEl>
                                      </p:cBhvr>
                                    </p:animEffect>
                                  </p:childTnLst>
                                </p:cTn>
                              </p:par>
                              <p:par>
                                <p:cTn id="57" presetID="10" presetClass="entr" presetSubtype="0" fill="hold" grpId="0" nodeType="withEffect">
                                  <p:stCondLst>
                                    <p:cond delay="0"/>
                                  </p:stCondLst>
                                  <p:iterate type="lt">
                                    <p:tmPct val="4935"/>
                                  </p:iterate>
                                  <p:childTnLst>
                                    <p:set>
                                      <p:cBhvr>
                                        <p:cTn id="58" dur="1" fill="hold">
                                          <p:stCondLst>
                                            <p:cond delay="0"/>
                                          </p:stCondLst>
                                        </p:cTn>
                                        <p:tgtEl>
                                          <p:spTgt spid="64"/>
                                        </p:tgtEl>
                                        <p:attrNameLst>
                                          <p:attrName>style.visibility</p:attrName>
                                        </p:attrNameLst>
                                      </p:cBhvr>
                                      <p:to>
                                        <p:strVal val="visible"/>
                                      </p:to>
                                    </p:set>
                                    <p:animEffect transition="in" filter="fade">
                                      <p:cBhvr>
                                        <p:cTn id="59" dur="500"/>
                                        <p:tgtEl>
                                          <p:spTgt spid="64"/>
                                        </p:tgtEl>
                                      </p:cBhvr>
                                    </p:animEffect>
                                  </p:childTnLst>
                                </p:cTn>
                              </p:par>
                            </p:childTnLst>
                          </p:cTn>
                        </p:par>
                        <p:par>
                          <p:cTn id="60" fill="hold">
                            <p:stCondLst>
                              <p:cond delay="4406"/>
                            </p:stCondLst>
                            <p:childTnLst>
                              <p:par>
                                <p:cTn id="61" presetID="22" presetClass="entr" presetSubtype="4" fill="hold" grpId="0" nodeType="afterEffect">
                                  <p:stCondLst>
                                    <p:cond delay="0"/>
                                  </p:stCondLst>
                                  <p:childTnLst>
                                    <p:set>
                                      <p:cBhvr>
                                        <p:cTn id="62" dur="1" fill="hold">
                                          <p:stCondLst>
                                            <p:cond delay="0"/>
                                          </p:stCondLst>
                                        </p:cTn>
                                        <p:tgtEl>
                                          <p:spTgt spid="66">
                                            <p:graphicEl>
                                              <a:chart seriesIdx="-3" categoryIdx="-3" bldStep="gridLegend"/>
                                            </p:graphicEl>
                                          </p:spTgt>
                                        </p:tgtEl>
                                        <p:attrNameLst>
                                          <p:attrName>style.visibility</p:attrName>
                                        </p:attrNameLst>
                                      </p:cBhvr>
                                      <p:to>
                                        <p:strVal val="visible"/>
                                      </p:to>
                                    </p:set>
                                    <p:animEffect transition="in" filter="wipe(down)">
                                      <p:cBhvr>
                                        <p:cTn id="63" dur="500"/>
                                        <p:tgtEl>
                                          <p:spTgt spid="66">
                                            <p:graphicEl>
                                              <a:chart seriesIdx="-3" categoryIdx="-3" bldStep="gridLegend"/>
                                            </p:graphicEl>
                                          </p:spTgt>
                                        </p:tgtEl>
                                      </p:cBhvr>
                                    </p:animEffect>
                                  </p:childTnLst>
                                </p:cTn>
                              </p:par>
                            </p:childTnLst>
                          </p:cTn>
                        </p:par>
                        <p:par>
                          <p:cTn id="64" fill="hold">
                            <p:stCondLst>
                              <p:cond delay="4906"/>
                            </p:stCondLst>
                            <p:childTnLst>
                              <p:par>
                                <p:cTn id="65" presetID="22" presetClass="entr" presetSubtype="4" fill="hold" grpId="0" nodeType="afterEffect">
                                  <p:stCondLst>
                                    <p:cond delay="0"/>
                                  </p:stCondLst>
                                  <p:childTnLst>
                                    <p:set>
                                      <p:cBhvr>
                                        <p:cTn id="66" dur="1" fill="hold">
                                          <p:stCondLst>
                                            <p:cond delay="0"/>
                                          </p:stCondLst>
                                        </p:cTn>
                                        <p:tgtEl>
                                          <p:spTgt spid="66">
                                            <p:graphicEl>
                                              <a:chart seriesIdx="0" categoryIdx="0" bldStep="ptInSeries"/>
                                            </p:graphicEl>
                                          </p:spTgt>
                                        </p:tgtEl>
                                        <p:attrNameLst>
                                          <p:attrName>style.visibility</p:attrName>
                                        </p:attrNameLst>
                                      </p:cBhvr>
                                      <p:to>
                                        <p:strVal val="visible"/>
                                      </p:to>
                                    </p:set>
                                    <p:animEffect transition="in" filter="wipe(down)">
                                      <p:cBhvr>
                                        <p:cTn id="67" dur="1000"/>
                                        <p:tgtEl>
                                          <p:spTgt spid="66">
                                            <p:graphicEl>
                                              <a:chart seriesIdx="0" categoryIdx="0" bldStep="ptInSeries"/>
                                            </p:graphicEl>
                                          </p:spTgt>
                                        </p:tgtEl>
                                      </p:cBhvr>
                                    </p:animEffect>
                                  </p:childTnLst>
                                </p:cTn>
                              </p:par>
                            </p:childTnLst>
                          </p:cTn>
                        </p:par>
                        <p:par>
                          <p:cTn id="68" fill="hold">
                            <p:stCondLst>
                              <p:cond delay="5906"/>
                            </p:stCondLst>
                            <p:childTnLst>
                              <p:par>
                                <p:cTn id="69" presetID="22" presetClass="entr" presetSubtype="4" fill="hold" grpId="0" nodeType="afterEffect">
                                  <p:stCondLst>
                                    <p:cond delay="0"/>
                                  </p:stCondLst>
                                  <p:childTnLst>
                                    <p:set>
                                      <p:cBhvr>
                                        <p:cTn id="70" dur="1" fill="hold">
                                          <p:stCondLst>
                                            <p:cond delay="0"/>
                                          </p:stCondLst>
                                        </p:cTn>
                                        <p:tgtEl>
                                          <p:spTgt spid="66">
                                            <p:graphicEl>
                                              <a:chart seriesIdx="0" categoryIdx="1" bldStep="ptInSeries"/>
                                            </p:graphicEl>
                                          </p:spTgt>
                                        </p:tgtEl>
                                        <p:attrNameLst>
                                          <p:attrName>style.visibility</p:attrName>
                                        </p:attrNameLst>
                                      </p:cBhvr>
                                      <p:to>
                                        <p:strVal val="visible"/>
                                      </p:to>
                                    </p:set>
                                    <p:animEffect transition="in" filter="wipe(down)">
                                      <p:cBhvr>
                                        <p:cTn id="71" dur="1000"/>
                                        <p:tgtEl>
                                          <p:spTgt spid="66">
                                            <p:graphicEl>
                                              <a:chart seriesIdx="0" categoryIdx="1" bldStep="ptInSeries"/>
                                            </p:graphicEl>
                                          </p:spTgt>
                                        </p:tgtEl>
                                      </p:cBhvr>
                                    </p:animEffect>
                                  </p:childTnLst>
                                </p:cTn>
                              </p:par>
                            </p:childTnLst>
                          </p:cTn>
                        </p:par>
                        <p:par>
                          <p:cTn id="72" fill="hold">
                            <p:stCondLst>
                              <p:cond delay="6906"/>
                            </p:stCondLst>
                            <p:childTnLst>
                              <p:par>
                                <p:cTn id="73" presetID="22" presetClass="entr" presetSubtype="4" fill="hold" grpId="0" nodeType="afterEffect">
                                  <p:stCondLst>
                                    <p:cond delay="0"/>
                                  </p:stCondLst>
                                  <p:childTnLst>
                                    <p:set>
                                      <p:cBhvr>
                                        <p:cTn id="74" dur="1" fill="hold">
                                          <p:stCondLst>
                                            <p:cond delay="0"/>
                                          </p:stCondLst>
                                        </p:cTn>
                                        <p:tgtEl>
                                          <p:spTgt spid="66">
                                            <p:graphicEl>
                                              <a:chart seriesIdx="0" categoryIdx="2" bldStep="ptInSeries"/>
                                            </p:graphicEl>
                                          </p:spTgt>
                                        </p:tgtEl>
                                        <p:attrNameLst>
                                          <p:attrName>style.visibility</p:attrName>
                                        </p:attrNameLst>
                                      </p:cBhvr>
                                      <p:to>
                                        <p:strVal val="visible"/>
                                      </p:to>
                                    </p:set>
                                    <p:animEffect transition="in" filter="wipe(down)">
                                      <p:cBhvr>
                                        <p:cTn id="75" dur="1000"/>
                                        <p:tgtEl>
                                          <p:spTgt spid="66">
                                            <p:graphicEl>
                                              <a:chart seriesIdx="0" categoryIdx="2" bldStep="ptInSeries"/>
                                            </p:graphicEl>
                                          </p:spTgt>
                                        </p:tgtEl>
                                      </p:cBhvr>
                                    </p:animEffect>
                                  </p:childTnLst>
                                </p:cTn>
                              </p:par>
                            </p:childTnLst>
                          </p:cTn>
                        </p:par>
                        <p:par>
                          <p:cTn id="76" fill="hold">
                            <p:stCondLst>
                              <p:cond delay="7906"/>
                            </p:stCondLst>
                            <p:childTnLst>
                              <p:par>
                                <p:cTn id="77" presetID="22" presetClass="entr" presetSubtype="4" fill="hold" grpId="0" nodeType="afterEffect">
                                  <p:stCondLst>
                                    <p:cond delay="0"/>
                                  </p:stCondLst>
                                  <p:childTnLst>
                                    <p:set>
                                      <p:cBhvr>
                                        <p:cTn id="78" dur="1" fill="hold">
                                          <p:stCondLst>
                                            <p:cond delay="0"/>
                                          </p:stCondLst>
                                        </p:cTn>
                                        <p:tgtEl>
                                          <p:spTgt spid="66">
                                            <p:graphicEl>
                                              <a:chart seriesIdx="0" categoryIdx="3" bldStep="ptInSeries"/>
                                            </p:graphicEl>
                                          </p:spTgt>
                                        </p:tgtEl>
                                        <p:attrNameLst>
                                          <p:attrName>style.visibility</p:attrName>
                                        </p:attrNameLst>
                                      </p:cBhvr>
                                      <p:to>
                                        <p:strVal val="visible"/>
                                      </p:to>
                                    </p:set>
                                    <p:animEffect transition="in" filter="wipe(down)">
                                      <p:cBhvr>
                                        <p:cTn id="79" dur="1000"/>
                                        <p:tgtEl>
                                          <p:spTgt spid="66">
                                            <p:graphicEl>
                                              <a:chart seriesIdx="0" categoryIdx="3" bldStep="ptInSeries"/>
                                            </p:graphicEl>
                                          </p:spTgt>
                                        </p:tgtEl>
                                      </p:cBhvr>
                                    </p:animEffect>
                                  </p:childTnLst>
                                </p:cTn>
                              </p:par>
                            </p:childTnLst>
                          </p:cTn>
                        </p:par>
                        <p:par>
                          <p:cTn id="80" fill="hold">
                            <p:stCondLst>
                              <p:cond delay="8906"/>
                            </p:stCondLst>
                            <p:childTnLst>
                              <p:par>
                                <p:cTn id="81" presetID="49" presetClass="entr" presetSubtype="0" decel="100000" fill="hold" grpId="0" nodeType="afterEffect">
                                  <p:stCondLst>
                                    <p:cond delay="0"/>
                                  </p:stCondLst>
                                  <p:iterate type="lt">
                                    <p:tmPct val="5000"/>
                                  </p:iterate>
                                  <p:childTnLst>
                                    <p:set>
                                      <p:cBhvr>
                                        <p:cTn id="82" dur="1" fill="hold">
                                          <p:stCondLst>
                                            <p:cond delay="0"/>
                                          </p:stCondLst>
                                        </p:cTn>
                                        <p:tgtEl>
                                          <p:spTgt spid="68"/>
                                        </p:tgtEl>
                                        <p:attrNameLst>
                                          <p:attrName>style.visibility</p:attrName>
                                        </p:attrNameLst>
                                      </p:cBhvr>
                                      <p:to>
                                        <p:strVal val="visible"/>
                                      </p:to>
                                    </p:set>
                                    <p:anim calcmode="lin" valueType="num">
                                      <p:cBhvr>
                                        <p:cTn id="83" dur="500" fill="hold"/>
                                        <p:tgtEl>
                                          <p:spTgt spid="68"/>
                                        </p:tgtEl>
                                        <p:attrNameLst>
                                          <p:attrName>ppt_w</p:attrName>
                                        </p:attrNameLst>
                                      </p:cBhvr>
                                      <p:tavLst>
                                        <p:tav tm="0">
                                          <p:val>
                                            <p:fltVal val="0"/>
                                          </p:val>
                                        </p:tav>
                                        <p:tav tm="100000">
                                          <p:val>
                                            <p:strVal val="#ppt_w"/>
                                          </p:val>
                                        </p:tav>
                                      </p:tavLst>
                                    </p:anim>
                                    <p:anim calcmode="lin" valueType="num">
                                      <p:cBhvr>
                                        <p:cTn id="84" dur="500" fill="hold"/>
                                        <p:tgtEl>
                                          <p:spTgt spid="68"/>
                                        </p:tgtEl>
                                        <p:attrNameLst>
                                          <p:attrName>ppt_h</p:attrName>
                                        </p:attrNameLst>
                                      </p:cBhvr>
                                      <p:tavLst>
                                        <p:tav tm="0">
                                          <p:val>
                                            <p:fltVal val="0"/>
                                          </p:val>
                                        </p:tav>
                                        <p:tav tm="100000">
                                          <p:val>
                                            <p:strVal val="#ppt_h"/>
                                          </p:val>
                                        </p:tav>
                                      </p:tavLst>
                                    </p:anim>
                                    <p:anim calcmode="lin" valueType="num">
                                      <p:cBhvr>
                                        <p:cTn id="85" dur="500" fill="hold"/>
                                        <p:tgtEl>
                                          <p:spTgt spid="68"/>
                                        </p:tgtEl>
                                        <p:attrNameLst>
                                          <p:attrName>style.rotation</p:attrName>
                                        </p:attrNameLst>
                                      </p:cBhvr>
                                      <p:tavLst>
                                        <p:tav tm="0">
                                          <p:val>
                                            <p:fltVal val="360"/>
                                          </p:val>
                                        </p:tav>
                                        <p:tav tm="100000">
                                          <p:val>
                                            <p:fltVal val="0"/>
                                          </p:val>
                                        </p:tav>
                                      </p:tavLst>
                                    </p:anim>
                                    <p:animEffect transition="in" filter="fade">
                                      <p:cBhvr>
                                        <p:cTn id="86" dur="500"/>
                                        <p:tgtEl>
                                          <p:spTgt spid="68"/>
                                        </p:tgtEl>
                                      </p:cBhvr>
                                    </p:animEffect>
                                  </p:childTnLst>
                                </p:cTn>
                              </p:par>
                              <p:par>
                                <p:cTn id="87" presetID="49" presetClass="entr" presetSubtype="0" decel="100000" fill="hold" grpId="0" nodeType="withEffect">
                                  <p:stCondLst>
                                    <p:cond delay="0"/>
                                  </p:stCondLst>
                                  <p:iterate type="lt">
                                    <p:tmPct val="20000"/>
                                  </p:iterate>
                                  <p:childTnLst>
                                    <p:set>
                                      <p:cBhvr>
                                        <p:cTn id="88" dur="1" fill="hold">
                                          <p:stCondLst>
                                            <p:cond delay="0"/>
                                          </p:stCondLst>
                                        </p:cTn>
                                        <p:tgtEl>
                                          <p:spTgt spid="69"/>
                                        </p:tgtEl>
                                        <p:attrNameLst>
                                          <p:attrName>style.visibility</p:attrName>
                                        </p:attrNameLst>
                                      </p:cBhvr>
                                      <p:to>
                                        <p:strVal val="visible"/>
                                      </p:to>
                                    </p:set>
                                    <p:anim calcmode="lin" valueType="num">
                                      <p:cBhvr>
                                        <p:cTn id="89" dur="500" fill="hold"/>
                                        <p:tgtEl>
                                          <p:spTgt spid="69"/>
                                        </p:tgtEl>
                                        <p:attrNameLst>
                                          <p:attrName>ppt_w</p:attrName>
                                        </p:attrNameLst>
                                      </p:cBhvr>
                                      <p:tavLst>
                                        <p:tav tm="0">
                                          <p:val>
                                            <p:fltVal val="0"/>
                                          </p:val>
                                        </p:tav>
                                        <p:tav tm="100000">
                                          <p:val>
                                            <p:strVal val="#ppt_w"/>
                                          </p:val>
                                        </p:tav>
                                      </p:tavLst>
                                    </p:anim>
                                    <p:anim calcmode="lin" valueType="num">
                                      <p:cBhvr>
                                        <p:cTn id="90" dur="500" fill="hold"/>
                                        <p:tgtEl>
                                          <p:spTgt spid="69"/>
                                        </p:tgtEl>
                                        <p:attrNameLst>
                                          <p:attrName>ppt_h</p:attrName>
                                        </p:attrNameLst>
                                      </p:cBhvr>
                                      <p:tavLst>
                                        <p:tav tm="0">
                                          <p:val>
                                            <p:fltVal val="0"/>
                                          </p:val>
                                        </p:tav>
                                        <p:tav tm="100000">
                                          <p:val>
                                            <p:strVal val="#ppt_h"/>
                                          </p:val>
                                        </p:tav>
                                      </p:tavLst>
                                    </p:anim>
                                    <p:anim calcmode="lin" valueType="num">
                                      <p:cBhvr>
                                        <p:cTn id="91" dur="500" fill="hold"/>
                                        <p:tgtEl>
                                          <p:spTgt spid="69"/>
                                        </p:tgtEl>
                                        <p:attrNameLst>
                                          <p:attrName>style.rotation</p:attrName>
                                        </p:attrNameLst>
                                      </p:cBhvr>
                                      <p:tavLst>
                                        <p:tav tm="0">
                                          <p:val>
                                            <p:fltVal val="360"/>
                                          </p:val>
                                        </p:tav>
                                        <p:tav tm="100000">
                                          <p:val>
                                            <p:fltVal val="0"/>
                                          </p:val>
                                        </p:tav>
                                      </p:tavLst>
                                    </p:anim>
                                    <p:animEffect transition="in" filter="fade">
                                      <p:cBhvr>
                                        <p:cTn id="92" dur="500"/>
                                        <p:tgtEl>
                                          <p:spTgt spid="69"/>
                                        </p:tgtEl>
                                      </p:cBhvr>
                                    </p:animEffect>
                                  </p:childTnLst>
                                </p:cTn>
                              </p:par>
                              <p:par>
                                <p:cTn id="93" presetID="10" presetClass="entr" presetSubtype="0" fill="hold" grpId="0" nodeType="withEffect">
                                  <p:stCondLst>
                                    <p:cond delay="0"/>
                                  </p:stCondLst>
                                  <p:iterate type="lt">
                                    <p:tmPct val="4935"/>
                                  </p:iterate>
                                  <p:childTnLst>
                                    <p:set>
                                      <p:cBhvr>
                                        <p:cTn id="94" dur="1" fill="hold">
                                          <p:stCondLst>
                                            <p:cond delay="0"/>
                                          </p:stCondLst>
                                        </p:cTn>
                                        <p:tgtEl>
                                          <p:spTgt spid="67"/>
                                        </p:tgtEl>
                                        <p:attrNameLst>
                                          <p:attrName>style.visibility</p:attrName>
                                        </p:attrNameLst>
                                      </p:cBhvr>
                                      <p:to>
                                        <p:strVal val="visible"/>
                                      </p:to>
                                    </p:set>
                                    <p:animEffect transition="in" filter="fade">
                                      <p:cBhvr>
                                        <p:cTn id="95" dur="500"/>
                                        <p:tgtEl>
                                          <p:spTgt spid="67"/>
                                        </p:tgtEl>
                                      </p:cBhvr>
                                    </p:animEffect>
                                  </p:childTnLst>
                                </p:cTn>
                              </p:par>
                            </p:childTnLst>
                          </p:cTn>
                        </p:par>
                        <p:par>
                          <p:cTn id="96" fill="hold">
                            <p:stCondLst>
                              <p:cond delay="10738"/>
                            </p:stCondLst>
                            <p:childTnLst>
                              <p:par>
                                <p:cTn id="97" presetID="2" presetClass="entr" presetSubtype="6" decel="100000" fill="hold" nodeType="afterEffect">
                                  <p:stCondLst>
                                    <p:cond delay="0"/>
                                  </p:stCondLst>
                                  <p:childTnLst>
                                    <p:set>
                                      <p:cBhvr>
                                        <p:cTn id="98" dur="1" fill="hold">
                                          <p:stCondLst>
                                            <p:cond delay="0"/>
                                          </p:stCondLst>
                                        </p:cTn>
                                        <p:tgtEl>
                                          <p:spTgt spid="55"/>
                                        </p:tgtEl>
                                        <p:attrNameLst>
                                          <p:attrName>style.visibility</p:attrName>
                                        </p:attrNameLst>
                                      </p:cBhvr>
                                      <p:to>
                                        <p:strVal val="visible"/>
                                      </p:to>
                                    </p:set>
                                    <p:anim calcmode="lin" valueType="num">
                                      <p:cBhvr additive="base">
                                        <p:cTn id="99" dur="1500" fill="hold"/>
                                        <p:tgtEl>
                                          <p:spTgt spid="55"/>
                                        </p:tgtEl>
                                        <p:attrNameLst>
                                          <p:attrName>ppt_x</p:attrName>
                                        </p:attrNameLst>
                                      </p:cBhvr>
                                      <p:tavLst>
                                        <p:tav tm="0">
                                          <p:val>
                                            <p:strVal val="1+#ppt_w/2"/>
                                          </p:val>
                                        </p:tav>
                                        <p:tav tm="100000">
                                          <p:val>
                                            <p:strVal val="#ppt_x"/>
                                          </p:val>
                                        </p:tav>
                                      </p:tavLst>
                                    </p:anim>
                                    <p:anim calcmode="lin" valueType="num">
                                      <p:cBhvr additive="base">
                                        <p:cTn id="100" dur="1500" fill="hold"/>
                                        <p:tgtEl>
                                          <p:spTgt spid="55"/>
                                        </p:tgtEl>
                                        <p:attrNameLst>
                                          <p:attrName>ppt_y</p:attrName>
                                        </p:attrNameLst>
                                      </p:cBhvr>
                                      <p:tavLst>
                                        <p:tav tm="0">
                                          <p:val>
                                            <p:strVal val="1+#ppt_h/2"/>
                                          </p:val>
                                        </p:tav>
                                        <p:tav tm="100000">
                                          <p:val>
                                            <p:strVal val="#ppt_y"/>
                                          </p:val>
                                        </p:tav>
                                      </p:tavLst>
                                    </p:anim>
                                  </p:childTnLst>
                                </p:cTn>
                              </p:par>
                              <p:par>
                                <p:cTn id="101" presetID="2" presetClass="entr" presetSubtype="6" decel="100000" fill="hold" nodeType="withEffect">
                                  <p:stCondLst>
                                    <p:cond delay="200"/>
                                  </p:stCondLst>
                                  <p:childTnLst>
                                    <p:set>
                                      <p:cBhvr>
                                        <p:cTn id="102" dur="1" fill="hold">
                                          <p:stCondLst>
                                            <p:cond delay="0"/>
                                          </p:stCondLst>
                                        </p:cTn>
                                        <p:tgtEl>
                                          <p:spTgt spid="56"/>
                                        </p:tgtEl>
                                        <p:attrNameLst>
                                          <p:attrName>style.visibility</p:attrName>
                                        </p:attrNameLst>
                                      </p:cBhvr>
                                      <p:to>
                                        <p:strVal val="visible"/>
                                      </p:to>
                                    </p:set>
                                    <p:anim calcmode="lin" valueType="num">
                                      <p:cBhvr additive="base">
                                        <p:cTn id="103" dur="1500" fill="hold"/>
                                        <p:tgtEl>
                                          <p:spTgt spid="56"/>
                                        </p:tgtEl>
                                        <p:attrNameLst>
                                          <p:attrName>ppt_x</p:attrName>
                                        </p:attrNameLst>
                                      </p:cBhvr>
                                      <p:tavLst>
                                        <p:tav tm="0">
                                          <p:val>
                                            <p:strVal val="1+#ppt_w/2"/>
                                          </p:val>
                                        </p:tav>
                                        <p:tav tm="100000">
                                          <p:val>
                                            <p:strVal val="#ppt_x"/>
                                          </p:val>
                                        </p:tav>
                                      </p:tavLst>
                                    </p:anim>
                                    <p:anim calcmode="lin" valueType="num">
                                      <p:cBhvr additive="base">
                                        <p:cTn id="104" dur="1500" fill="hold"/>
                                        <p:tgtEl>
                                          <p:spTgt spid="56"/>
                                        </p:tgtEl>
                                        <p:attrNameLst>
                                          <p:attrName>ppt_y</p:attrName>
                                        </p:attrNameLst>
                                      </p:cBhvr>
                                      <p:tavLst>
                                        <p:tav tm="0">
                                          <p:val>
                                            <p:strVal val="1+#ppt_h/2"/>
                                          </p:val>
                                        </p:tav>
                                        <p:tav tm="100000">
                                          <p:val>
                                            <p:strVal val="#ppt_y"/>
                                          </p:val>
                                        </p:tav>
                                      </p:tavLst>
                                    </p:anim>
                                  </p:childTnLst>
                                </p:cTn>
                              </p:par>
                              <p:par>
                                <p:cTn id="105" presetID="2" presetClass="entr" presetSubtype="6" decel="100000" fill="hold" nodeType="withEffect">
                                  <p:stCondLst>
                                    <p:cond delay="500"/>
                                  </p:stCondLst>
                                  <p:childTnLst>
                                    <p:set>
                                      <p:cBhvr>
                                        <p:cTn id="106" dur="1" fill="hold">
                                          <p:stCondLst>
                                            <p:cond delay="0"/>
                                          </p:stCondLst>
                                        </p:cTn>
                                        <p:tgtEl>
                                          <p:spTgt spid="54"/>
                                        </p:tgtEl>
                                        <p:attrNameLst>
                                          <p:attrName>style.visibility</p:attrName>
                                        </p:attrNameLst>
                                      </p:cBhvr>
                                      <p:to>
                                        <p:strVal val="visible"/>
                                      </p:to>
                                    </p:set>
                                    <p:anim calcmode="lin" valueType="num">
                                      <p:cBhvr additive="base">
                                        <p:cTn id="107" dur="1500" fill="hold"/>
                                        <p:tgtEl>
                                          <p:spTgt spid="54"/>
                                        </p:tgtEl>
                                        <p:attrNameLst>
                                          <p:attrName>ppt_x</p:attrName>
                                        </p:attrNameLst>
                                      </p:cBhvr>
                                      <p:tavLst>
                                        <p:tav tm="0">
                                          <p:val>
                                            <p:strVal val="1+#ppt_w/2"/>
                                          </p:val>
                                        </p:tav>
                                        <p:tav tm="100000">
                                          <p:val>
                                            <p:strVal val="#ppt_x"/>
                                          </p:val>
                                        </p:tav>
                                      </p:tavLst>
                                    </p:anim>
                                    <p:anim calcmode="lin" valueType="num">
                                      <p:cBhvr additive="base">
                                        <p:cTn id="108" dur="1500" fill="hold"/>
                                        <p:tgtEl>
                                          <p:spTgt spid="54"/>
                                        </p:tgtEl>
                                        <p:attrNameLst>
                                          <p:attrName>ppt_y</p:attrName>
                                        </p:attrNameLst>
                                      </p:cBhvr>
                                      <p:tavLst>
                                        <p:tav tm="0">
                                          <p:val>
                                            <p:strVal val="1+#ppt_h/2"/>
                                          </p:val>
                                        </p:tav>
                                        <p:tav tm="100000">
                                          <p:val>
                                            <p:strVal val="#ppt_y"/>
                                          </p:val>
                                        </p:tav>
                                      </p:tavLst>
                                    </p:anim>
                                  </p:childTnLst>
                                </p:cTn>
                              </p:par>
                              <p:par>
                                <p:cTn id="109" presetID="22" presetClass="entr" presetSubtype="4" fill="hold" nodeType="withEffect">
                                  <p:stCondLst>
                                    <p:cond delay="500"/>
                                  </p:stCondLst>
                                  <p:childTnLst>
                                    <p:set>
                                      <p:cBhvr>
                                        <p:cTn id="110" dur="1" fill="hold">
                                          <p:stCondLst>
                                            <p:cond delay="0"/>
                                          </p:stCondLst>
                                        </p:cTn>
                                        <p:tgtEl>
                                          <p:spTgt spid="79"/>
                                        </p:tgtEl>
                                        <p:attrNameLst>
                                          <p:attrName>style.visibility</p:attrName>
                                        </p:attrNameLst>
                                      </p:cBhvr>
                                      <p:to>
                                        <p:strVal val="visible"/>
                                      </p:to>
                                    </p:set>
                                    <p:animEffect transition="in" filter="wipe(down)">
                                      <p:cBhvr>
                                        <p:cTn id="111"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63" grpId="0" animBg="1"/>
      <p:bldP spid="64" grpId="0"/>
      <p:bldP spid="65" grpId="0"/>
      <p:bldGraphic spid="66" grpId="0">
        <p:bldSub>
          <a:bldChart bld="seriesEl"/>
        </p:bldSub>
      </p:bldGraphic>
      <p:bldP spid="67" grpId="0"/>
      <p:bldP spid="68" grpId="0" animBg="1"/>
      <p:bldP spid="69" grpId="0"/>
      <p:bldP spid="75" grpId="0"/>
      <p:bldP spid="7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p:cNvPicPr>
            <a:picLocks noChangeAspect="1"/>
          </p:cNvPicPr>
          <p:nvPr/>
        </p:nvPicPr>
        <p:blipFill rotWithShape="1">
          <a:blip r:embed="rId2" cstate="screen"/>
          <a:srcRect/>
          <a:stretch>
            <a:fillRect/>
          </a:stretch>
        </p:blipFill>
        <p:spPr>
          <a:xfrm>
            <a:off x="284893" y="56713"/>
            <a:ext cx="869970" cy="1499038"/>
          </a:xfrm>
          <a:prstGeom prst="rect">
            <a:avLst/>
          </a:prstGeom>
        </p:spPr>
      </p:pic>
      <p:sp>
        <p:nvSpPr>
          <p:cNvPr id="3" name="矩形 2"/>
          <p:cNvSpPr/>
          <p:nvPr/>
        </p:nvSpPr>
        <p:spPr>
          <a:xfrm>
            <a:off x="1154863" y="459121"/>
            <a:ext cx="2622550" cy="523220"/>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智慧企业</a:t>
            </a:r>
          </a:p>
        </p:txBody>
      </p:sp>
      <p:grpSp>
        <p:nvGrpSpPr>
          <p:cNvPr id="36" name="组合 35"/>
          <p:cNvGrpSpPr/>
          <p:nvPr/>
        </p:nvGrpSpPr>
        <p:grpSpPr>
          <a:xfrm>
            <a:off x="4114800" y="0"/>
            <a:ext cx="8089232" cy="6858000"/>
            <a:chOff x="4102768" y="0"/>
            <a:chExt cx="8089232" cy="6858000"/>
          </a:xfrm>
        </p:grpSpPr>
        <p:pic>
          <p:nvPicPr>
            <p:cNvPr id="37" name="7"/>
            <p:cNvPicPr>
              <a:picLocks noChangeAspect="1"/>
            </p:cNvPicPr>
            <p:nvPr userDrawn="1"/>
          </p:nvPicPr>
          <p:blipFill rotWithShape="1">
            <a:blip r:embed="rId3" cstate="screen"/>
            <a:srcRect l="33358"/>
            <a:stretch>
              <a:fillRect/>
            </a:stretch>
          </p:blipFill>
          <p:spPr>
            <a:xfrm>
              <a:off x="4102768" y="29029"/>
              <a:ext cx="8080232" cy="6820283"/>
            </a:xfrm>
            <a:prstGeom prst="rect">
              <a:avLst/>
            </a:prstGeom>
          </p:spPr>
        </p:pic>
        <p:pic>
          <p:nvPicPr>
            <p:cNvPr id="38" name="2"/>
            <p:cNvPicPr>
              <a:picLocks noChangeAspect="1"/>
            </p:cNvPicPr>
            <p:nvPr userDrawn="1"/>
          </p:nvPicPr>
          <p:blipFill rotWithShape="1">
            <a:blip r:embed="rId4" cstate="screen"/>
            <a:srcRect/>
            <a:stretch>
              <a:fillRect/>
            </a:stretch>
          </p:blipFill>
          <p:spPr>
            <a:xfrm>
              <a:off x="5638800" y="0"/>
              <a:ext cx="6553200" cy="6858000"/>
            </a:xfrm>
            <a:prstGeom prst="rect">
              <a:avLst/>
            </a:prstGeom>
          </p:spPr>
        </p:pic>
      </p:grpSp>
      <p:pic>
        <p:nvPicPr>
          <p:cNvPr id="39" name="1"/>
          <p:cNvPicPr>
            <a:picLocks noChangeAspect="1"/>
          </p:cNvPicPr>
          <p:nvPr/>
        </p:nvPicPr>
        <p:blipFill rotWithShape="1">
          <a:blip r:embed="rId5" cstate="screen"/>
          <a:srcRect b="-6464"/>
          <a:stretch>
            <a:fillRect/>
          </a:stretch>
        </p:blipFill>
        <p:spPr>
          <a:xfrm>
            <a:off x="6565232" y="571501"/>
            <a:ext cx="5384800" cy="6692900"/>
          </a:xfrm>
          <a:prstGeom prst="rect">
            <a:avLst/>
          </a:prstGeom>
        </p:spPr>
      </p:pic>
      <p:pic>
        <p:nvPicPr>
          <p:cNvPr id="40" name="6"/>
          <p:cNvPicPr>
            <a:picLocks noChangeAspect="1"/>
          </p:cNvPicPr>
          <p:nvPr/>
        </p:nvPicPr>
        <p:blipFill rotWithShape="1">
          <a:blip r:embed="rId6" cstate="screen"/>
          <a:srcRect/>
          <a:stretch>
            <a:fillRect/>
          </a:stretch>
        </p:blipFill>
        <p:spPr>
          <a:xfrm>
            <a:off x="7073232" y="749300"/>
            <a:ext cx="4699000" cy="4953000"/>
          </a:xfrm>
          <a:prstGeom prst="rect">
            <a:avLst/>
          </a:prstGeom>
        </p:spPr>
      </p:pic>
      <p:pic>
        <p:nvPicPr>
          <p:cNvPr id="41" name="4"/>
          <p:cNvPicPr>
            <a:picLocks noChangeAspect="1"/>
          </p:cNvPicPr>
          <p:nvPr/>
        </p:nvPicPr>
        <p:blipFill rotWithShape="1">
          <a:blip r:embed="rId7" cstate="screen"/>
          <a:srcRect/>
          <a:stretch>
            <a:fillRect/>
          </a:stretch>
        </p:blipFill>
        <p:spPr>
          <a:xfrm>
            <a:off x="7327233" y="965201"/>
            <a:ext cx="4051300" cy="3111500"/>
          </a:xfrm>
          <a:prstGeom prst="rect">
            <a:avLst/>
          </a:prstGeom>
        </p:spPr>
      </p:pic>
      <p:pic>
        <p:nvPicPr>
          <p:cNvPr id="42" name="5"/>
          <p:cNvPicPr>
            <a:picLocks noChangeAspect="1"/>
          </p:cNvPicPr>
          <p:nvPr/>
        </p:nvPicPr>
        <p:blipFill rotWithShape="1">
          <a:blip r:embed="rId8" cstate="screen"/>
          <a:srcRect/>
          <a:stretch>
            <a:fillRect/>
          </a:stretch>
        </p:blipFill>
        <p:spPr>
          <a:xfrm>
            <a:off x="7162133" y="850901"/>
            <a:ext cx="4533900" cy="4483100"/>
          </a:xfrm>
          <a:prstGeom prst="rect">
            <a:avLst/>
          </a:prstGeom>
        </p:spPr>
      </p:pic>
      <p:pic>
        <p:nvPicPr>
          <p:cNvPr id="43" name="3"/>
          <p:cNvPicPr>
            <a:picLocks noChangeAspect="1"/>
          </p:cNvPicPr>
          <p:nvPr/>
        </p:nvPicPr>
        <p:blipFill rotWithShape="1">
          <a:blip r:embed="rId9" cstate="screen"/>
          <a:srcRect/>
          <a:stretch>
            <a:fillRect/>
          </a:stretch>
        </p:blipFill>
        <p:spPr>
          <a:xfrm>
            <a:off x="7746332" y="1257300"/>
            <a:ext cx="3378200" cy="3352800"/>
          </a:xfrm>
          <a:prstGeom prst="rect">
            <a:avLst/>
          </a:prstGeom>
        </p:spPr>
      </p:pic>
      <p:pic>
        <p:nvPicPr>
          <p:cNvPr id="44" name="gear"/>
          <p:cNvPicPr>
            <a:picLocks noChangeAspect="1"/>
          </p:cNvPicPr>
          <p:nvPr/>
        </p:nvPicPr>
        <p:blipFill>
          <a:blip r:embed="rId10">
            <a:duotone>
              <a:prstClr val="black"/>
              <a:srgbClr val="12FFFF">
                <a:tint val="45000"/>
                <a:satMod val="400000"/>
              </a:srgbClr>
            </a:duotone>
            <a:extLst>
              <a:ext uri="{BEBA8EAE-BF5A-486C-A8C5-ECC9F3942E4B}">
                <a14:imgProps xmlns:a14="http://schemas.microsoft.com/office/drawing/2010/main">
                  <a14:imgLayer r:embed="rId11">
                    <a14:imgEffect>
                      <a14:brightnessContrast bright="100000"/>
                    </a14:imgEffect>
                  </a14:imgLayer>
                </a14:imgProps>
              </a:ext>
            </a:extLst>
          </a:blip>
          <a:stretch>
            <a:fillRect/>
          </a:stretch>
        </p:blipFill>
        <p:spPr>
          <a:xfrm>
            <a:off x="8559201" y="1993969"/>
            <a:ext cx="1701732" cy="1682171"/>
          </a:xfrm>
          <a:prstGeom prst="rect">
            <a:avLst/>
          </a:prstGeom>
        </p:spPr>
      </p:pic>
      <p:graphicFrame>
        <p:nvGraphicFramePr>
          <p:cNvPr id="45" name="Chart 10"/>
          <p:cNvGraphicFramePr/>
          <p:nvPr/>
        </p:nvGraphicFramePr>
        <p:xfrm>
          <a:off x="909543" y="4213554"/>
          <a:ext cx="5084188" cy="1943456"/>
        </p:xfrm>
        <a:graphic>
          <a:graphicData uri="http://schemas.openxmlformats.org/drawingml/2006/chart">
            <c:chart xmlns:c="http://schemas.openxmlformats.org/drawingml/2006/chart" xmlns:r="http://schemas.openxmlformats.org/officeDocument/2006/relationships" r:id="rId12"/>
          </a:graphicData>
        </a:graphic>
      </p:graphicFrame>
      <p:sp>
        <p:nvSpPr>
          <p:cNvPr id="46" name="矩形 45"/>
          <p:cNvSpPr/>
          <p:nvPr/>
        </p:nvSpPr>
        <p:spPr>
          <a:xfrm>
            <a:off x="1112756" y="1604449"/>
            <a:ext cx="4880975" cy="825419"/>
          </a:xfrm>
          <a:prstGeom prst="rect">
            <a:avLst/>
          </a:prstGeom>
        </p:spPr>
        <p:txBody>
          <a:bodyPr wrap="square">
            <a:spAutoFit/>
          </a:bodyPr>
          <a:lstStyle/>
          <a:p>
            <a:pPr>
              <a:lnSpc>
                <a:spcPct val="150000"/>
              </a:lnSpc>
            </a:pPr>
            <a:r>
              <a:rPr lang="en-US" altLang="zh-CN" sz="3600" b="1" dirty="0">
                <a:solidFill>
                  <a:srgbClr val="84FFFF"/>
                </a:solidFill>
                <a:cs typeface="+mn-ea"/>
                <a:sym typeface="+mn-lt"/>
              </a:rPr>
              <a:t>Picture on slide </a:t>
            </a:r>
          </a:p>
        </p:txBody>
      </p:sp>
      <p:sp>
        <p:nvSpPr>
          <p:cNvPr id="47" name="矩形 46"/>
          <p:cNvSpPr/>
          <p:nvPr/>
        </p:nvSpPr>
        <p:spPr>
          <a:xfrm>
            <a:off x="1112756" y="2452959"/>
            <a:ext cx="4293076" cy="1477328"/>
          </a:xfrm>
          <a:prstGeom prst="rect">
            <a:avLst/>
          </a:prstGeom>
        </p:spPr>
        <p:txBody>
          <a:bodyPr wrap="square">
            <a:spAutoFit/>
          </a:bodyPr>
          <a:lstStyle/>
          <a:p>
            <a:pPr>
              <a:lnSpc>
                <a:spcPct val="150000"/>
              </a:lnSpc>
              <a:buClr>
                <a:srgbClr val="E24848"/>
              </a:buClr>
            </a:pPr>
            <a:r>
              <a:rPr lang="zh-CN" altLang="en-US" sz="1200" noProof="1">
                <a:solidFill>
                  <a:schemeClr val="bg1"/>
                </a:solidFill>
                <a:cs typeface="+mn-ea"/>
                <a:sym typeface="+mn-lt"/>
              </a:rPr>
              <a:t>您的内容打在这里，或者通过复制您的文本后，在此框中选择粘贴，并选择只保留文字。您的内容打在这里，或者通过通过复制您的文本您的内容打在这里，或者通过复制您的文本后，在此框中选择粘贴，并选择只保留文字。您的内容打在这里，或者通过通过复制您的文本。</a:t>
            </a:r>
          </a:p>
        </p:txBody>
      </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ppt_x"/>
                                          </p:val>
                                        </p:tav>
                                        <p:tav tm="100000">
                                          <p:val>
                                            <p:strVal val="#ppt_x"/>
                                          </p:val>
                                        </p:tav>
                                      </p:tavLst>
                                    </p:anim>
                                    <p:anim calcmode="lin" valueType="num">
                                      <p:cBhvr additive="base">
                                        <p:cTn id="8" dur="1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2" presetClass="entr" presetSubtype="2" decel="100000" fill="hold" nodeType="withEffect">
                                  <p:stCondLst>
                                    <p:cond delay="1000"/>
                                  </p:stCondLst>
                                  <p:childTnLst>
                                    <p:set>
                                      <p:cBhvr>
                                        <p:cTn id="17" dur="1" fill="hold">
                                          <p:stCondLst>
                                            <p:cond delay="0"/>
                                          </p:stCondLst>
                                        </p:cTn>
                                        <p:tgtEl>
                                          <p:spTgt spid="36"/>
                                        </p:tgtEl>
                                        <p:attrNameLst>
                                          <p:attrName>style.visibility</p:attrName>
                                        </p:attrNameLst>
                                      </p:cBhvr>
                                      <p:to>
                                        <p:strVal val="visible"/>
                                      </p:to>
                                    </p:set>
                                    <p:anim calcmode="lin" valueType="num">
                                      <p:cBhvr additive="base">
                                        <p:cTn id="18" dur="1500" fill="hold"/>
                                        <p:tgtEl>
                                          <p:spTgt spid="36"/>
                                        </p:tgtEl>
                                        <p:attrNameLst>
                                          <p:attrName>ppt_x</p:attrName>
                                        </p:attrNameLst>
                                      </p:cBhvr>
                                      <p:tavLst>
                                        <p:tav tm="0">
                                          <p:val>
                                            <p:strVal val="1+#ppt_w/2"/>
                                          </p:val>
                                        </p:tav>
                                        <p:tav tm="100000">
                                          <p:val>
                                            <p:strVal val="#ppt_x"/>
                                          </p:val>
                                        </p:tav>
                                      </p:tavLst>
                                    </p:anim>
                                    <p:anim calcmode="lin" valueType="num">
                                      <p:cBhvr additive="base">
                                        <p:cTn id="19" dur="1500" fill="hold"/>
                                        <p:tgtEl>
                                          <p:spTgt spid="36"/>
                                        </p:tgtEl>
                                        <p:attrNameLst>
                                          <p:attrName>ppt_y</p:attrName>
                                        </p:attrNameLst>
                                      </p:cBhvr>
                                      <p:tavLst>
                                        <p:tav tm="0">
                                          <p:val>
                                            <p:strVal val="#ppt_y"/>
                                          </p:val>
                                        </p:tav>
                                        <p:tav tm="100000">
                                          <p:val>
                                            <p:strVal val="#ppt_y"/>
                                          </p:val>
                                        </p:tav>
                                      </p:tavLst>
                                    </p:anim>
                                  </p:childTnLst>
                                </p:cTn>
                              </p:par>
                            </p:childTnLst>
                          </p:cTn>
                        </p:par>
                        <p:par>
                          <p:cTn id="20" fill="hold">
                            <p:stCondLst>
                              <p:cond delay="0"/>
                            </p:stCondLst>
                            <p:childTnLst>
                              <p:par>
                                <p:cTn id="21" presetID="21" presetClass="entr" presetSubtype="1" fill="hold" nodeType="after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wheel(1)">
                                      <p:cBhvr>
                                        <p:cTn id="23" dur="2000"/>
                                        <p:tgtEl>
                                          <p:spTgt spid="39"/>
                                        </p:tgtEl>
                                      </p:cBhvr>
                                    </p:animEffect>
                                  </p:childTnLst>
                                </p:cTn>
                              </p:par>
                              <p:par>
                                <p:cTn id="24" presetID="21" presetClass="entr" presetSubtype="1" fill="hold" nodeType="withEffect">
                                  <p:stCondLst>
                                    <p:cond delay="750"/>
                                  </p:stCondLst>
                                  <p:childTnLst>
                                    <p:set>
                                      <p:cBhvr>
                                        <p:cTn id="25" dur="1" fill="hold">
                                          <p:stCondLst>
                                            <p:cond delay="0"/>
                                          </p:stCondLst>
                                        </p:cTn>
                                        <p:tgtEl>
                                          <p:spTgt spid="43"/>
                                        </p:tgtEl>
                                        <p:attrNameLst>
                                          <p:attrName>style.visibility</p:attrName>
                                        </p:attrNameLst>
                                      </p:cBhvr>
                                      <p:to>
                                        <p:strVal val="visible"/>
                                      </p:to>
                                    </p:set>
                                    <p:animEffect transition="in" filter="wheel(1)">
                                      <p:cBhvr>
                                        <p:cTn id="26" dur="2000"/>
                                        <p:tgtEl>
                                          <p:spTgt spid="43"/>
                                        </p:tgtEl>
                                      </p:cBhvr>
                                    </p:animEffect>
                                  </p:childTnLst>
                                </p:cTn>
                              </p:par>
                              <p:par>
                                <p:cTn id="27" presetID="21" presetClass="entr" presetSubtype="1" fill="hold" nodeType="withEffect">
                                  <p:stCondLst>
                                    <p:cond delay="1000"/>
                                  </p:stCondLst>
                                  <p:childTnLst>
                                    <p:set>
                                      <p:cBhvr>
                                        <p:cTn id="28" dur="1" fill="hold">
                                          <p:stCondLst>
                                            <p:cond delay="0"/>
                                          </p:stCondLst>
                                        </p:cTn>
                                        <p:tgtEl>
                                          <p:spTgt spid="41"/>
                                        </p:tgtEl>
                                        <p:attrNameLst>
                                          <p:attrName>style.visibility</p:attrName>
                                        </p:attrNameLst>
                                      </p:cBhvr>
                                      <p:to>
                                        <p:strVal val="visible"/>
                                      </p:to>
                                    </p:set>
                                    <p:animEffect transition="in" filter="wheel(1)">
                                      <p:cBhvr>
                                        <p:cTn id="29" dur="2000"/>
                                        <p:tgtEl>
                                          <p:spTgt spid="41"/>
                                        </p:tgtEl>
                                      </p:cBhvr>
                                    </p:animEffect>
                                  </p:childTnLst>
                                </p:cTn>
                              </p:par>
                              <p:par>
                                <p:cTn id="30" presetID="21" presetClass="entr" presetSubtype="1" fill="hold" nodeType="withEffect">
                                  <p:stCondLst>
                                    <p:cond delay="1250"/>
                                  </p:stCondLst>
                                  <p:childTnLst>
                                    <p:set>
                                      <p:cBhvr>
                                        <p:cTn id="31" dur="1" fill="hold">
                                          <p:stCondLst>
                                            <p:cond delay="0"/>
                                          </p:stCondLst>
                                        </p:cTn>
                                        <p:tgtEl>
                                          <p:spTgt spid="42"/>
                                        </p:tgtEl>
                                        <p:attrNameLst>
                                          <p:attrName>style.visibility</p:attrName>
                                        </p:attrNameLst>
                                      </p:cBhvr>
                                      <p:to>
                                        <p:strVal val="visible"/>
                                      </p:to>
                                    </p:set>
                                    <p:animEffect transition="in" filter="wheel(1)">
                                      <p:cBhvr>
                                        <p:cTn id="32" dur="2000"/>
                                        <p:tgtEl>
                                          <p:spTgt spid="42"/>
                                        </p:tgtEl>
                                      </p:cBhvr>
                                    </p:animEffect>
                                  </p:childTnLst>
                                </p:cTn>
                              </p:par>
                              <p:par>
                                <p:cTn id="33" presetID="21" presetClass="entr" presetSubtype="1" fill="hold" nodeType="withEffect">
                                  <p:stCondLst>
                                    <p:cond delay="1500"/>
                                  </p:stCondLst>
                                  <p:childTnLst>
                                    <p:set>
                                      <p:cBhvr>
                                        <p:cTn id="34" dur="1" fill="hold">
                                          <p:stCondLst>
                                            <p:cond delay="0"/>
                                          </p:stCondLst>
                                        </p:cTn>
                                        <p:tgtEl>
                                          <p:spTgt spid="40"/>
                                        </p:tgtEl>
                                        <p:attrNameLst>
                                          <p:attrName>style.visibility</p:attrName>
                                        </p:attrNameLst>
                                      </p:cBhvr>
                                      <p:to>
                                        <p:strVal val="visible"/>
                                      </p:to>
                                    </p:set>
                                    <p:animEffect transition="in" filter="wheel(1)">
                                      <p:cBhvr>
                                        <p:cTn id="35" dur="2000"/>
                                        <p:tgtEl>
                                          <p:spTgt spid="40"/>
                                        </p:tgtEl>
                                      </p:cBhvr>
                                    </p:animEffect>
                                  </p:childTnLst>
                                </p:cTn>
                              </p:par>
                              <p:par>
                                <p:cTn id="36" presetID="10" presetClass="entr" presetSubtype="0" fill="hold" nodeType="withEffect">
                                  <p:stCondLst>
                                    <p:cond delay="750"/>
                                  </p:stCondLst>
                                  <p:childTnLst>
                                    <p:set>
                                      <p:cBhvr>
                                        <p:cTn id="37" dur="1" fill="hold">
                                          <p:stCondLst>
                                            <p:cond delay="0"/>
                                          </p:stCondLst>
                                        </p:cTn>
                                        <p:tgtEl>
                                          <p:spTgt spid="44"/>
                                        </p:tgtEl>
                                        <p:attrNameLst>
                                          <p:attrName>style.visibility</p:attrName>
                                        </p:attrNameLst>
                                      </p:cBhvr>
                                      <p:to>
                                        <p:strVal val="visible"/>
                                      </p:to>
                                    </p:set>
                                    <p:animEffect transition="in" filter="fade">
                                      <p:cBhvr>
                                        <p:cTn id="38" dur="3000"/>
                                        <p:tgtEl>
                                          <p:spTgt spid="44"/>
                                        </p:tgtEl>
                                      </p:cBhvr>
                                    </p:animEffect>
                                  </p:childTnLst>
                                </p:cTn>
                              </p:par>
                              <p:par>
                                <p:cTn id="39" presetID="8" presetClass="emph" presetSubtype="0" fill="hold" nodeType="withEffect">
                                  <p:stCondLst>
                                    <p:cond delay="750"/>
                                  </p:stCondLst>
                                  <p:childTnLst>
                                    <p:animRot by="21600000">
                                      <p:cBhvr>
                                        <p:cTn id="40" dur="3250" fill="hold"/>
                                        <p:tgtEl>
                                          <p:spTgt spid="44"/>
                                        </p:tgtEl>
                                        <p:attrNameLst>
                                          <p:attrName>r</p:attrName>
                                        </p:attrNameLst>
                                      </p:cBhvr>
                                    </p:animRot>
                                  </p:childTnLst>
                                </p:cTn>
                              </p:par>
                            </p:childTnLst>
                          </p:cTn>
                        </p:par>
                        <p:par>
                          <p:cTn id="41" fill="hold">
                            <p:stCondLst>
                              <p:cond delay="2000"/>
                            </p:stCondLst>
                            <p:childTnLst>
                              <p:par>
                                <p:cTn id="42" presetID="2" presetClass="entr" presetSubtype="1" fill="hold" grpId="0" nodeType="afterEffect">
                                  <p:stCondLst>
                                    <p:cond delay="0"/>
                                  </p:stCondLst>
                                  <p:iterate type="lt">
                                    <p:tmPct val="10000"/>
                                  </p:iterate>
                                  <p:childTnLst>
                                    <p:set>
                                      <p:cBhvr>
                                        <p:cTn id="43" dur="1" fill="hold">
                                          <p:stCondLst>
                                            <p:cond delay="0"/>
                                          </p:stCondLst>
                                        </p:cTn>
                                        <p:tgtEl>
                                          <p:spTgt spid="46"/>
                                        </p:tgtEl>
                                        <p:attrNameLst>
                                          <p:attrName>style.visibility</p:attrName>
                                        </p:attrNameLst>
                                      </p:cBhvr>
                                      <p:to>
                                        <p:strVal val="visible"/>
                                      </p:to>
                                    </p:set>
                                    <p:anim calcmode="lin" valueType="num">
                                      <p:cBhvr additive="base">
                                        <p:cTn id="44" dur="500" fill="hold"/>
                                        <p:tgtEl>
                                          <p:spTgt spid="46"/>
                                        </p:tgtEl>
                                        <p:attrNameLst>
                                          <p:attrName>ppt_x</p:attrName>
                                        </p:attrNameLst>
                                      </p:cBhvr>
                                      <p:tavLst>
                                        <p:tav tm="0">
                                          <p:val>
                                            <p:strVal val="#ppt_x"/>
                                          </p:val>
                                        </p:tav>
                                        <p:tav tm="100000">
                                          <p:val>
                                            <p:strVal val="#ppt_x"/>
                                          </p:val>
                                        </p:tav>
                                      </p:tavLst>
                                    </p:anim>
                                    <p:anim calcmode="lin" valueType="num">
                                      <p:cBhvr additive="base">
                                        <p:cTn id="45" dur="500" fill="hold"/>
                                        <p:tgtEl>
                                          <p:spTgt spid="46"/>
                                        </p:tgtEl>
                                        <p:attrNameLst>
                                          <p:attrName>ppt_y</p:attrName>
                                        </p:attrNameLst>
                                      </p:cBhvr>
                                      <p:tavLst>
                                        <p:tav tm="0">
                                          <p:val>
                                            <p:strVal val="0-#ppt_h/2"/>
                                          </p:val>
                                        </p:tav>
                                        <p:tav tm="100000">
                                          <p:val>
                                            <p:strVal val="#ppt_y"/>
                                          </p:val>
                                        </p:tav>
                                      </p:tavLst>
                                    </p:anim>
                                  </p:childTnLst>
                                </p:cTn>
                              </p:par>
                              <p:par>
                                <p:cTn id="46" presetID="26" presetClass="emph" presetSubtype="0" fill="hold" grpId="1" nodeType="withEffect">
                                  <p:stCondLst>
                                    <p:cond delay="1000"/>
                                  </p:stCondLst>
                                  <p:iterate type="lt">
                                    <p:tmPct val="10000"/>
                                  </p:iterate>
                                  <p:childTnLst>
                                    <p:animEffect transition="out" filter="fade">
                                      <p:cBhvr>
                                        <p:cTn id="47" dur="500" tmFilter="0, 0; .2, .5; .8, .5; 1, 0"/>
                                        <p:tgtEl>
                                          <p:spTgt spid="46"/>
                                        </p:tgtEl>
                                      </p:cBhvr>
                                    </p:animEffect>
                                    <p:animScale>
                                      <p:cBhvr>
                                        <p:cTn id="48" dur="250" autoRev="1" fill="hold"/>
                                        <p:tgtEl>
                                          <p:spTgt spid="46"/>
                                        </p:tgtEl>
                                      </p:cBhvr>
                                      <p:by x="105000" y="105000"/>
                                    </p:animScale>
                                  </p:childTnLst>
                                </p:cTn>
                              </p:par>
                            </p:childTnLst>
                          </p:cTn>
                        </p:par>
                        <p:par>
                          <p:cTn id="49" fill="hold">
                            <p:stCondLst>
                              <p:cond delay="6300"/>
                            </p:stCondLst>
                            <p:childTnLst>
                              <p:par>
                                <p:cTn id="50" presetID="18" presetClass="entr" presetSubtype="12" fill="hold" grpId="0" nodeType="after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strips(downLeft)">
                                      <p:cBhvr>
                                        <p:cTn id="52" dur="500"/>
                                        <p:tgtEl>
                                          <p:spTgt spid="47"/>
                                        </p:tgtEl>
                                      </p:cBhvr>
                                    </p:animEffect>
                                  </p:childTnLst>
                                </p:cTn>
                              </p:par>
                            </p:childTnLst>
                          </p:cTn>
                        </p:par>
                        <p:par>
                          <p:cTn id="53" fill="hold">
                            <p:stCondLst>
                              <p:cond delay="6800"/>
                            </p:stCondLst>
                            <p:childTnLst>
                              <p:par>
                                <p:cTn id="54" presetID="17" presetClass="entr" presetSubtype="8" fill="hold" grpId="0" nodeType="afterEffect">
                                  <p:stCondLst>
                                    <p:cond delay="0"/>
                                  </p:stCondLst>
                                  <p:childTnLst>
                                    <p:set>
                                      <p:cBhvr>
                                        <p:cTn id="55" dur="1" fill="hold">
                                          <p:stCondLst>
                                            <p:cond delay="0"/>
                                          </p:stCondLst>
                                        </p:cTn>
                                        <p:tgtEl>
                                          <p:spTgt spid="45"/>
                                        </p:tgtEl>
                                        <p:attrNameLst>
                                          <p:attrName>style.visibility</p:attrName>
                                        </p:attrNameLst>
                                      </p:cBhvr>
                                      <p:to>
                                        <p:strVal val="visible"/>
                                      </p:to>
                                    </p:set>
                                    <p:anim calcmode="lin" valueType="num">
                                      <p:cBhvr>
                                        <p:cTn id="56" dur="500" fill="hold"/>
                                        <p:tgtEl>
                                          <p:spTgt spid="45"/>
                                        </p:tgtEl>
                                        <p:attrNameLst>
                                          <p:attrName>ppt_x</p:attrName>
                                        </p:attrNameLst>
                                      </p:cBhvr>
                                      <p:tavLst>
                                        <p:tav tm="0">
                                          <p:val>
                                            <p:strVal val="#ppt_x-#ppt_w/2"/>
                                          </p:val>
                                        </p:tav>
                                        <p:tav tm="100000">
                                          <p:val>
                                            <p:strVal val="#ppt_x"/>
                                          </p:val>
                                        </p:tav>
                                      </p:tavLst>
                                    </p:anim>
                                    <p:anim calcmode="lin" valueType="num">
                                      <p:cBhvr>
                                        <p:cTn id="57" dur="500" fill="hold"/>
                                        <p:tgtEl>
                                          <p:spTgt spid="45"/>
                                        </p:tgtEl>
                                        <p:attrNameLst>
                                          <p:attrName>ppt_y</p:attrName>
                                        </p:attrNameLst>
                                      </p:cBhvr>
                                      <p:tavLst>
                                        <p:tav tm="0">
                                          <p:val>
                                            <p:strVal val="#ppt_y"/>
                                          </p:val>
                                        </p:tav>
                                        <p:tav tm="100000">
                                          <p:val>
                                            <p:strVal val="#ppt_y"/>
                                          </p:val>
                                        </p:tav>
                                      </p:tavLst>
                                    </p:anim>
                                    <p:anim calcmode="lin" valueType="num">
                                      <p:cBhvr>
                                        <p:cTn id="58" dur="500" fill="hold"/>
                                        <p:tgtEl>
                                          <p:spTgt spid="45"/>
                                        </p:tgtEl>
                                        <p:attrNameLst>
                                          <p:attrName>ppt_w</p:attrName>
                                        </p:attrNameLst>
                                      </p:cBhvr>
                                      <p:tavLst>
                                        <p:tav tm="0">
                                          <p:val>
                                            <p:fltVal val="0"/>
                                          </p:val>
                                        </p:tav>
                                        <p:tav tm="100000">
                                          <p:val>
                                            <p:strVal val="#ppt_w"/>
                                          </p:val>
                                        </p:tav>
                                      </p:tavLst>
                                    </p:anim>
                                    <p:anim calcmode="lin" valueType="num">
                                      <p:cBhvr>
                                        <p:cTn id="59" dur="500" fill="hold"/>
                                        <p:tgtEl>
                                          <p:spTgt spid="45"/>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Graphic spid="45" grpId="0">
        <p:bldAsOne/>
      </p:bldGraphic>
      <p:bldP spid="46" grpId="0"/>
      <p:bldP spid="46" grpId="1"/>
      <p:bldP spid="4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椭圆 23"/>
          <p:cNvSpPr/>
          <p:nvPr/>
        </p:nvSpPr>
        <p:spPr>
          <a:xfrm>
            <a:off x="948813" y="-1696316"/>
            <a:ext cx="10294374" cy="10294374"/>
          </a:xfrm>
          <a:prstGeom prst="ellipse">
            <a:avLst/>
          </a:prstGeom>
          <a:noFill/>
          <a:ln w="25400" cap="flat" cmpd="sng" algn="ctr">
            <a:solidFill>
              <a:srgbClr val="60FCFF">
                <a:alpha val="4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cs typeface="+mn-ea"/>
              <a:sym typeface="+mn-lt"/>
            </a:endParaRPr>
          </a:p>
        </p:txBody>
      </p:sp>
      <p:sp>
        <p:nvSpPr>
          <p:cNvPr id="25" name="椭圆 24"/>
          <p:cNvSpPr/>
          <p:nvPr/>
        </p:nvSpPr>
        <p:spPr>
          <a:xfrm>
            <a:off x="2611489" y="-33640"/>
            <a:ext cx="6969022" cy="6969022"/>
          </a:xfrm>
          <a:prstGeom prst="ellipse">
            <a:avLst/>
          </a:prstGeom>
          <a:noFill/>
          <a:ln w="1270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lIns="179189" rIns="179189" rtlCol="0" anchor="ctr"/>
          <a:lstStyle/>
          <a:p>
            <a:pPr marL="0" marR="0" lvl="0" indent="0" algn="ctr" defTabSz="910590" rtl="0" eaLnBrk="1" fontAlgn="auto" latinLnBrk="0" hangingPunct="1">
              <a:lnSpc>
                <a:spcPct val="100000"/>
              </a:lnSpc>
              <a:spcBef>
                <a:spcPts val="0"/>
              </a:spcBef>
              <a:spcAft>
                <a:spcPts val="0"/>
              </a:spcAft>
              <a:buClrTx/>
              <a:buSzTx/>
              <a:buFontTx/>
              <a:buNone/>
              <a:defRPr/>
            </a:pPr>
            <a:endParaRPr kumimoji="0" lang="zh-CN" altLang="en-US" sz="1395" b="0" i="0" u="none" strike="noStrike" kern="0" cap="none" spc="0" normalizeH="0" baseline="0" noProof="0">
              <a:ln>
                <a:noFill/>
              </a:ln>
              <a:solidFill>
                <a:prstClr val="white"/>
              </a:solidFill>
              <a:effectLst/>
              <a:uLnTx/>
              <a:uFillTx/>
              <a:cs typeface="+mn-ea"/>
              <a:sym typeface="+mn-lt"/>
            </a:endParaRPr>
          </a:p>
        </p:txBody>
      </p:sp>
      <p:sp>
        <p:nvSpPr>
          <p:cNvPr id="26" name="椭圆 25"/>
          <p:cNvSpPr/>
          <p:nvPr/>
        </p:nvSpPr>
        <p:spPr>
          <a:xfrm>
            <a:off x="3514301" y="869172"/>
            <a:ext cx="5163398" cy="5163398"/>
          </a:xfrm>
          <a:prstGeom prst="ellipse">
            <a:avLst/>
          </a:prstGeom>
          <a:noFill/>
          <a:ln w="1270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lIns="179189" rIns="179189" rtlCol="0" anchor="ctr"/>
          <a:lstStyle/>
          <a:p>
            <a:pPr marL="0" marR="0" lvl="0" indent="0" algn="ctr" defTabSz="910590" rtl="0" eaLnBrk="1" fontAlgn="auto" latinLnBrk="0" hangingPunct="1">
              <a:lnSpc>
                <a:spcPct val="100000"/>
              </a:lnSpc>
              <a:spcBef>
                <a:spcPts val="0"/>
              </a:spcBef>
              <a:spcAft>
                <a:spcPts val="0"/>
              </a:spcAft>
              <a:buClrTx/>
              <a:buSzTx/>
              <a:buFontTx/>
              <a:buNone/>
              <a:defRPr/>
            </a:pPr>
            <a:endParaRPr kumimoji="0" lang="zh-CN" altLang="en-US" sz="1395" b="0" i="0" u="none" strike="noStrike" kern="0" cap="none" spc="0" normalizeH="0" baseline="0" noProof="0" dirty="0">
              <a:ln>
                <a:noFill/>
              </a:ln>
              <a:solidFill>
                <a:prstClr val="white"/>
              </a:solidFill>
              <a:effectLst/>
              <a:uLnTx/>
              <a:uFillTx/>
              <a:cs typeface="+mn-ea"/>
              <a:sym typeface="+mn-lt"/>
            </a:endParaRPr>
          </a:p>
        </p:txBody>
      </p:sp>
      <p:sp>
        <p:nvSpPr>
          <p:cNvPr id="27" name="椭圆 26"/>
          <p:cNvSpPr/>
          <p:nvPr/>
        </p:nvSpPr>
        <p:spPr>
          <a:xfrm>
            <a:off x="4065844" y="1420715"/>
            <a:ext cx="4060312" cy="4060312"/>
          </a:xfrm>
          <a:prstGeom prst="ellipse">
            <a:avLst/>
          </a:prstGeom>
          <a:noFill/>
          <a:ln w="1270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lIns="179189" rIns="179189" rtlCol="0" anchor="ctr"/>
          <a:lstStyle/>
          <a:p>
            <a:pPr marL="0" marR="0" lvl="0" indent="0" algn="ctr" defTabSz="910590" rtl="0" eaLnBrk="1" fontAlgn="auto" latinLnBrk="0" hangingPunct="1">
              <a:lnSpc>
                <a:spcPct val="100000"/>
              </a:lnSpc>
              <a:spcBef>
                <a:spcPts val="0"/>
              </a:spcBef>
              <a:spcAft>
                <a:spcPts val="0"/>
              </a:spcAft>
              <a:buClrTx/>
              <a:buSzTx/>
              <a:buFontTx/>
              <a:buNone/>
              <a:defRPr/>
            </a:pPr>
            <a:endParaRPr kumimoji="0" lang="zh-CN" altLang="en-US" sz="1395" b="0" i="0" u="none" strike="noStrike" kern="0" cap="none" spc="0" normalizeH="0" baseline="0" noProof="0">
              <a:ln>
                <a:noFill/>
              </a:ln>
              <a:solidFill>
                <a:prstClr val="white"/>
              </a:solidFill>
              <a:effectLst/>
              <a:uLnTx/>
              <a:uFillTx/>
              <a:cs typeface="+mn-ea"/>
              <a:sym typeface="+mn-lt"/>
            </a:endParaRPr>
          </a:p>
        </p:txBody>
      </p:sp>
      <p:sp>
        <p:nvSpPr>
          <p:cNvPr id="28" name="椭圆 27"/>
          <p:cNvSpPr/>
          <p:nvPr/>
        </p:nvSpPr>
        <p:spPr>
          <a:xfrm>
            <a:off x="1201371" y="-1443758"/>
            <a:ext cx="9789258" cy="9789258"/>
          </a:xfrm>
          <a:prstGeom prst="ellipse">
            <a:avLst/>
          </a:prstGeom>
          <a:noFill/>
          <a:ln w="25400" cap="flat" cmpd="sng" algn="ctr">
            <a:solidFill>
              <a:srgbClr val="60FCFF">
                <a:alpha val="26000"/>
              </a:srgb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cs typeface="+mn-ea"/>
              <a:sym typeface="+mn-lt"/>
            </a:endParaRPr>
          </a:p>
        </p:txBody>
      </p:sp>
      <p:sp>
        <p:nvSpPr>
          <p:cNvPr id="29" name="椭圆 28"/>
          <p:cNvSpPr/>
          <p:nvPr/>
        </p:nvSpPr>
        <p:spPr>
          <a:xfrm>
            <a:off x="1801615" y="-843514"/>
            <a:ext cx="8588770" cy="8588770"/>
          </a:xfrm>
          <a:prstGeom prst="ellipse">
            <a:avLst/>
          </a:prstGeom>
          <a:noFill/>
          <a:ln w="12700" cap="flat" cmpd="sng" algn="ctr">
            <a:solidFill>
              <a:srgbClr val="60FCFF">
                <a:alpha val="84000"/>
              </a:srgbClr>
            </a:solidFill>
            <a:prstDash val="dash"/>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dirty="0">
              <a:ln>
                <a:noFill/>
              </a:ln>
              <a:solidFill>
                <a:prstClr val="white"/>
              </a:solidFill>
              <a:effectLst/>
              <a:uLnTx/>
              <a:uFillTx/>
              <a:cs typeface="+mn-ea"/>
              <a:sym typeface="+mn-lt"/>
            </a:endParaRPr>
          </a:p>
        </p:txBody>
      </p:sp>
      <p:sp>
        <p:nvSpPr>
          <p:cNvPr id="30" name="椭圆 29"/>
          <p:cNvSpPr/>
          <p:nvPr/>
        </p:nvSpPr>
        <p:spPr>
          <a:xfrm>
            <a:off x="4329911" y="1735142"/>
            <a:ext cx="3532178" cy="3532178"/>
          </a:xfrm>
          <a:prstGeom prst="ellipse">
            <a:avLst/>
          </a:prstGeom>
          <a:noFill/>
          <a:ln w="1270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lIns="179189" rIns="179189" rtlCol="0" anchor="ctr"/>
          <a:lstStyle/>
          <a:p>
            <a:pPr marL="0" marR="0" lvl="0" indent="0" algn="ctr" defTabSz="910590" rtl="0" eaLnBrk="1" fontAlgn="auto" latinLnBrk="0" hangingPunct="1">
              <a:lnSpc>
                <a:spcPct val="100000"/>
              </a:lnSpc>
              <a:spcBef>
                <a:spcPts val="0"/>
              </a:spcBef>
              <a:spcAft>
                <a:spcPts val="0"/>
              </a:spcAft>
              <a:buClrTx/>
              <a:buSzTx/>
              <a:buFontTx/>
              <a:buNone/>
              <a:defRPr/>
            </a:pPr>
            <a:endParaRPr kumimoji="0" lang="zh-CN" altLang="en-US" sz="1395" b="0" i="0" u="none" strike="noStrike" kern="0" cap="none" spc="0" normalizeH="0" baseline="0" noProof="0" dirty="0">
              <a:ln>
                <a:noFill/>
              </a:ln>
              <a:solidFill>
                <a:prstClr val="white"/>
              </a:solidFill>
              <a:effectLst/>
              <a:uLnTx/>
              <a:uFillTx/>
              <a:cs typeface="+mn-ea"/>
              <a:sym typeface="+mn-lt"/>
            </a:endParaRPr>
          </a:p>
        </p:txBody>
      </p:sp>
      <p:grpSp>
        <p:nvGrpSpPr>
          <p:cNvPr id="31" name="组合 30"/>
          <p:cNvGrpSpPr/>
          <p:nvPr/>
        </p:nvGrpSpPr>
        <p:grpSpPr>
          <a:xfrm>
            <a:off x="5505496" y="2837412"/>
            <a:ext cx="1181008" cy="1183176"/>
            <a:chOff x="5505496" y="2859283"/>
            <a:chExt cx="1181008" cy="1183176"/>
          </a:xfrm>
          <a:solidFill>
            <a:srgbClr val="4AEFF2"/>
          </a:solidFill>
        </p:grpSpPr>
        <p:sp>
          <p:nvSpPr>
            <p:cNvPr id="32" name="椭圆 31"/>
            <p:cNvSpPr/>
            <p:nvPr/>
          </p:nvSpPr>
          <p:spPr>
            <a:xfrm>
              <a:off x="5505496" y="3427207"/>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 name="椭圆 32"/>
            <p:cNvSpPr/>
            <p:nvPr/>
          </p:nvSpPr>
          <p:spPr>
            <a:xfrm>
              <a:off x="5515771" y="3319605"/>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 name="椭圆 33"/>
            <p:cNvSpPr/>
            <p:nvPr/>
          </p:nvSpPr>
          <p:spPr>
            <a:xfrm>
              <a:off x="5543381" y="3215892"/>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 name="椭圆 34"/>
            <p:cNvSpPr/>
            <p:nvPr/>
          </p:nvSpPr>
          <p:spPr>
            <a:xfrm>
              <a:off x="5595755" y="3119816"/>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 name="椭圆 35"/>
            <p:cNvSpPr/>
            <p:nvPr/>
          </p:nvSpPr>
          <p:spPr>
            <a:xfrm>
              <a:off x="5662572" y="3034851"/>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 name="椭圆 36"/>
            <p:cNvSpPr/>
            <p:nvPr/>
          </p:nvSpPr>
          <p:spPr>
            <a:xfrm>
              <a:off x="5744263" y="2964066"/>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8" name="椭圆 37"/>
            <p:cNvSpPr/>
            <p:nvPr/>
          </p:nvSpPr>
          <p:spPr>
            <a:xfrm>
              <a:off x="5837873" y="2910019"/>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 name="椭圆 38"/>
            <p:cNvSpPr/>
            <p:nvPr/>
          </p:nvSpPr>
          <p:spPr>
            <a:xfrm>
              <a:off x="5940019" y="2874666"/>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 name="椭圆 39"/>
            <p:cNvSpPr/>
            <p:nvPr/>
          </p:nvSpPr>
          <p:spPr>
            <a:xfrm>
              <a:off x="6047011" y="2859283"/>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 name="椭圆 40"/>
            <p:cNvSpPr/>
            <p:nvPr/>
          </p:nvSpPr>
          <p:spPr>
            <a:xfrm>
              <a:off x="6154980" y="2864426"/>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 name="椭圆 41"/>
            <p:cNvSpPr/>
            <p:nvPr/>
          </p:nvSpPr>
          <p:spPr>
            <a:xfrm>
              <a:off x="6260024" y="2889910"/>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 name="椭圆 44"/>
            <p:cNvSpPr/>
            <p:nvPr/>
          </p:nvSpPr>
          <p:spPr>
            <a:xfrm>
              <a:off x="6358348" y="2934813"/>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53" name="椭圆 52"/>
            <p:cNvSpPr/>
            <p:nvPr/>
          </p:nvSpPr>
          <p:spPr>
            <a:xfrm>
              <a:off x="6446397" y="2997512"/>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54" name="椭圆 53"/>
            <p:cNvSpPr/>
            <p:nvPr/>
          </p:nvSpPr>
          <p:spPr>
            <a:xfrm>
              <a:off x="6520988" y="3075742"/>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55" name="椭圆 54"/>
            <p:cNvSpPr/>
            <p:nvPr/>
          </p:nvSpPr>
          <p:spPr>
            <a:xfrm>
              <a:off x="6579427" y="3166674"/>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56" name="椭圆 55"/>
            <p:cNvSpPr/>
            <p:nvPr/>
          </p:nvSpPr>
          <p:spPr>
            <a:xfrm>
              <a:off x="6619601" y="3267023"/>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0" name="椭圆 59"/>
            <p:cNvSpPr/>
            <p:nvPr/>
          </p:nvSpPr>
          <p:spPr>
            <a:xfrm>
              <a:off x="6640057" y="3373161"/>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1" name="椭圆 60"/>
            <p:cNvSpPr/>
            <p:nvPr/>
          </p:nvSpPr>
          <p:spPr>
            <a:xfrm>
              <a:off x="6640057" y="3481252"/>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2" name="椭圆 61"/>
            <p:cNvSpPr/>
            <p:nvPr/>
          </p:nvSpPr>
          <p:spPr>
            <a:xfrm>
              <a:off x="6619601" y="3587391"/>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3" name="椭圆 62"/>
            <p:cNvSpPr/>
            <p:nvPr/>
          </p:nvSpPr>
          <p:spPr>
            <a:xfrm>
              <a:off x="6579427" y="3687740"/>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4" name="椭圆 63"/>
            <p:cNvSpPr/>
            <p:nvPr/>
          </p:nvSpPr>
          <p:spPr>
            <a:xfrm>
              <a:off x="6520988" y="3778672"/>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5" name="椭圆 64"/>
            <p:cNvSpPr/>
            <p:nvPr/>
          </p:nvSpPr>
          <p:spPr>
            <a:xfrm>
              <a:off x="6446397" y="3856902"/>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6" name="椭圆 65"/>
            <p:cNvSpPr/>
            <p:nvPr/>
          </p:nvSpPr>
          <p:spPr>
            <a:xfrm>
              <a:off x="6358348" y="3919601"/>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7" name="椭圆 66"/>
            <p:cNvSpPr/>
            <p:nvPr/>
          </p:nvSpPr>
          <p:spPr>
            <a:xfrm>
              <a:off x="6260024" y="3964504"/>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8" name="椭圆 67"/>
            <p:cNvSpPr/>
            <p:nvPr/>
          </p:nvSpPr>
          <p:spPr>
            <a:xfrm>
              <a:off x="6154980" y="3989987"/>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69" name="椭圆 68"/>
            <p:cNvSpPr/>
            <p:nvPr/>
          </p:nvSpPr>
          <p:spPr>
            <a:xfrm>
              <a:off x="6047011" y="3995131"/>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70" name="椭圆 69"/>
            <p:cNvSpPr/>
            <p:nvPr/>
          </p:nvSpPr>
          <p:spPr>
            <a:xfrm>
              <a:off x="5940019" y="3979748"/>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71" name="椭圆 70"/>
            <p:cNvSpPr/>
            <p:nvPr/>
          </p:nvSpPr>
          <p:spPr>
            <a:xfrm>
              <a:off x="5837873" y="3944394"/>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72" name="椭圆 71"/>
            <p:cNvSpPr/>
            <p:nvPr/>
          </p:nvSpPr>
          <p:spPr>
            <a:xfrm>
              <a:off x="5744263" y="3890348"/>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73" name="椭圆 72"/>
            <p:cNvSpPr/>
            <p:nvPr/>
          </p:nvSpPr>
          <p:spPr>
            <a:xfrm>
              <a:off x="5662572" y="3819563"/>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74" name="椭圆 73"/>
            <p:cNvSpPr/>
            <p:nvPr/>
          </p:nvSpPr>
          <p:spPr>
            <a:xfrm>
              <a:off x="5595755" y="3734598"/>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75" name="椭圆 74"/>
            <p:cNvSpPr/>
            <p:nvPr/>
          </p:nvSpPr>
          <p:spPr>
            <a:xfrm>
              <a:off x="5546224" y="3638522"/>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76" name="椭圆 75"/>
            <p:cNvSpPr/>
            <p:nvPr/>
          </p:nvSpPr>
          <p:spPr>
            <a:xfrm>
              <a:off x="5515771" y="3534809"/>
              <a:ext cx="34630" cy="3463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85" name="椭圆 84"/>
            <p:cNvSpPr/>
            <p:nvPr/>
          </p:nvSpPr>
          <p:spPr>
            <a:xfrm>
              <a:off x="5528900" y="3455363"/>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86" name="椭圆 85"/>
            <p:cNvSpPr/>
            <p:nvPr/>
          </p:nvSpPr>
          <p:spPr>
            <a:xfrm>
              <a:off x="5533812" y="3361781"/>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87" name="椭圆 86"/>
            <p:cNvSpPr/>
            <p:nvPr/>
          </p:nvSpPr>
          <p:spPr>
            <a:xfrm>
              <a:off x="5556863" y="3270750"/>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88" name="椭圆 87"/>
            <p:cNvSpPr/>
            <p:nvPr/>
          </p:nvSpPr>
          <p:spPr>
            <a:xfrm>
              <a:off x="5597427" y="3184755"/>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89" name="椭圆 88"/>
            <p:cNvSpPr/>
            <p:nvPr/>
          </p:nvSpPr>
          <p:spPr>
            <a:xfrm>
              <a:off x="5648787" y="3106142"/>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0" name="椭圆 89"/>
            <p:cNvSpPr/>
            <p:nvPr/>
          </p:nvSpPr>
          <p:spPr>
            <a:xfrm>
              <a:off x="5712387" y="3037055"/>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1" name="椭圆 90"/>
            <p:cNvSpPr/>
            <p:nvPr/>
          </p:nvSpPr>
          <p:spPr>
            <a:xfrm>
              <a:off x="5786491" y="2979378"/>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2" name="椭圆 91"/>
            <p:cNvSpPr/>
            <p:nvPr/>
          </p:nvSpPr>
          <p:spPr>
            <a:xfrm>
              <a:off x="5869077" y="2934684"/>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3" name="椭圆 92"/>
            <p:cNvSpPr/>
            <p:nvPr/>
          </p:nvSpPr>
          <p:spPr>
            <a:xfrm>
              <a:off x="5957892" y="2904194"/>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4" name="椭圆 93"/>
            <p:cNvSpPr/>
            <p:nvPr/>
          </p:nvSpPr>
          <p:spPr>
            <a:xfrm>
              <a:off x="6050515" y="2888738"/>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5" name="椭圆 94"/>
            <p:cNvSpPr/>
            <p:nvPr/>
          </p:nvSpPr>
          <p:spPr>
            <a:xfrm>
              <a:off x="6144420" y="2888738"/>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6" name="椭圆 95"/>
            <p:cNvSpPr/>
            <p:nvPr/>
          </p:nvSpPr>
          <p:spPr>
            <a:xfrm>
              <a:off x="6237043" y="2904194"/>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7" name="椭圆 96"/>
            <p:cNvSpPr/>
            <p:nvPr/>
          </p:nvSpPr>
          <p:spPr>
            <a:xfrm>
              <a:off x="6325858" y="2934685"/>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8" name="椭圆 97"/>
            <p:cNvSpPr/>
            <p:nvPr/>
          </p:nvSpPr>
          <p:spPr>
            <a:xfrm>
              <a:off x="6408444" y="2979378"/>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99" name="椭圆 98"/>
            <p:cNvSpPr/>
            <p:nvPr/>
          </p:nvSpPr>
          <p:spPr>
            <a:xfrm>
              <a:off x="6482548" y="3037055"/>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0" name="椭圆 99"/>
            <p:cNvSpPr/>
            <p:nvPr/>
          </p:nvSpPr>
          <p:spPr>
            <a:xfrm>
              <a:off x="6546148" y="3106142"/>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1" name="椭圆 100"/>
            <p:cNvSpPr/>
            <p:nvPr/>
          </p:nvSpPr>
          <p:spPr>
            <a:xfrm>
              <a:off x="6597508" y="3184756"/>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2" name="椭圆 101"/>
            <p:cNvSpPr/>
            <p:nvPr/>
          </p:nvSpPr>
          <p:spPr>
            <a:xfrm>
              <a:off x="6635229" y="3270750"/>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3" name="椭圆 102"/>
            <p:cNvSpPr/>
            <p:nvPr/>
          </p:nvSpPr>
          <p:spPr>
            <a:xfrm>
              <a:off x="6658281" y="3361781"/>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4" name="椭圆 103"/>
            <p:cNvSpPr/>
            <p:nvPr/>
          </p:nvSpPr>
          <p:spPr>
            <a:xfrm>
              <a:off x="6666036" y="3455364"/>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5" name="椭圆 104"/>
            <p:cNvSpPr/>
            <p:nvPr/>
          </p:nvSpPr>
          <p:spPr>
            <a:xfrm>
              <a:off x="6658281" y="3548948"/>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6" name="椭圆 105"/>
            <p:cNvSpPr/>
            <p:nvPr/>
          </p:nvSpPr>
          <p:spPr>
            <a:xfrm>
              <a:off x="6635229" y="3639978"/>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7" name="椭圆 106"/>
            <p:cNvSpPr/>
            <p:nvPr/>
          </p:nvSpPr>
          <p:spPr>
            <a:xfrm>
              <a:off x="6597508" y="3725972"/>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8" name="椭圆 107"/>
            <p:cNvSpPr/>
            <p:nvPr/>
          </p:nvSpPr>
          <p:spPr>
            <a:xfrm>
              <a:off x="6546147" y="3804586"/>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09" name="椭圆 108"/>
            <p:cNvSpPr/>
            <p:nvPr/>
          </p:nvSpPr>
          <p:spPr>
            <a:xfrm>
              <a:off x="6482548" y="3873674"/>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0" name="椭圆 109"/>
            <p:cNvSpPr/>
            <p:nvPr/>
          </p:nvSpPr>
          <p:spPr>
            <a:xfrm>
              <a:off x="6408444" y="3931350"/>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1" name="椭圆 110"/>
            <p:cNvSpPr/>
            <p:nvPr/>
          </p:nvSpPr>
          <p:spPr>
            <a:xfrm>
              <a:off x="6325858" y="3976043"/>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2" name="椭圆 111"/>
            <p:cNvSpPr/>
            <p:nvPr/>
          </p:nvSpPr>
          <p:spPr>
            <a:xfrm>
              <a:off x="6237043" y="4006534"/>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3" name="椭圆 112"/>
            <p:cNvSpPr/>
            <p:nvPr/>
          </p:nvSpPr>
          <p:spPr>
            <a:xfrm>
              <a:off x="6144420" y="4021990"/>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4" name="椭圆 113"/>
            <p:cNvSpPr/>
            <p:nvPr/>
          </p:nvSpPr>
          <p:spPr>
            <a:xfrm>
              <a:off x="6050515" y="4021990"/>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5" name="椭圆 114"/>
            <p:cNvSpPr/>
            <p:nvPr/>
          </p:nvSpPr>
          <p:spPr>
            <a:xfrm>
              <a:off x="5957892" y="4006534"/>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6" name="椭圆 115"/>
            <p:cNvSpPr/>
            <p:nvPr/>
          </p:nvSpPr>
          <p:spPr>
            <a:xfrm>
              <a:off x="5869077" y="3976044"/>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7" name="椭圆 116"/>
            <p:cNvSpPr/>
            <p:nvPr/>
          </p:nvSpPr>
          <p:spPr>
            <a:xfrm>
              <a:off x="5786490" y="3931351"/>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8" name="椭圆 117"/>
            <p:cNvSpPr/>
            <p:nvPr/>
          </p:nvSpPr>
          <p:spPr>
            <a:xfrm>
              <a:off x="5712385" y="3873673"/>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19" name="椭圆 118"/>
            <p:cNvSpPr/>
            <p:nvPr/>
          </p:nvSpPr>
          <p:spPr>
            <a:xfrm>
              <a:off x="5648782" y="3804587"/>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0" name="椭圆 119"/>
            <p:cNvSpPr/>
            <p:nvPr/>
          </p:nvSpPr>
          <p:spPr>
            <a:xfrm>
              <a:off x="5597415" y="3725974"/>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1" name="椭圆 120"/>
            <p:cNvSpPr/>
            <p:nvPr/>
          </p:nvSpPr>
          <p:spPr>
            <a:xfrm>
              <a:off x="5559686" y="3639980"/>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2" name="椭圆 121"/>
            <p:cNvSpPr/>
            <p:nvPr/>
          </p:nvSpPr>
          <p:spPr>
            <a:xfrm>
              <a:off x="5536660" y="3548956"/>
              <a:ext cx="20468" cy="20469"/>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grpSp>
        <p:nvGrpSpPr>
          <p:cNvPr id="123" name="组合 122"/>
          <p:cNvGrpSpPr/>
          <p:nvPr/>
        </p:nvGrpSpPr>
        <p:grpSpPr>
          <a:xfrm>
            <a:off x="1548258" y="-1097603"/>
            <a:ext cx="9095484" cy="9096948"/>
            <a:chOff x="3243661" y="1076506"/>
            <a:chExt cx="5328086" cy="5328944"/>
          </a:xfrm>
          <a:solidFill>
            <a:srgbClr val="00C3C8"/>
          </a:solidFill>
        </p:grpSpPr>
        <p:sp>
          <p:nvSpPr>
            <p:cNvPr id="124" name="椭圆 123"/>
            <p:cNvSpPr>
              <a:spLocks noChangeAspect="1"/>
            </p:cNvSpPr>
            <p:nvPr/>
          </p:nvSpPr>
          <p:spPr>
            <a:xfrm flipH="1">
              <a:off x="3243661" y="370497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5" name="椭圆 124"/>
            <p:cNvSpPr>
              <a:spLocks noChangeAspect="1"/>
            </p:cNvSpPr>
            <p:nvPr/>
          </p:nvSpPr>
          <p:spPr>
            <a:xfrm flipH="1">
              <a:off x="3250514" y="351528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6" name="椭圆 125"/>
            <p:cNvSpPr>
              <a:spLocks noChangeAspect="1"/>
            </p:cNvSpPr>
            <p:nvPr/>
          </p:nvSpPr>
          <p:spPr>
            <a:xfrm flipH="1">
              <a:off x="3271037" y="332657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7" name="椭圆 126"/>
            <p:cNvSpPr>
              <a:spLocks noChangeAspect="1"/>
            </p:cNvSpPr>
            <p:nvPr/>
          </p:nvSpPr>
          <p:spPr>
            <a:xfrm flipH="1">
              <a:off x="3305123" y="313984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8" name="椭圆 127"/>
            <p:cNvSpPr>
              <a:spLocks noChangeAspect="1"/>
            </p:cNvSpPr>
            <p:nvPr/>
          </p:nvSpPr>
          <p:spPr>
            <a:xfrm flipH="1">
              <a:off x="3352595" y="295605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29" name="椭圆 128"/>
            <p:cNvSpPr>
              <a:spLocks noChangeAspect="1"/>
            </p:cNvSpPr>
            <p:nvPr/>
          </p:nvSpPr>
          <p:spPr>
            <a:xfrm flipH="1">
              <a:off x="3413204" y="277617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0" name="椭圆 129"/>
            <p:cNvSpPr>
              <a:spLocks noChangeAspect="1"/>
            </p:cNvSpPr>
            <p:nvPr/>
          </p:nvSpPr>
          <p:spPr>
            <a:xfrm flipH="1">
              <a:off x="3486636" y="260113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1" name="椭圆 130"/>
            <p:cNvSpPr>
              <a:spLocks noChangeAspect="1"/>
            </p:cNvSpPr>
            <p:nvPr/>
          </p:nvSpPr>
          <p:spPr>
            <a:xfrm flipH="1">
              <a:off x="3572507" y="24318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2" name="椭圆 131"/>
            <p:cNvSpPr>
              <a:spLocks noChangeAspect="1"/>
            </p:cNvSpPr>
            <p:nvPr/>
          </p:nvSpPr>
          <p:spPr>
            <a:xfrm flipH="1">
              <a:off x="3670369" y="226919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3" name="椭圆 132"/>
            <p:cNvSpPr>
              <a:spLocks noChangeAspect="1"/>
            </p:cNvSpPr>
            <p:nvPr/>
          </p:nvSpPr>
          <p:spPr>
            <a:xfrm flipH="1">
              <a:off x="3779712" y="211403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4" name="椭圆 133"/>
            <p:cNvSpPr>
              <a:spLocks noChangeAspect="1"/>
            </p:cNvSpPr>
            <p:nvPr/>
          </p:nvSpPr>
          <p:spPr>
            <a:xfrm flipH="1">
              <a:off x="3899966" y="196716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5" name="椭圆 134"/>
            <p:cNvSpPr>
              <a:spLocks noChangeAspect="1"/>
            </p:cNvSpPr>
            <p:nvPr/>
          </p:nvSpPr>
          <p:spPr>
            <a:xfrm flipH="1">
              <a:off x="4030505" y="182936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6" name="椭圆 135"/>
            <p:cNvSpPr>
              <a:spLocks noChangeAspect="1"/>
            </p:cNvSpPr>
            <p:nvPr/>
          </p:nvSpPr>
          <p:spPr>
            <a:xfrm flipH="1">
              <a:off x="4170647" y="170133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7" name="椭圆 136"/>
            <p:cNvSpPr>
              <a:spLocks noChangeAspect="1"/>
            </p:cNvSpPr>
            <p:nvPr/>
          </p:nvSpPr>
          <p:spPr>
            <a:xfrm flipH="1">
              <a:off x="4319662" y="158374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8" name="椭圆 137"/>
            <p:cNvSpPr>
              <a:spLocks noChangeAspect="1"/>
            </p:cNvSpPr>
            <p:nvPr/>
          </p:nvSpPr>
          <p:spPr>
            <a:xfrm flipH="1">
              <a:off x="4476774" y="147722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39" name="椭圆 138"/>
            <p:cNvSpPr>
              <a:spLocks noChangeAspect="1"/>
            </p:cNvSpPr>
            <p:nvPr/>
          </p:nvSpPr>
          <p:spPr>
            <a:xfrm flipH="1">
              <a:off x="4641162" y="13823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0" name="椭圆 139"/>
            <p:cNvSpPr>
              <a:spLocks noChangeAspect="1"/>
            </p:cNvSpPr>
            <p:nvPr/>
          </p:nvSpPr>
          <p:spPr>
            <a:xfrm flipH="1">
              <a:off x="4811970" y="12995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1" name="椭圆 140"/>
            <p:cNvSpPr>
              <a:spLocks noChangeAspect="1"/>
            </p:cNvSpPr>
            <p:nvPr/>
          </p:nvSpPr>
          <p:spPr>
            <a:xfrm flipH="1">
              <a:off x="4988308" y="122925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2" name="椭圆 141"/>
            <p:cNvSpPr>
              <a:spLocks noChangeAspect="1"/>
            </p:cNvSpPr>
            <p:nvPr/>
          </p:nvSpPr>
          <p:spPr>
            <a:xfrm flipH="1">
              <a:off x="5169256" y="1171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3" name="椭圆 142"/>
            <p:cNvSpPr>
              <a:spLocks noChangeAspect="1"/>
            </p:cNvSpPr>
            <p:nvPr/>
          </p:nvSpPr>
          <p:spPr>
            <a:xfrm flipH="1">
              <a:off x="5353870" y="112775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4" name="椭圆 143"/>
            <p:cNvSpPr>
              <a:spLocks noChangeAspect="1"/>
            </p:cNvSpPr>
            <p:nvPr/>
          </p:nvSpPr>
          <p:spPr>
            <a:xfrm flipH="1">
              <a:off x="5541189" y="10970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5" name="椭圆 144"/>
            <p:cNvSpPr>
              <a:spLocks noChangeAspect="1"/>
            </p:cNvSpPr>
            <p:nvPr/>
          </p:nvSpPr>
          <p:spPr>
            <a:xfrm flipH="1">
              <a:off x="5730235" y="107993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6" name="椭圆 145"/>
            <p:cNvSpPr>
              <a:spLocks noChangeAspect="1"/>
            </p:cNvSpPr>
            <p:nvPr/>
          </p:nvSpPr>
          <p:spPr>
            <a:xfrm flipH="1">
              <a:off x="5920023" y="107650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7" name="椭圆 146"/>
            <p:cNvSpPr>
              <a:spLocks noChangeAspect="1"/>
            </p:cNvSpPr>
            <p:nvPr/>
          </p:nvSpPr>
          <p:spPr>
            <a:xfrm flipH="1">
              <a:off x="6109564" y="108678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8" name="椭圆 147"/>
            <p:cNvSpPr>
              <a:spLocks noChangeAspect="1"/>
            </p:cNvSpPr>
            <p:nvPr/>
          </p:nvSpPr>
          <p:spPr>
            <a:xfrm flipH="1">
              <a:off x="6297870" y="11107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49" name="椭圆 148"/>
            <p:cNvSpPr>
              <a:spLocks noChangeAspect="1"/>
            </p:cNvSpPr>
            <p:nvPr/>
          </p:nvSpPr>
          <p:spPr>
            <a:xfrm flipH="1">
              <a:off x="6483958" y="114816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0" name="椭圆 149"/>
            <p:cNvSpPr>
              <a:spLocks noChangeAspect="1"/>
            </p:cNvSpPr>
            <p:nvPr/>
          </p:nvSpPr>
          <p:spPr>
            <a:xfrm flipH="1">
              <a:off x="6666858" y="119894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1" name="椭圆 150"/>
            <p:cNvSpPr>
              <a:spLocks noChangeAspect="1"/>
            </p:cNvSpPr>
            <p:nvPr/>
          </p:nvSpPr>
          <p:spPr>
            <a:xfrm flipH="1">
              <a:off x="6845617" y="126279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2" name="椭圆 151"/>
            <p:cNvSpPr>
              <a:spLocks noChangeAspect="1"/>
            </p:cNvSpPr>
            <p:nvPr/>
          </p:nvSpPr>
          <p:spPr>
            <a:xfrm flipH="1">
              <a:off x="7019303" y="133937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3" name="椭圆 152"/>
            <p:cNvSpPr>
              <a:spLocks noChangeAspect="1"/>
            </p:cNvSpPr>
            <p:nvPr/>
          </p:nvSpPr>
          <p:spPr>
            <a:xfrm flipH="1">
              <a:off x="7187011" y="14282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4" name="椭圆 153"/>
            <p:cNvSpPr>
              <a:spLocks noChangeAspect="1"/>
            </p:cNvSpPr>
            <p:nvPr/>
          </p:nvSpPr>
          <p:spPr>
            <a:xfrm flipH="1">
              <a:off x="7347865" y="152906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5" name="椭圆 154"/>
            <p:cNvSpPr>
              <a:spLocks noChangeAspect="1"/>
            </p:cNvSpPr>
            <p:nvPr/>
          </p:nvSpPr>
          <p:spPr>
            <a:xfrm flipH="1">
              <a:off x="7501029" y="164119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6" name="椭圆 155"/>
            <p:cNvSpPr>
              <a:spLocks noChangeAspect="1"/>
            </p:cNvSpPr>
            <p:nvPr/>
          </p:nvSpPr>
          <p:spPr>
            <a:xfrm flipH="1">
              <a:off x="7645702" y="176408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7" name="椭圆 156"/>
            <p:cNvSpPr>
              <a:spLocks noChangeAspect="1"/>
            </p:cNvSpPr>
            <p:nvPr/>
          </p:nvSpPr>
          <p:spPr>
            <a:xfrm flipH="1">
              <a:off x="7781130" y="18970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8" name="椭圆 157"/>
            <p:cNvSpPr>
              <a:spLocks noChangeAspect="1"/>
            </p:cNvSpPr>
            <p:nvPr/>
          </p:nvSpPr>
          <p:spPr>
            <a:xfrm flipH="1">
              <a:off x="7906609" y="203951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59" name="椭圆 158"/>
            <p:cNvSpPr>
              <a:spLocks noChangeAspect="1"/>
            </p:cNvSpPr>
            <p:nvPr/>
          </p:nvSpPr>
          <p:spPr>
            <a:xfrm flipH="1">
              <a:off x="8021482" y="2190629"/>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0" name="椭圆 159"/>
            <p:cNvSpPr>
              <a:spLocks noChangeAspect="1"/>
            </p:cNvSpPr>
            <p:nvPr/>
          </p:nvSpPr>
          <p:spPr>
            <a:xfrm flipH="1">
              <a:off x="8125152" y="234963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1" name="椭圆 160"/>
            <p:cNvSpPr>
              <a:spLocks noChangeAspect="1"/>
            </p:cNvSpPr>
            <p:nvPr/>
          </p:nvSpPr>
          <p:spPr>
            <a:xfrm flipH="1">
              <a:off x="8217079" y="25157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2" name="椭圆 161"/>
            <p:cNvSpPr>
              <a:spLocks noChangeAspect="1"/>
            </p:cNvSpPr>
            <p:nvPr/>
          </p:nvSpPr>
          <p:spPr>
            <a:xfrm flipH="1">
              <a:off x="8296782" y="2687989"/>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3" name="椭圆 162"/>
            <p:cNvSpPr>
              <a:spLocks noChangeAspect="1"/>
            </p:cNvSpPr>
            <p:nvPr/>
          </p:nvSpPr>
          <p:spPr>
            <a:xfrm flipH="1">
              <a:off x="8363846" y="286556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4" name="椭圆 163"/>
            <p:cNvSpPr>
              <a:spLocks noChangeAspect="1"/>
            </p:cNvSpPr>
            <p:nvPr/>
          </p:nvSpPr>
          <p:spPr>
            <a:xfrm flipH="1">
              <a:off x="8417922" y="304752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5" name="椭圆 164"/>
            <p:cNvSpPr>
              <a:spLocks noChangeAspect="1"/>
            </p:cNvSpPr>
            <p:nvPr/>
          </p:nvSpPr>
          <p:spPr>
            <a:xfrm flipH="1">
              <a:off x="8458728" y="3232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6" name="椭圆 165"/>
            <p:cNvSpPr>
              <a:spLocks noChangeAspect="1"/>
            </p:cNvSpPr>
            <p:nvPr/>
          </p:nvSpPr>
          <p:spPr>
            <a:xfrm flipH="1">
              <a:off x="8486050" y="34207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7" name="椭圆 166"/>
            <p:cNvSpPr>
              <a:spLocks noChangeAspect="1"/>
            </p:cNvSpPr>
            <p:nvPr/>
          </p:nvSpPr>
          <p:spPr>
            <a:xfrm flipH="1">
              <a:off x="8499747" y="361006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8" name="椭圆 167"/>
            <p:cNvSpPr>
              <a:spLocks noChangeAspect="1"/>
            </p:cNvSpPr>
            <p:nvPr/>
          </p:nvSpPr>
          <p:spPr>
            <a:xfrm flipH="1">
              <a:off x="8499747" y="379988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69" name="椭圆 168"/>
            <p:cNvSpPr>
              <a:spLocks noChangeAspect="1"/>
            </p:cNvSpPr>
            <p:nvPr/>
          </p:nvSpPr>
          <p:spPr>
            <a:xfrm flipH="1">
              <a:off x="8486050" y="398921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0" name="椭圆 169"/>
            <p:cNvSpPr>
              <a:spLocks noChangeAspect="1"/>
            </p:cNvSpPr>
            <p:nvPr/>
          </p:nvSpPr>
          <p:spPr>
            <a:xfrm flipH="1">
              <a:off x="8458728" y="417705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1" name="椭圆 170"/>
            <p:cNvSpPr>
              <a:spLocks noChangeAspect="1"/>
            </p:cNvSpPr>
            <p:nvPr/>
          </p:nvSpPr>
          <p:spPr>
            <a:xfrm flipH="1">
              <a:off x="8417922" y="436243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2" name="椭圆 171"/>
            <p:cNvSpPr>
              <a:spLocks noChangeAspect="1"/>
            </p:cNvSpPr>
            <p:nvPr/>
          </p:nvSpPr>
          <p:spPr>
            <a:xfrm flipH="1">
              <a:off x="8363846" y="45443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3" name="椭圆 172"/>
            <p:cNvSpPr>
              <a:spLocks noChangeAspect="1"/>
            </p:cNvSpPr>
            <p:nvPr/>
          </p:nvSpPr>
          <p:spPr>
            <a:xfrm flipH="1">
              <a:off x="8296782" y="472196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4" name="椭圆 173"/>
            <p:cNvSpPr>
              <a:spLocks noChangeAspect="1"/>
            </p:cNvSpPr>
            <p:nvPr/>
          </p:nvSpPr>
          <p:spPr>
            <a:xfrm flipH="1">
              <a:off x="8217079" y="489424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5" name="椭圆 174"/>
            <p:cNvSpPr>
              <a:spLocks noChangeAspect="1"/>
            </p:cNvSpPr>
            <p:nvPr/>
          </p:nvSpPr>
          <p:spPr>
            <a:xfrm flipH="1">
              <a:off x="8125153" y="506031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6" name="椭圆 175"/>
            <p:cNvSpPr>
              <a:spLocks noChangeAspect="1"/>
            </p:cNvSpPr>
            <p:nvPr/>
          </p:nvSpPr>
          <p:spPr>
            <a:xfrm flipH="1">
              <a:off x="8021483" y="521932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7" name="椭圆 176"/>
            <p:cNvSpPr>
              <a:spLocks noChangeAspect="1"/>
            </p:cNvSpPr>
            <p:nvPr/>
          </p:nvSpPr>
          <p:spPr>
            <a:xfrm flipH="1">
              <a:off x="7906609" y="537044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8" name="椭圆 177"/>
            <p:cNvSpPr>
              <a:spLocks noChangeAspect="1"/>
            </p:cNvSpPr>
            <p:nvPr/>
          </p:nvSpPr>
          <p:spPr>
            <a:xfrm flipH="1">
              <a:off x="7781131" y="551287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79" name="椭圆 178"/>
            <p:cNvSpPr>
              <a:spLocks noChangeAspect="1"/>
            </p:cNvSpPr>
            <p:nvPr/>
          </p:nvSpPr>
          <p:spPr>
            <a:xfrm flipH="1">
              <a:off x="7645702" y="564587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0" name="椭圆 179"/>
            <p:cNvSpPr>
              <a:spLocks noChangeAspect="1"/>
            </p:cNvSpPr>
            <p:nvPr/>
          </p:nvSpPr>
          <p:spPr>
            <a:xfrm flipH="1">
              <a:off x="7501029" y="576876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1" name="椭圆 180"/>
            <p:cNvSpPr>
              <a:spLocks noChangeAspect="1"/>
            </p:cNvSpPr>
            <p:nvPr/>
          </p:nvSpPr>
          <p:spPr>
            <a:xfrm flipH="1">
              <a:off x="7347866" y="58808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2" name="椭圆 181"/>
            <p:cNvSpPr>
              <a:spLocks noChangeAspect="1"/>
            </p:cNvSpPr>
            <p:nvPr/>
          </p:nvSpPr>
          <p:spPr>
            <a:xfrm flipH="1">
              <a:off x="7187011" y="598167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3" name="椭圆 182"/>
            <p:cNvSpPr>
              <a:spLocks noChangeAspect="1"/>
            </p:cNvSpPr>
            <p:nvPr/>
          </p:nvSpPr>
          <p:spPr>
            <a:xfrm flipH="1">
              <a:off x="7019303" y="607058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4" name="椭圆 183"/>
            <p:cNvSpPr>
              <a:spLocks noChangeAspect="1"/>
            </p:cNvSpPr>
            <p:nvPr/>
          </p:nvSpPr>
          <p:spPr>
            <a:xfrm flipH="1">
              <a:off x="6845618" y="614716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5" name="椭圆 184"/>
            <p:cNvSpPr>
              <a:spLocks noChangeAspect="1"/>
            </p:cNvSpPr>
            <p:nvPr/>
          </p:nvSpPr>
          <p:spPr>
            <a:xfrm flipH="1">
              <a:off x="6666858" y="621101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6" name="椭圆 185"/>
            <p:cNvSpPr>
              <a:spLocks noChangeAspect="1"/>
            </p:cNvSpPr>
            <p:nvPr/>
          </p:nvSpPr>
          <p:spPr>
            <a:xfrm flipH="1">
              <a:off x="6483958" y="626179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7" name="椭圆 186"/>
            <p:cNvSpPr>
              <a:spLocks noChangeAspect="1"/>
            </p:cNvSpPr>
            <p:nvPr/>
          </p:nvSpPr>
          <p:spPr>
            <a:xfrm flipH="1">
              <a:off x="6297870" y="62992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8" name="椭圆 187"/>
            <p:cNvSpPr>
              <a:spLocks noChangeAspect="1"/>
            </p:cNvSpPr>
            <p:nvPr/>
          </p:nvSpPr>
          <p:spPr>
            <a:xfrm flipH="1">
              <a:off x="6109564" y="632317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89" name="椭圆 188"/>
            <p:cNvSpPr>
              <a:spLocks noChangeAspect="1"/>
            </p:cNvSpPr>
            <p:nvPr/>
          </p:nvSpPr>
          <p:spPr>
            <a:xfrm flipH="1">
              <a:off x="5920023" y="633345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0" name="椭圆 189"/>
            <p:cNvSpPr>
              <a:spLocks noChangeAspect="1"/>
            </p:cNvSpPr>
            <p:nvPr/>
          </p:nvSpPr>
          <p:spPr>
            <a:xfrm flipH="1">
              <a:off x="5730236" y="633002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1" name="椭圆 190"/>
            <p:cNvSpPr>
              <a:spLocks noChangeAspect="1"/>
            </p:cNvSpPr>
            <p:nvPr/>
          </p:nvSpPr>
          <p:spPr>
            <a:xfrm flipH="1">
              <a:off x="5541189" y="63129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2" name="椭圆 191"/>
            <p:cNvSpPr>
              <a:spLocks noChangeAspect="1"/>
            </p:cNvSpPr>
            <p:nvPr/>
          </p:nvSpPr>
          <p:spPr>
            <a:xfrm flipH="1">
              <a:off x="5353870" y="628220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3" name="椭圆 192"/>
            <p:cNvSpPr>
              <a:spLocks noChangeAspect="1"/>
            </p:cNvSpPr>
            <p:nvPr/>
          </p:nvSpPr>
          <p:spPr>
            <a:xfrm flipH="1">
              <a:off x="5169256" y="623805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4" name="椭圆 193"/>
            <p:cNvSpPr>
              <a:spLocks noChangeAspect="1"/>
            </p:cNvSpPr>
            <p:nvPr/>
          </p:nvSpPr>
          <p:spPr>
            <a:xfrm flipH="1">
              <a:off x="4988309" y="618070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5" name="椭圆 194"/>
            <p:cNvSpPr>
              <a:spLocks noChangeAspect="1"/>
            </p:cNvSpPr>
            <p:nvPr/>
          </p:nvSpPr>
          <p:spPr>
            <a:xfrm flipH="1">
              <a:off x="4811971" y="61104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6" name="椭圆 195"/>
            <p:cNvSpPr>
              <a:spLocks noChangeAspect="1"/>
            </p:cNvSpPr>
            <p:nvPr/>
          </p:nvSpPr>
          <p:spPr>
            <a:xfrm flipH="1">
              <a:off x="4641162" y="60276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7" name="椭圆 196"/>
            <p:cNvSpPr>
              <a:spLocks noChangeAspect="1"/>
            </p:cNvSpPr>
            <p:nvPr/>
          </p:nvSpPr>
          <p:spPr>
            <a:xfrm flipH="1">
              <a:off x="4476775" y="593273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8" name="椭圆 197"/>
            <p:cNvSpPr>
              <a:spLocks noChangeAspect="1"/>
            </p:cNvSpPr>
            <p:nvPr/>
          </p:nvSpPr>
          <p:spPr>
            <a:xfrm flipH="1">
              <a:off x="4319663" y="58262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199" name="椭圆 198"/>
            <p:cNvSpPr>
              <a:spLocks noChangeAspect="1"/>
            </p:cNvSpPr>
            <p:nvPr/>
          </p:nvSpPr>
          <p:spPr>
            <a:xfrm flipH="1">
              <a:off x="4170647" y="570862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0" name="椭圆 199"/>
            <p:cNvSpPr>
              <a:spLocks noChangeAspect="1"/>
            </p:cNvSpPr>
            <p:nvPr/>
          </p:nvSpPr>
          <p:spPr>
            <a:xfrm flipH="1">
              <a:off x="4030505" y="558059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1" name="椭圆 200"/>
            <p:cNvSpPr>
              <a:spLocks noChangeAspect="1"/>
            </p:cNvSpPr>
            <p:nvPr/>
          </p:nvSpPr>
          <p:spPr>
            <a:xfrm flipH="1">
              <a:off x="3899967" y="54427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2" name="椭圆 201"/>
            <p:cNvSpPr>
              <a:spLocks noChangeAspect="1"/>
            </p:cNvSpPr>
            <p:nvPr/>
          </p:nvSpPr>
          <p:spPr>
            <a:xfrm flipH="1">
              <a:off x="3779712" y="529592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3" name="椭圆 202"/>
            <p:cNvSpPr>
              <a:spLocks noChangeAspect="1"/>
            </p:cNvSpPr>
            <p:nvPr/>
          </p:nvSpPr>
          <p:spPr>
            <a:xfrm flipH="1">
              <a:off x="3670369" y="514075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4" name="椭圆 203"/>
            <p:cNvSpPr>
              <a:spLocks noChangeAspect="1"/>
            </p:cNvSpPr>
            <p:nvPr/>
          </p:nvSpPr>
          <p:spPr>
            <a:xfrm flipH="1">
              <a:off x="3572507" y="49781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5" name="椭圆 204"/>
            <p:cNvSpPr>
              <a:spLocks noChangeAspect="1"/>
            </p:cNvSpPr>
            <p:nvPr/>
          </p:nvSpPr>
          <p:spPr>
            <a:xfrm flipH="1">
              <a:off x="3486636" y="480882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6" name="椭圆 205"/>
            <p:cNvSpPr>
              <a:spLocks noChangeAspect="1"/>
            </p:cNvSpPr>
            <p:nvPr/>
          </p:nvSpPr>
          <p:spPr>
            <a:xfrm flipH="1">
              <a:off x="3413204" y="46337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7" name="椭圆 206"/>
            <p:cNvSpPr>
              <a:spLocks noChangeAspect="1"/>
            </p:cNvSpPr>
            <p:nvPr/>
          </p:nvSpPr>
          <p:spPr>
            <a:xfrm flipH="1">
              <a:off x="3352595" y="4453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8" name="椭圆 207"/>
            <p:cNvSpPr>
              <a:spLocks noChangeAspect="1"/>
            </p:cNvSpPr>
            <p:nvPr/>
          </p:nvSpPr>
          <p:spPr>
            <a:xfrm flipH="1">
              <a:off x="3305123" y="427011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09" name="椭圆 208"/>
            <p:cNvSpPr>
              <a:spLocks noChangeAspect="1"/>
            </p:cNvSpPr>
            <p:nvPr/>
          </p:nvSpPr>
          <p:spPr>
            <a:xfrm flipH="1">
              <a:off x="3271037" y="408338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10" name="椭圆 209"/>
            <p:cNvSpPr>
              <a:spLocks noChangeAspect="1"/>
            </p:cNvSpPr>
            <p:nvPr/>
          </p:nvSpPr>
          <p:spPr>
            <a:xfrm flipH="1">
              <a:off x="3250514" y="389467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grpSp>
        <p:nvGrpSpPr>
          <p:cNvPr id="211" name="组合 210"/>
          <p:cNvGrpSpPr/>
          <p:nvPr/>
        </p:nvGrpSpPr>
        <p:grpSpPr>
          <a:xfrm rot="900000">
            <a:off x="1548258" y="-1097603"/>
            <a:ext cx="9095484" cy="9096948"/>
            <a:chOff x="3243661" y="1076506"/>
            <a:chExt cx="5328086" cy="5328944"/>
          </a:xfrm>
          <a:solidFill>
            <a:srgbClr val="00C3C8">
              <a:alpha val="52000"/>
            </a:srgbClr>
          </a:solidFill>
        </p:grpSpPr>
        <p:sp>
          <p:nvSpPr>
            <p:cNvPr id="212" name="椭圆 211"/>
            <p:cNvSpPr>
              <a:spLocks noChangeAspect="1"/>
            </p:cNvSpPr>
            <p:nvPr/>
          </p:nvSpPr>
          <p:spPr>
            <a:xfrm flipH="1">
              <a:off x="3243661" y="370497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13" name="椭圆 212"/>
            <p:cNvSpPr>
              <a:spLocks noChangeAspect="1"/>
            </p:cNvSpPr>
            <p:nvPr/>
          </p:nvSpPr>
          <p:spPr>
            <a:xfrm flipH="1">
              <a:off x="3250514" y="351528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14" name="椭圆 213"/>
            <p:cNvSpPr>
              <a:spLocks noChangeAspect="1"/>
            </p:cNvSpPr>
            <p:nvPr/>
          </p:nvSpPr>
          <p:spPr>
            <a:xfrm flipH="1">
              <a:off x="3271037" y="332657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15" name="椭圆 214"/>
            <p:cNvSpPr>
              <a:spLocks noChangeAspect="1"/>
            </p:cNvSpPr>
            <p:nvPr/>
          </p:nvSpPr>
          <p:spPr>
            <a:xfrm flipH="1">
              <a:off x="3305123" y="313984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16" name="椭圆 215"/>
            <p:cNvSpPr>
              <a:spLocks noChangeAspect="1"/>
            </p:cNvSpPr>
            <p:nvPr/>
          </p:nvSpPr>
          <p:spPr>
            <a:xfrm flipH="1">
              <a:off x="3352595" y="295605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17" name="椭圆 216"/>
            <p:cNvSpPr>
              <a:spLocks noChangeAspect="1"/>
            </p:cNvSpPr>
            <p:nvPr/>
          </p:nvSpPr>
          <p:spPr>
            <a:xfrm flipH="1">
              <a:off x="3413204" y="277617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18" name="椭圆 217"/>
            <p:cNvSpPr>
              <a:spLocks noChangeAspect="1"/>
            </p:cNvSpPr>
            <p:nvPr/>
          </p:nvSpPr>
          <p:spPr>
            <a:xfrm flipH="1">
              <a:off x="3486636" y="260113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19" name="椭圆 218"/>
            <p:cNvSpPr>
              <a:spLocks noChangeAspect="1"/>
            </p:cNvSpPr>
            <p:nvPr/>
          </p:nvSpPr>
          <p:spPr>
            <a:xfrm flipH="1">
              <a:off x="3572507" y="24318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0" name="椭圆 219"/>
            <p:cNvSpPr>
              <a:spLocks noChangeAspect="1"/>
            </p:cNvSpPr>
            <p:nvPr/>
          </p:nvSpPr>
          <p:spPr>
            <a:xfrm flipH="1">
              <a:off x="3670369" y="226919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1" name="椭圆 220"/>
            <p:cNvSpPr>
              <a:spLocks noChangeAspect="1"/>
            </p:cNvSpPr>
            <p:nvPr/>
          </p:nvSpPr>
          <p:spPr>
            <a:xfrm flipH="1">
              <a:off x="3779712" y="211403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2" name="椭圆 221"/>
            <p:cNvSpPr>
              <a:spLocks noChangeAspect="1"/>
            </p:cNvSpPr>
            <p:nvPr/>
          </p:nvSpPr>
          <p:spPr>
            <a:xfrm flipH="1">
              <a:off x="3899966" y="196716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3" name="椭圆 222"/>
            <p:cNvSpPr>
              <a:spLocks noChangeAspect="1"/>
            </p:cNvSpPr>
            <p:nvPr/>
          </p:nvSpPr>
          <p:spPr>
            <a:xfrm flipH="1">
              <a:off x="4030505" y="182936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4" name="椭圆 223"/>
            <p:cNvSpPr>
              <a:spLocks noChangeAspect="1"/>
            </p:cNvSpPr>
            <p:nvPr/>
          </p:nvSpPr>
          <p:spPr>
            <a:xfrm flipH="1">
              <a:off x="4170647" y="170133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5" name="椭圆 224"/>
            <p:cNvSpPr>
              <a:spLocks noChangeAspect="1"/>
            </p:cNvSpPr>
            <p:nvPr/>
          </p:nvSpPr>
          <p:spPr>
            <a:xfrm flipH="1">
              <a:off x="4319662" y="158374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6" name="椭圆 225"/>
            <p:cNvSpPr>
              <a:spLocks noChangeAspect="1"/>
            </p:cNvSpPr>
            <p:nvPr/>
          </p:nvSpPr>
          <p:spPr>
            <a:xfrm flipH="1">
              <a:off x="4476774" y="147722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7" name="椭圆 226"/>
            <p:cNvSpPr>
              <a:spLocks noChangeAspect="1"/>
            </p:cNvSpPr>
            <p:nvPr/>
          </p:nvSpPr>
          <p:spPr>
            <a:xfrm flipH="1">
              <a:off x="4641162" y="13823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8" name="椭圆 227"/>
            <p:cNvSpPr>
              <a:spLocks noChangeAspect="1"/>
            </p:cNvSpPr>
            <p:nvPr/>
          </p:nvSpPr>
          <p:spPr>
            <a:xfrm flipH="1">
              <a:off x="4811970" y="12995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29" name="椭圆 228"/>
            <p:cNvSpPr>
              <a:spLocks noChangeAspect="1"/>
            </p:cNvSpPr>
            <p:nvPr/>
          </p:nvSpPr>
          <p:spPr>
            <a:xfrm flipH="1">
              <a:off x="4988308" y="122925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0" name="椭圆 229"/>
            <p:cNvSpPr>
              <a:spLocks noChangeAspect="1"/>
            </p:cNvSpPr>
            <p:nvPr/>
          </p:nvSpPr>
          <p:spPr>
            <a:xfrm flipH="1">
              <a:off x="5169256" y="1171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1" name="椭圆 230"/>
            <p:cNvSpPr>
              <a:spLocks noChangeAspect="1"/>
            </p:cNvSpPr>
            <p:nvPr/>
          </p:nvSpPr>
          <p:spPr>
            <a:xfrm flipH="1">
              <a:off x="5353870" y="112775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2" name="椭圆 231"/>
            <p:cNvSpPr>
              <a:spLocks noChangeAspect="1"/>
            </p:cNvSpPr>
            <p:nvPr/>
          </p:nvSpPr>
          <p:spPr>
            <a:xfrm flipH="1">
              <a:off x="5541189" y="10970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3" name="椭圆 232"/>
            <p:cNvSpPr>
              <a:spLocks noChangeAspect="1"/>
            </p:cNvSpPr>
            <p:nvPr/>
          </p:nvSpPr>
          <p:spPr>
            <a:xfrm flipH="1">
              <a:off x="5730235" y="107993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4" name="椭圆 233"/>
            <p:cNvSpPr>
              <a:spLocks noChangeAspect="1"/>
            </p:cNvSpPr>
            <p:nvPr/>
          </p:nvSpPr>
          <p:spPr>
            <a:xfrm flipH="1">
              <a:off x="5920023" y="107650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5" name="椭圆 234"/>
            <p:cNvSpPr>
              <a:spLocks noChangeAspect="1"/>
            </p:cNvSpPr>
            <p:nvPr/>
          </p:nvSpPr>
          <p:spPr>
            <a:xfrm flipH="1">
              <a:off x="6109564" y="108678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6" name="椭圆 235"/>
            <p:cNvSpPr>
              <a:spLocks noChangeAspect="1"/>
            </p:cNvSpPr>
            <p:nvPr/>
          </p:nvSpPr>
          <p:spPr>
            <a:xfrm flipH="1">
              <a:off x="6297870" y="11107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7" name="椭圆 236"/>
            <p:cNvSpPr>
              <a:spLocks noChangeAspect="1"/>
            </p:cNvSpPr>
            <p:nvPr/>
          </p:nvSpPr>
          <p:spPr>
            <a:xfrm flipH="1">
              <a:off x="6483958" y="114816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8" name="椭圆 237"/>
            <p:cNvSpPr>
              <a:spLocks noChangeAspect="1"/>
            </p:cNvSpPr>
            <p:nvPr/>
          </p:nvSpPr>
          <p:spPr>
            <a:xfrm flipH="1">
              <a:off x="6666858" y="119894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39" name="椭圆 238"/>
            <p:cNvSpPr>
              <a:spLocks noChangeAspect="1"/>
            </p:cNvSpPr>
            <p:nvPr/>
          </p:nvSpPr>
          <p:spPr>
            <a:xfrm flipH="1">
              <a:off x="6845617" y="126279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0" name="椭圆 239"/>
            <p:cNvSpPr>
              <a:spLocks noChangeAspect="1"/>
            </p:cNvSpPr>
            <p:nvPr/>
          </p:nvSpPr>
          <p:spPr>
            <a:xfrm flipH="1">
              <a:off x="7019303" y="133937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1" name="椭圆 240"/>
            <p:cNvSpPr>
              <a:spLocks noChangeAspect="1"/>
            </p:cNvSpPr>
            <p:nvPr/>
          </p:nvSpPr>
          <p:spPr>
            <a:xfrm flipH="1">
              <a:off x="7187011" y="14282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2" name="椭圆 241"/>
            <p:cNvSpPr>
              <a:spLocks noChangeAspect="1"/>
            </p:cNvSpPr>
            <p:nvPr/>
          </p:nvSpPr>
          <p:spPr>
            <a:xfrm flipH="1">
              <a:off x="7347865" y="152906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3" name="椭圆 242"/>
            <p:cNvSpPr>
              <a:spLocks noChangeAspect="1"/>
            </p:cNvSpPr>
            <p:nvPr/>
          </p:nvSpPr>
          <p:spPr>
            <a:xfrm flipH="1">
              <a:off x="7501029" y="164119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4" name="椭圆 243"/>
            <p:cNvSpPr>
              <a:spLocks noChangeAspect="1"/>
            </p:cNvSpPr>
            <p:nvPr/>
          </p:nvSpPr>
          <p:spPr>
            <a:xfrm flipH="1">
              <a:off x="7645702" y="176408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5" name="椭圆 244"/>
            <p:cNvSpPr>
              <a:spLocks noChangeAspect="1"/>
            </p:cNvSpPr>
            <p:nvPr/>
          </p:nvSpPr>
          <p:spPr>
            <a:xfrm flipH="1">
              <a:off x="7781130" y="18970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6" name="椭圆 245"/>
            <p:cNvSpPr>
              <a:spLocks noChangeAspect="1"/>
            </p:cNvSpPr>
            <p:nvPr/>
          </p:nvSpPr>
          <p:spPr>
            <a:xfrm flipH="1">
              <a:off x="7906609" y="203951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7" name="椭圆 246"/>
            <p:cNvSpPr>
              <a:spLocks noChangeAspect="1"/>
            </p:cNvSpPr>
            <p:nvPr/>
          </p:nvSpPr>
          <p:spPr>
            <a:xfrm flipH="1">
              <a:off x="8021482" y="2190629"/>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8" name="椭圆 247"/>
            <p:cNvSpPr>
              <a:spLocks noChangeAspect="1"/>
            </p:cNvSpPr>
            <p:nvPr/>
          </p:nvSpPr>
          <p:spPr>
            <a:xfrm flipH="1">
              <a:off x="8125152" y="234963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49" name="椭圆 248"/>
            <p:cNvSpPr>
              <a:spLocks noChangeAspect="1"/>
            </p:cNvSpPr>
            <p:nvPr/>
          </p:nvSpPr>
          <p:spPr>
            <a:xfrm flipH="1">
              <a:off x="8217079" y="25157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0" name="椭圆 249"/>
            <p:cNvSpPr>
              <a:spLocks noChangeAspect="1"/>
            </p:cNvSpPr>
            <p:nvPr/>
          </p:nvSpPr>
          <p:spPr>
            <a:xfrm flipH="1">
              <a:off x="8296782" y="2687989"/>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1" name="椭圆 250"/>
            <p:cNvSpPr>
              <a:spLocks noChangeAspect="1"/>
            </p:cNvSpPr>
            <p:nvPr/>
          </p:nvSpPr>
          <p:spPr>
            <a:xfrm flipH="1">
              <a:off x="8363846" y="286556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2" name="椭圆 251"/>
            <p:cNvSpPr>
              <a:spLocks noChangeAspect="1"/>
            </p:cNvSpPr>
            <p:nvPr/>
          </p:nvSpPr>
          <p:spPr>
            <a:xfrm flipH="1">
              <a:off x="8417922" y="304752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3" name="椭圆 252"/>
            <p:cNvSpPr>
              <a:spLocks noChangeAspect="1"/>
            </p:cNvSpPr>
            <p:nvPr/>
          </p:nvSpPr>
          <p:spPr>
            <a:xfrm flipH="1">
              <a:off x="8458728" y="3232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4" name="椭圆 253"/>
            <p:cNvSpPr>
              <a:spLocks noChangeAspect="1"/>
            </p:cNvSpPr>
            <p:nvPr/>
          </p:nvSpPr>
          <p:spPr>
            <a:xfrm flipH="1">
              <a:off x="8486050" y="34207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5" name="椭圆 254"/>
            <p:cNvSpPr>
              <a:spLocks noChangeAspect="1"/>
            </p:cNvSpPr>
            <p:nvPr/>
          </p:nvSpPr>
          <p:spPr>
            <a:xfrm flipH="1">
              <a:off x="8499747" y="361006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6" name="椭圆 255"/>
            <p:cNvSpPr>
              <a:spLocks noChangeAspect="1"/>
            </p:cNvSpPr>
            <p:nvPr/>
          </p:nvSpPr>
          <p:spPr>
            <a:xfrm flipH="1">
              <a:off x="8499747" y="379988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7" name="椭圆 256"/>
            <p:cNvSpPr>
              <a:spLocks noChangeAspect="1"/>
            </p:cNvSpPr>
            <p:nvPr/>
          </p:nvSpPr>
          <p:spPr>
            <a:xfrm flipH="1">
              <a:off x="8486050" y="398921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8" name="椭圆 257"/>
            <p:cNvSpPr>
              <a:spLocks noChangeAspect="1"/>
            </p:cNvSpPr>
            <p:nvPr/>
          </p:nvSpPr>
          <p:spPr>
            <a:xfrm flipH="1">
              <a:off x="8458728" y="417705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59" name="椭圆 258"/>
            <p:cNvSpPr>
              <a:spLocks noChangeAspect="1"/>
            </p:cNvSpPr>
            <p:nvPr/>
          </p:nvSpPr>
          <p:spPr>
            <a:xfrm flipH="1">
              <a:off x="8417922" y="436243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0" name="椭圆 259"/>
            <p:cNvSpPr>
              <a:spLocks noChangeAspect="1"/>
            </p:cNvSpPr>
            <p:nvPr/>
          </p:nvSpPr>
          <p:spPr>
            <a:xfrm flipH="1">
              <a:off x="8363846" y="45443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1" name="椭圆 260"/>
            <p:cNvSpPr>
              <a:spLocks noChangeAspect="1"/>
            </p:cNvSpPr>
            <p:nvPr/>
          </p:nvSpPr>
          <p:spPr>
            <a:xfrm flipH="1">
              <a:off x="8296782" y="472196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2" name="椭圆 261"/>
            <p:cNvSpPr>
              <a:spLocks noChangeAspect="1"/>
            </p:cNvSpPr>
            <p:nvPr/>
          </p:nvSpPr>
          <p:spPr>
            <a:xfrm flipH="1">
              <a:off x="8217079" y="489424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3" name="椭圆 262"/>
            <p:cNvSpPr>
              <a:spLocks noChangeAspect="1"/>
            </p:cNvSpPr>
            <p:nvPr/>
          </p:nvSpPr>
          <p:spPr>
            <a:xfrm flipH="1">
              <a:off x="8125153" y="506031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4" name="椭圆 263"/>
            <p:cNvSpPr>
              <a:spLocks noChangeAspect="1"/>
            </p:cNvSpPr>
            <p:nvPr/>
          </p:nvSpPr>
          <p:spPr>
            <a:xfrm flipH="1">
              <a:off x="8021483" y="521932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5" name="椭圆 264"/>
            <p:cNvSpPr>
              <a:spLocks noChangeAspect="1"/>
            </p:cNvSpPr>
            <p:nvPr/>
          </p:nvSpPr>
          <p:spPr>
            <a:xfrm flipH="1">
              <a:off x="7906609" y="537044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6" name="椭圆 265"/>
            <p:cNvSpPr>
              <a:spLocks noChangeAspect="1"/>
            </p:cNvSpPr>
            <p:nvPr/>
          </p:nvSpPr>
          <p:spPr>
            <a:xfrm flipH="1">
              <a:off x="7781131" y="551287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7" name="椭圆 266"/>
            <p:cNvSpPr>
              <a:spLocks noChangeAspect="1"/>
            </p:cNvSpPr>
            <p:nvPr/>
          </p:nvSpPr>
          <p:spPr>
            <a:xfrm flipH="1">
              <a:off x="7645702" y="564587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8" name="椭圆 267"/>
            <p:cNvSpPr>
              <a:spLocks noChangeAspect="1"/>
            </p:cNvSpPr>
            <p:nvPr/>
          </p:nvSpPr>
          <p:spPr>
            <a:xfrm flipH="1">
              <a:off x="7501029" y="576876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69" name="椭圆 268"/>
            <p:cNvSpPr>
              <a:spLocks noChangeAspect="1"/>
            </p:cNvSpPr>
            <p:nvPr/>
          </p:nvSpPr>
          <p:spPr>
            <a:xfrm flipH="1">
              <a:off x="7347866" y="58808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0" name="椭圆 269"/>
            <p:cNvSpPr>
              <a:spLocks noChangeAspect="1"/>
            </p:cNvSpPr>
            <p:nvPr/>
          </p:nvSpPr>
          <p:spPr>
            <a:xfrm flipH="1">
              <a:off x="7187011" y="598167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1" name="椭圆 270"/>
            <p:cNvSpPr>
              <a:spLocks noChangeAspect="1"/>
            </p:cNvSpPr>
            <p:nvPr/>
          </p:nvSpPr>
          <p:spPr>
            <a:xfrm flipH="1">
              <a:off x="7019303" y="607058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2" name="椭圆 271"/>
            <p:cNvSpPr>
              <a:spLocks noChangeAspect="1"/>
            </p:cNvSpPr>
            <p:nvPr/>
          </p:nvSpPr>
          <p:spPr>
            <a:xfrm flipH="1">
              <a:off x="6845618" y="614716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3" name="椭圆 272"/>
            <p:cNvSpPr>
              <a:spLocks noChangeAspect="1"/>
            </p:cNvSpPr>
            <p:nvPr/>
          </p:nvSpPr>
          <p:spPr>
            <a:xfrm flipH="1">
              <a:off x="6666858" y="621101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4" name="椭圆 273"/>
            <p:cNvSpPr>
              <a:spLocks noChangeAspect="1"/>
            </p:cNvSpPr>
            <p:nvPr/>
          </p:nvSpPr>
          <p:spPr>
            <a:xfrm flipH="1">
              <a:off x="6483958" y="626179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5" name="椭圆 274"/>
            <p:cNvSpPr>
              <a:spLocks noChangeAspect="1"/>
            </p:cNvSpPr>
            <p:nvPr/>
          </p:nvSpPr>
          <p:spPr>
            <a:xfrm flipH="1">
              <a:off x="6297870" y="62992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6" name="椭圆 275"/>
            <p:cNvSpPr>
              <a:spLocks noChangeAspect="1"/>
            </p:cNvSpPr>
            <p:nvPr/>
          </p:nvSpPr>
          <p:spPr>
            <a:xfrm flipH="1">
              <a:off x="6109564" y="632317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7" name="椭圆 276"/>
            <p:cNvSpPr>
              <a:spLocks noChangeAspect="1"/>
            </p:cNvSpPr>
            <p:nvPr/>
          </p:nvSpPr>
          <p:spPr>
            <a:xfrm flipH="1">
              <a:off x="5920023" y="633345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8" name="椭圆 277"/>
            <p:cNvSpPr>
              <a:spLocks noChangeAspect="1"/>
            </p:cNvSpPr>
            <p:nvPr/>
          </p:nvSpPr>
          <p:spPr>
            <a:xfrm flipH="1">
              <a:off x="5730236" y="633002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79" name="椭圆 278"/>
            <p:cNvSpPr>
              <a:spLocks noChangeAspect="1"/>
            </p:cNvSpPr>
            <p:nvPr/>
          </p:nvSpPr>
          <p:spPr>
            <a:xfrm flipH="1">
              <a:off x="5541189" y="63129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0" name="椭圆 279"/>
            <p:cNvSpPr>
              <a:spLocks noChangeAspect="1"/>
            </p:cNvSpPr>
            <p:nvPr/>
          </p:nvSpPr>
          <p:spPr>
            <a:xfrm flipH="1">
              <a:off x="5353870" y="628220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1" name="椭圆 280"/>
            <p:cNvSpPr>
              <a:spLocks noChangeAspect="1"/>
            </p:cNvSpPr>
            <p:nvPr/>
          </p:nvSpPr>
          <p:spPr>
            <a:xfrm flipH="1">
              <a:off x="5169256" y="623805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2" name="椭圆 281"/>
            <p:cNvSpPr>
              <a:spLocks noChangeAspect="1"/>
            </p:cNvSpPr>
            <p:nvPr/>
          </p:nvSpPr>
          <p:spPr>
            <a:xfrm flipH="1">
              <a:off x="4988309" y="618070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3" name="椭圆 282"/>
            <p:cNvSpPr>
              <a:spLocks noChangeAspect="1"/>
            </p:cNvSpPr>
            <p:nvPr/>
          </p:nvSpPr>
          <p:spPr>
            <a:xfrm flipH="1">
              <a:off x="4811971" y="61104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4" name="椭圆 283"/>
            <p:cNvSpPr>
              <a:spLocks noChangeAspect="1"/>
            </p:cNvSpPr>
            <p:nvPr/>
          </p:nvSpPr>
          <p:spPr>
            <a:xfrm flipH="1">
              <a:off x="4641162" y="60276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5" name="椭圆 284"/>
            <p:cNvSpPr>
              <a:spLocks noChangeAspect="1"/>
            </p:cNvSpPr>
            <p:nvPr/>
          </p:nvSpPr>
          <p:spPr>
            <a:xfrm flipH="1">
              <a:off x="4476775" y="593273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6" name="椭圆 285"/>
            <p:cNvSpPr>
              <a:spLocks noChangeAspect="1"/>
            </p:cNvSpPr>
            <p:nvPr/>
          </p:nvSpPr>
          <p:spPr>
            <a:xfrm flipH="1">
              <a:off x="4319663" y="58262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7" name="椭圆 286"/>
            <p:cNvSpPr>
              <a:spLocks noChangeAspect="1"/>
            </p:cNvSpPr>
            <p:nvPr/>
          </p:nvSpPr>
          <p:spPr>
            <a:xfrm flipH="1">
              <a:off x="4170647" y="570862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8" name="椭圆 287"/>
            <p:cNvSpPr>
              <a:spLocks noChangeAspect="1"/>
            </p:cNvSpPr>
            <p:nvPr/>
          </p:nvSpPr>
          <p:spPr>
            <a:xfrm flipH="1">
              <a:off x="4030505" y="558059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89" name="椭圆 288"/>
            <p:cNvSpPr>
              <a:spLocks noChangeAspect="1"/>
            </p:cNvSpPr>
            <p:nvPr/>
          </p:nvSpPr>
          <p:spPr>
            <a:xfrm flipH="1">
              <a:off x="3899967" y="54427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90" name="椭圆 289"/>
            <p:cNvSpPr>
              <a:spLocks noChangeAspect="1"/>
            </p:cNvSpPr>
            <p:nvPr/>
          </p:nvSpPr>
          <p:spPr>
            <a:xfrm flipH="1">
              <a:off x="3779712" y="529592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91" name="椭圆 290"/>
            <p:cNvSpPr>
              <a:spLocks noChangeAspect="1"/>
            </p:cNvSpPr>
            <p:nvPr/>
          </p:nvSpPr>
          <p:spPr>
            <a:xfrm flipH="1">
              <a:off x="3670369" y="514075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92" name="椭圆 291"/>
            <p:cNvSpPr>
              <a:spLocks noChangeAspect="1"/>
            </p:cNvSpPr>
            <p:nvPr/>
          </p:nvSpPr>
          <p:spPr>
            <a:xfrm flipH="1">
              <a:off x="3572507" y="49781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93" name="椭圆 292"/>
            <p:cNvSpPr>
              <a:spLocks noChangeAspect="1"/>
            </p:cNvSpPr>
            <p:nvPr/>
          </p:nvSpPr>
          <p:spPr>
            <a:xfrm flipH="1">
              <a:off x="3486636" y="480882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94" name="椭圆 293"/>
            <p:cNvSpPr>
              <a:spLocks noChangeAspect="1"/>
            </p:cNvSpPr>
            <p:nvPr/>
          </p:nvSpPr>
          <p:spPr>
            <a:xfrm flipH="1">
              <a:off x="3413204" y="46337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95" name="椭圆 294"/>
            <p:cNvSpPr>
              <a:spLocks noChangeAspect="1"/>
            </p:cNvSpPr>
            <p:nvPr/>
          </p:nvSpPr>
          <p:spPr>
            <a:xfrm flipH="1">
              <a:off x="3352595" y="4453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96" name="椭圆 295"/>
            <p:cNvSpPr>
              <a:spLocks noChangeAspect="1"/>
            </p:cNvSpPr>
            <p:nvPr/>
          </p:nvSpPr>
          <p:spPr>
            <a:xfrm flipH="1">
              <a:off x="3305123" y="427011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97" name="椭圆 296"/>
            <p:cNvSpPr>
              <a:spLocks noChangeAspect="1"/>
            </p:cNvSpPr>
            <p:nvPr/>
          </p:nvSpPr>
          <p:spPr>
            <a:xfrm flipH="1">
              <a:off x="3271037" y="408338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298" name="椭圆 297"/>
            <p:cNvSpPr>
              <a:spLocks noChangeAspect="1"/>
            </p:cNvSpPr>
            <p:nvPr/>
          </p:nvSpPr>
          <p:spPr>
            <a:xfrm flipH="1">
              <a:off x="3250514" y="389467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grpSp>
        <p:nvGrpSpPr>
          <p:cNvPr id="299" name="组合 298"/>
          <p:cNvGrpSpPr/>
          <p:nvPr/>
        </p:nvGrpSpPr>
        <p:grpSpPr>
          <a:xfrm rot="1562123">
            <a:off x="1554617" y="-1100587"/>
            <a:ext cx="9095484" cy="9096948"/>
            <a:chOff x="3243661" y="1076506"/>
            <a:chExt cx="5328086" cy="5328944"/>
          </a:xfrm>
          <a:solidFill>
            <a:srgbClr val="00C3C8">
              <a:alpha val="70000"/>
            </a:srgbClr>
          </a:solidFill>
        </p:grpSpPr>
        <p:sp>
          <p:nvSpPr>
            <p:cNvPr id="300" name="椭圆 299"/>
            <p:cNvSpPr>
              <a:spLocks noChangeAspect="1"/>
            </p:cNvSpPr>
            <p:nvPr/>
          </p:nvSpPr>
          <p:spPr>
            <a:xfrm flipH="1">
              <a:off x="3243661" y="370497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01" name="椭圆 300"/>
            <p:cNvSpPr>
              <a:spLocks noChangeAspect="1"/>
            </p:cNvSpPr>
            <p:nvPr/>
          </p:nvSpPr>
          <p:spPr>
            <a:xfrm flipH="1">
              <a:off x="3250514" y="351528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02" name="椭圆 301"/>
            <p:cNvSpPr>
              <a:spLocks noChangeAspect="1"/>
            </p:cNvSpPr>
            <p:nvPr/>
          </p:nvSpPr>
          <p:spPr>
            <a:xfrm flipH="1">
              <a:off x="3271037" y="332657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03" name="椭圆 302"/>
            <p:cNvSpPr>
              <a:spLocks noChangeAspect="1"/>
            </p:cNvSpPr>
            <p:nvPr/>
          </p:nvSpPr>
          <p:spPr>
            <a:xfrm flipH="1">
              <a:off x="3305123" y="313984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04" name="椭圆 303"/>
            <p:cNvSpPr>
              <a:spLocks noChangeAspect="1"/>
            </p:cNvSpPr>
            <p:nvPr/>
          </p:nvSpPr>
          <p:spPr>
            <a:xfrm flipH="1">
              <a:off x="3352595" y="295605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05" name="椭圆 304"/>
            <p:cNvSpPr>
              <a:spLocks noChangeAspect="1"/>
            </p:cNvSpPr>
            <p:nvPr/>
          </p:nvSpPr>
          <p:spPr>
            <a:xfrm flipH="1">
              <a:off x="3413204" y="277617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06" name="椭圆 305"/>
            <p:cNvSpPr>
              <a:spLocks noChangeAspect="1"/>
            </p:cNvSpPr>
            <p:nvPr/>
          </p:nvSpPr>
          <p:spPr>
            <a:xfrm flipH="1">
              <a:off x="3486636" y="260113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07" name="椭圆 306"/>
            <p:cNvSpPr>
              <a:spLocks noChangeAspect="1"/>
            </p:cNvSpPr>
            <p:nvPr/>
          </p:nvSpPr>
          <p:spPr>
            <a:xfrm flipH="1">
              <a:off x="3572507" y="24318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08" name="椭圆 307"/>
            <p:cNvSpPr>
              <a:spLocks noChangeAspect="1"/>
            </p:cNvSpPr>
            <p:nvPr/>
          </p:nvSpPr>
          <p:spPr>
            <a:xfrm flipH="1">
              <a:off x="3670369" y="226919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09" name="椭圆 308"/>
            <p:cNvSpPr>
              <a:spLocks noChangeAspect="1"/>
            </p:cNvSpPr>
            <p:nvPr/>
          </p:nvSpPr>
          <p:spPr>
            <a:xfrm flipH="1">
              <a:off x="3779712" y="211403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0" name="椭圆 309"/>
            <p:cNvSpPr>
              <a:spLocks noChangeAspect="1"/>
            </p:cNvSpPr>
            <p:nvPr/>
          </p:nvSpPr>
          <p:spPr>
            <a:xfrm flipH="1">
              <a:off x="3899966" y="196716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1" name="椭圆 310"/>
            <p:cNvSpPr>
              <a:spLocks noChangeAspect="1"/>
            </p:cNvSpPr>
            <p:nvPr/>
          </p:nvSpPr>
          <p:spPr>
            <a:xfrm flipH="1">
              <a:off x="4030505" y="182936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2" name="椭圆 311"/>
            <p:cNvSpPr>
              <a:spLocks noChangeAspect="1"/>
            </p:cNvSpPr>
            <p:nvPr/>
          </p:nvSpPr>
          <p:spPr>
            <a:xfrm flipH="1">
              <a:off x="4170647" y="170133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3" name="椭圆 312"/>
            <p:cNvSpPr>
              <a:spLocks noChangeAspect="1"/>
            </p:cNvSpPr>
            <p:nvPr/>
          </p:nvSpPr>
          <p:spPr>
            <a:xfrm flipH="1">
              <a:off x="4319662" y="158374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4" name="椭圆 313"/>
            <p:cNvSpPr>
              <a:spLocks noChangeAspect="1"/>
            </p:cNvSpPr>
            <p:nvPr/>
          </p:nvSpPr>
          <p:spPr>
            <a:xfrm flipH="1">
              <a:off x="4476774" y="147722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5" name="椭圆 314"/>
            <p:cNvSpPr>
              <a:spLocks noChangeAspect="1"/>
            </p:cNvSpPr>
            <p:nvPr/>
          </p:nvSpPr>
          <p:spPr>
            <a:xfrm flipH="1">
              <a:off x="4641162" y="13823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6" name="椭圆 315"/>
            <p:cNvSpPr>
              <a:spLocks noChangeAspect="1"/>
            </p:cNvSpPr>
            <p:nvPr/>
          </p:nvSpPr>
          <p:spPr>
            <a:xfrm flipH="1">
              <a:off x="4811970" y="12995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7" name="椭圆 316"/>
            <p:cNvSpPr>
              <a:spLocks noChangeAspect="1"/>
            </p:cNvSpPr>
            <p:nvPr/>
          </p:nvSpPr>
          <p:spPr>
            <a:xfrm flipH="1">
              <a:off x="4988308" y="122925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8" name="椭圆 317"/>
            <p:cNvSpPr>
              <a:spLocks noChangeAspect="1"/>
            </p:cNvSpPr>
            <p:nvPr/>
          </p:nvSpPr>
          <p:spPr>
            <a:xfrm flipH="1">
              <a:off x="5169256" y="1171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19" name="椭圆 318"/>
            <p:cNvSpPr>
              <a:spLocks noChangeAspect="1"/>
            </p:cNvSpPr>
            <p:nvPr/>
          </p:nvSpPr>
          <p:spPr>
            <a:xfrm flipH="1">
              <a:off x="5353870" y="112775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0" name="椭圆 319"/>
            <p:cNvSpPr>
              <a:spLocks noChangeAspect="1"/>
            </p:cNvSpPr>
            <p:nvPr/>
          </p:nvSpPr>
          <p:spPr>
            <a:xfrm flipH="1">
              <a:off x="5541189" y="10970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1" name="椭圆 320"/>
            <p:cNvSpPr>
              <a:spLocks noChangeAspect="1"/>
            </p:cNvSpPr>
            <p:nvPr/>
          </p:nvSpPr>
          <p:spPr>
            <a:xfrm flipH="1">
              <a:off x="5730235" y="107993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2" name="椭圆 321"/>
            <p:cNvSpPr>
              <a:spLocks noChangeAspect="1"/>
            </p:cNvSpPr>
            <p:nvPr/>
          </p:nvSpPr>
          <p:spPr>
            <a:xfrm flipH="1">
              <a:off x="5920023" y="107650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3" name="椭圆 322"/>
            <p:cNvSpPr>
              <a:spLocks noChangeAspect="1"/>
            </p:cNvSpPr>
            <p:nvPr/>
          </p:nvSpPr>
          <p:spPr>
            <a:xfrm flipH="1">
              <a:off x="6109564" y="108678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4" name="椭圆 323"/>
            <p:cNvSpPr>
              <a:spLocks noChangeAspect="1"/>
            </p:cNvSpPr>
            <p:nvPr/>
          </p:nvSpPr>
          <p:spPr>
            <a:xfrm flipH="1">
              <a:off x="6297870" y="11107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5" name="椭圆 324"/>
            <p:cNvSpPr>
              <a:spLocks noChangeAspect="1"/>
            </p:cNvSpPr>
            <p:nvPr/>
          </p:nvSpPr>
          <p:spPr>
            <a:xfrm flipH="1">
              <a:off x="6483958" y="114816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6" name="椭圆 325"/>
            <p:cNvSpPr>
              <a:spLocks noChangeAspect="1"/>
            </p:cNvSpPr>
            <p:nvPr/>
          </p:nvSpPr>
          <p:spPr>
            <a:xfrm flipH="1">
              <a:off x="6666858" y="119894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7" name="椭圆 326"/>
            <p:cNvSpPr>
              <a:spLocks noChangeAspect="1"/>
            </p:cNvSpPr>
            <p:nvPr/>
          </p:nvSpPr>
          <p:spPr>
            <a:xfrm flipH="1">
              <a:off x="6845617" y="126279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8" name="椭圆 327"/>
            <p:cNvSpPr>
              <a:spLocks noChangeAspect="1"/>
            </p:cNvSpPr>
            <p:nvPr/>
          </p:nvSpPr>
          <p:spPr>
            <a:xfrm flipH="1">
              <a:off x="7019303" y="133937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29" name="椭圆 328"/>
            <p:cNvSpPr>
              <a:spLocks noChangeAspect="1"/>
            </p:cNvSpPr>
            <p:nvPr/>
          </p:nvSpPr>
          <p:spPr>
            <a:xfrm flipH="1">
              <a:off x="7187011" y="14282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0" name="椭圆 329"/>
            <p:cNvSpPr>
              <a:spLocks noChangeAspect="1"/>
            </p:cNvSpPr>
            <p:nvPr/>
          </p:nvSpPr>
          <p:spPr>
            <a:xfrm flipH="1">
              <a:off x="7347865" y="152906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1" name="椭圆 330"/>
            <p:cNvSpPr>
              <a:spLocks noChangeAspect="1"/>
            </p:cNvSpPr>
            <p:nvPr/>
          </p:nvSpPr>
          <p:spPr>
            <a:xfrm flipH="1">
              <a:off x="7501029" y="164119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2" name="椭圆 331"/>
            <p:cNvSpPr>
              <a:spLocks noChangeAspect="1"/>
            </p:cNvSpPr>
            <p:nvPr/>
          </p:nvSpPr>
          <p:spPr>
            <a:xfrm flipH="1">
              <a:off x="7645702" y="176408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3" name="椭圆 332"/>
            <p:cNvSpPr>
              <a:spLocks noChangeAspect="1"/>
            </p:cNvSpPr>
            <p:nvPr/>
          </p:nvSpPr>
          <p:spPr>
            <a:xfrm flipH="1">
              <a:off x="7781130" y="18970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4" name="椭圆 333"/>
            <p:cNvSpPr>
              <a:spLocks noChangeAspect="1"/>
            </p:cNvSpPr>
            <p:nvPr/>
          </p:nvSpPr>
          <p:spPr>
            <a:xfrm flipH="1">
              <a:off x="7906609" y="203951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5" name="椭圆 334"/>
            <p:cNvSpPr>
              <a:spLocks noChangeAspect="1"/>
            </p:cNvSpPr>
            <p:nvPr/>
          </p:nvSpPr>
          <p:spPr>
            <a:xfrm flipH="1">
              <a:off x="8021482" y="2190629"/>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6" name="椭圆 335"/>
            <p:cNvSpPr>
              <a:spLocks noChangeAspect="1"/>
            </p:cNvSpPr>
            <p:nvPr/>
          </p:nvSpPr>
          <p:spPr>
            <a:xfrm flipH="1">
              <a:off x="8125152" y="234963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7" name="椭圆 336"/>
            <p:cNvSpPr>
              <a:spLocks noChangeAspect="1"/>
            </p:cNvSpPr>
            <p:nvPr/>
          </p:nvSpPr>
          <p:spPr>
            <a:xfrm flipH="1">
              <a:off x="8217079" y="25157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8" name="椭圆 337"/>
            <p:cNvSpPr>
              <a:spLocks noChangeAspect="1"/>
            </p:cNvSpPr>
            <p:nvPr/>
          </p:nvSpPr>
          <p:spPr>
            <a:xfrm flipH="1">
              <a:off x="8296782" y="2687989"/>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39" name="椭圆 338"/>
            <p:cNvSpPr>
              <a:spLocks noChangeAspect="1"/>
            </p:cNvSpPr>
            <p:nvPr/>
          </p:nvSpPr>
          <p:spPr>
            <a:xfrm flipH="1">
              <a:off x="8363846" y="286556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0" name="椭圆 339"/>
            <p:cNvSpPr>
              <a:spLocks noChangeAspect="1"/>
            </p:cNvSpPr>
            <p:nvPr/>
          </p:nvSpPr>
          <p:spPr>
            <a:xfrm flipH="1">
              <a:off x="8417922" y="304752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1" name="椭圆 340"/>
            <p:cNvSpPr>
              <a:spLocks noChangeAspect="1"/>
            </p:cNvSpPr>
            <p:nvPr/>
          </p:nvSpPr>
          <p:spPr>
            <a:xfrm flipH="1">
              <a:off x="8458728" y="3232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2" name="椭圆 341"/>
            <p:cNvSpPr>
              <a:spLocks noChangeAspect="1"/>
            </p:cNvSpPr>
            <p:nvPr/>
          </p:nvSpPr>
          <p:spPr>
            <a:xfrm flipH="1">
              <a:off x="8486050" y="34207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3" name="椭圆 342"/>
            <p:cNvSpPr>
              <a:spLocks noChangeAspect="1"/>
            </p:cNvSpPr>
            <p:nvPr/>
          </p:nvSpPr>
          <p:spPr>
            <a:xfrm flipH="1">
              <a:off x="8499747" y="361006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4" name="椭圆 343"/>
            <p:cNvSpPr>
              <a:spLocks noChangeAspect="1"/>
            </p:cNvSpPr>
            <p:nvPr/>
          </p:nvSpPr>
          <p:spPr>
            <a:xfrm flipH="1">
              <a:off x="8499747" y="379988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5" name="椭圆 344"/>
            <p:cNvSpPr>
              <a:spLocks noChangeAspect="1"/>
            </p:cNvSpPr>
            <p:nvPr/>
          </p:nvSpPr>
          <p:spPr>
            <a:xfrm flipH="1">
              <a:off x="8486050" y="398921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6" name="椭圆 345"/>
            <p:cNvSpPr>
              <a:spLocks noChangeAspect="1"/>
            </p:cNvSpPr>
            <p:nvPr/>
          </p:nvSpPr>
          <p:spPr>
            <a:xfrm flipH="1">
              <a:off x="8458728" y="417705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7" name="椭圆 346"/>
            <p:cNvSpPr>
              <a:spLocks noChangeAspect="1"/>
            </p:cNvSpPr>
            <p:nvPr/>
          </p:nvSpPr>
          <p:spPr>
            <a:xfrm flipH="1">
              <a:off x="8417922" y="436243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8" name="椭圆 347"/>
            <p:cNvSpPr>
              <a:spLocks noChangeAspect="1"/>
            </p:cNvSpPr>
            <p:nvPr/>
          </p:nvSpPr>
          <p:spPr>
            <a:xfrm flipH="1">
              <a:off x="8363846" y="45443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49" name="椭圆 348"/>
            <p:cNvSpPr>
              <a:spLocks noChangeAspect="1"/>
            </p:cNvSpPr>
            <p:nvPr/>
          </p:nvSpPr>
          <p:spPr>
            <a:xfrm flipH="1">
              <a:off x="8296782" y="472196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0" name="椭圆 349"/>
            <p:cNvSpPr>
              <a:spLocks noChangeAspect="1"/>
            </p:cNvSpPr>
            <p:nvPr/>
          </p:nvSpPr>
          <p:spPr>
            <a:xfrm flipH="1">
              <a:off x="8217079" y="489424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1" name="椭圆 350"/>
            <p:cNvSpPr>
              <a:spLocks noChangeAspect="1"/>
            </p:cNvSpPr>
            <p:nvPr/>
          </p:nvSpPr>
          <p:spPr>
            <a:xfrm flipH="1">
              <a:off x="8125153" y="506031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2" name="椭圆 351"/>
            <p:cNvSpPr>
              <a:spLocks noChangeAspect="1"/>
            </p:cNvSpPr>
            <p:nvPr/>
          </p:nvSpPr>
          <p:spPr>
            <a:xfrm flipH="1">
              <a:off x="8021483" y="521932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3" name="椭圆 352"/>
            <p:cNvSpPr>
              <a:spLocks noChangeAspect="1"/>
            </p:cNvSpPr>
            <p:nvPr/>
          </p:nvSpPr>
          <p:spPr>
            <a:xfrm flipH="1">
              <a:off x="7906609" y="537044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4" name="椭圆 353"/>
            <p:cNvSpPr>
              <a:spLocks noChangeAspect="1"/>
            </p:cNvSpPr>
            <p:nvPr/>
          </p:nvSpPr>
          <p:spPr>
            <a:xfrm flipH="1">
              <a:off x="7781131" y="551287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5" name="椭圆 354"/>
            <p:cNvSpPr>
              <a:spLocks noChangeAspect="1"/>
            </p:cNvSpPr>
            <p:nvPr/>
          </p:nvSpPr>
          <p:spPr>
            <a:xfrm flipH="1">
              <a:off x="7645702" y="564587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6" name="椭圆 355"/>
            <p:cNvSpPr>
              <a:spLocks noChangeAspect="1"/>
            </p:cNvSpPr>
            <p:nvPr/>
          </p:nvSpPr>
          <p:spPr>
            <a:xfrm flipH="1">
              <a:off x="7501029" y="576876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7" name="椭圆 356"/>
            <p:cNvSpPr>
              <a:spLocks noChangeAspect="1"/>
            </p:cNvSpPr>
            <p:nvPr/>
          </p:nvSpPr>
          <p:spPr>
            <a:xfrm flipH="1">
              <a:off x="7347866" y="58808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8" name="椭圆 357"/>
            <p:cNvSpPr>
              <a:spLocks noChangeAspect="1"/>
            </p:cNvSpPr>
            <p:nvPr/>
          </p:nvSpPr>
          <p:spPr>
            <a:xfrm flipH="1">
              <a:off x="7187011" y="598167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59" name="椭圆 358"/>
            <p:cNvSpPr>
              <a:spLocks noChangeAspect="1"/>
            </p:cNvSpPr>
            <p:nvPr/>
          </p:nvSpPr>
          <p:spPr>
            <a:xfrm flipH="1">
              <a:off x="7019303" y="607058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0" name="椭圆 359"/>
            <p:cNvSpPr>
              <a:spLocks noChangeAspect="1"/>
            </p:cNvSpPr>
            <p:nvPr/>
          </p:nvSpPr>
          <p:spPr>
            <a:xfrm flipH="1">
              <a:off x="6845618" y="614716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1" name="椭圆 360"/>
            <p:cNvSpPr>
              <a:spLocks noChangeAspect="1"/>
            </p:cNvSpPr>
            <p:nvPr/>
          </p:nvSpPr>
          <p:spPr>
            <a:xfrm flipH="1">
              <a:off x="6666858" y="621101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2" name="椭圆 361"/>
            <p:cNvSpPr>
              <a:spLocks noChangeAspect="1"/>
            </p:cNvSpPr>
            <p:nvPr/>
          </p:nvSpPr>
          <p:spPr>
            <a:xfrm flipH="1">
              <a:off x="6483958" y="626179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3" name="椭圆 362"/>
            <p:cNvSpPr>
              <a:spLocks noChangeAspect="1"/>
            </p:cNvSpPr>
            <p:nvPr/>
          </p:nvSpPr>
          <p:spPr>
            <a:xfrm flipH="1">
              <a:off x="6297870" y="62992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4" name="椭圆 363"/>
            <p:cNvSpPr>
              <a:spLocks noChangeAspect="1"/>
            </p:cNvSpPr>
            <p:nvPr/>
          </p:nvSpPr>
          <p:spPr>
            <a:xfrm flipH="1">
              <a:off x="6109564" y="632317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5" name="椭圆 364"/>
            <p:cNvSpPr>
              <a:spLocks noChangeAspect="1"/>
            </p:cNvSpPr>
            <p:nvPr/>
          </p:nvSpPr>
          <p:spPr>
            <a:xfrm flipH="1">
              <a:off x="5920023" y="633345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6" name="椭圆 365"/>
            <p:cNvSpPr>
              <a:spLocks noChangeAspect="1"/>
            </p:cNvSpPr>
            <p:nvPr/>
          </p:nvSpPr>
          <p:spPr>
            <a:xfrm flipH="1">
              <a:off x="5730236" y="633002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7" name="椭圆 366"/>
            <p:cNvSpPr>
              <a:spLocks noChangeAspect="1"/>
            </p:cNvSpPr>
            <p:nvPr/>
          </p:nvSpPr>
          <p:spPr>
            <a:xfrm flipH="1">
              <a:off x="5541189" y="63129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8" name="椭圆 367"/>
            <p:cNvSpPr>
              <a:spLocks noChangeAspect="1"/>
            </p:cNvSpPr>
            <p:nvPr/>
          </p:nvSpPr>
          <p:spPr>
            <a:xfrm flipH="1">
              <a:off x="5353870" y="628220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69" name="椭圆 368"/>
            <p:cNvSpPr>
              <a:spLocks noChangeAspect="1"/>
            </p:cNvSpPr>
            <p:nvPr/>
          </p:nvSpPr>
          <p:spPr>
            <a:xfrm flipH="1">
              <a:off x="5169256" y="623805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0" name="椭圆 369"/>
            <p:cNvSpPr>
              <a:spLocks noChangeAspect="1"/>
            </p:cNvSpPr>
            <p:nvPr/>
          </p:nvSpPr>
          <p:spPr>
            <a:xfrm flipH="1">
              <a:off x="4988309" y="618070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1" name="椭圆 370"/>
            <p:cNvSpPr>
              <a:spLocks noChangeAspect="1"/>
            </p:cNvSpPr>
            <p:nvPr/>
          </p:nvSpPr>
          <p:spPr>
            <a:xfrm flipH="1">
              <a:off x="4811971" y="61104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2" name="椭圆 371"/>
            <p:cNvSpPr>
              <a:spLocks noChangeAspect="1"/>
            </p:cNvSpPr>
            <p:nvPr/>
          </p:nvSpPr>
          <p:spPr>
            <a:xfrm flipH="1">
              <a:off x="4641162" y="60276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3" name="椭圆 372"/>
            <p:cNvSpPr>
              <a:spLocks noChangeAspect="1"/>
            </p:cNvSpPr>
            <p:nvPr/>
          </p:nvSpPr>
          <p:spPr>
            <a:xfrm flipH="1">
              <a:off x="4476775" y="593273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4" name="椭圆 373"/>
            <p:cNvSpPr>
              <a:spLocks noChangeAspect="1"/>
            </p:cNvSpPr>
            <p:nvPr/>
          </p:nvSpPr>
          <p:spPr>
            <a:xfrm flipH="1">
              <a:off x="4319663" y="58262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5" name="椭圆 374"/>
            <p:cNvSpPr>
              <a:spLocks noChangeAspect="1"/>
            </p:cNvSpPr>
            <p:nvPr/>
          </p:nvSpPr>
          <p:spPr>
            <a:xfrm flipH="1">
              <a:off x="4170647" y="570862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6" name="椭圆 375"/>
            <p:cNvSpPr>
              <a:spLocks noChangeAspect="1"/>
            </p:cNvSpPr>
            <p:nvPr/>
          </p:nvSpPr>
          <p:spPr>
            <a:xfrm flipH="1">
              <a:off x="4030505" y="558059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7" name="椭圆 376"/>
            <p:cNvSpPr>
              <a:spLocks noChangeAspect="1"/>
            </p:cNvSpPr>
            <p:nvPr/>
          </p:nvSpPr>
          <p:spPr>
            <a:xfrm flipH="1">
              <a:off x="3899967" y="54427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8" name="椭圆 377"/>
            <p:cNvSpPr>
              <a:spLocks noChangeAspect="1"/>
            </p:cNvSpPr>
            <p:nvPr/>
          </p:nvSpPr>
          <p:spPr>
            <a:xfrm flipH="1">
              <a:off x="3779712" y="529592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79" name="椭圆 378"/>
            <p:cNvSpPr>
              <a:spLocks noChangeAspect="1"/>
            </p:cNvSpPr>
            <p:nvPr/>
          </p:nvSpPr>
          <p:spPr>
            <a:xfrm flipH="1">
              <a:off x="3670369" y="514075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80" name="椭圆 379"/>
            <p:cNvSpPr>
              <a:spLocks noChangeAspect="1"/>
            </p:cNvSpPr>
            <p:nvPr/>
          </p:nvSpPr>
          <p:spPr>
            <a:xfrm flipH="1">
              <a:off x="3572507" y="49781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81" name="椭圆 380"/>
            <p:cNvSpPr>
              <a:spLocks noChangeAspect="1"/>
            </p:cNvSpPr>
            <p:nvPr/>
          </p:nvSpPr>
          <p:spPr>
            <a:xfrm flipH="1">
              <a:off x="3486636" y="480882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82" name="椭圆 381"/>
            <p:cNvSpPr>
              <a:spLocks noChangeAspect="1"/>
            </p:cNvSpPr>
            <p:nvPr/>
          </p:nvSpPr>
          <p:spPr>
            <a:xfrm flipH="1">
              <a:off x="3413204" y="46337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83" name="椭圆 382"/>
            <p:cNvSpPr>
              <a:spLocks noChangeAspect="1"/>
            </p:cNvSpPr>
            <p:nvPr/>
          </p:nvSpPr>
          <p:spPr>
            <a:xfrm flipH="1">
              <a:off x="3352595" y="4453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84" name="椭圆 383"/>
            <p:cNvSpPr>
              <a:spLocks noChangeAspect="1"/>
            </p:cNvSpPr>
            <p:nvPr/>
          </p:nvSpPr>
          <p:spPr>
            <a:xfrm flipH="1">
              <a:off x="3305123" y="427011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85" name="椭圆 384"/>
            <p:cNvSpPr>
              <a:spLocks noChangeAspect="1"/>
            </p:cNvSpPr>
            <p:nvPr/>
          </p:nvSpPr>
          <p:spPr>
            <a:xfrm flipH="1">
              <a:off x="3271037" y="408338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86" name="椭圆 385"/>
            <p:cNvSpPr>
              <a:spLocks noChangeAspect="1"/>
            </p:cNvSpPr>
            <p:nvPr/>
          </p:nvSpPr>
          <p:spPr>
            <a:xfrm flipH="1">
              <a:off x="3250514" y="389467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grpSp>
        <p:nvGrpSpPr>
          <p:cNvPr id="387" name="组合 386"/>
          <p:cNvGrpSpPr/>
          <p:nvPr/>
        </p:nvGrpSpPr>
        <p:grpSpPr>
          <a:xfrm rot="2027695">
            <a:off x="1554617" y="-1097604"/>
            <a:ext cx="9095484" cy="9096948"/>
            <a:chOff x="3243661" y="1076506"/>
            <a:chExt cx="5328086" cy="5328944"/>
          </a:xfrm>
          <a:solidFill>
            <a:srgbClr val="00C3C8">
              <a:alpha val="47000"/>
            </a:srgbClr>
          </a:solidFill>
        </p:grpSpPr>
        <p:sp>
          <p:nvSpPr>
            <p:cNvPr id="388" name="椭圆 387"/>
            <p:cNvSpPr>
              <a:spLocks noChangeAspect="1"/>
            </p:cNvSpPr>
            <p:nvPr/>
          </p:nvSpPr>
          <p:spPr>
            <a:xfrm flipH="1">
              <a:off x="3243661" y="370497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89" name="椭圆 388"/>
            <p:cNvSpPr>
              <a:spLocks noChangeAspect="1"/>
            </p:cNvSpPr>
            <p:nvPr/>
          </p:nvSpPr>
          <p:spPr>
            <a:xfrm flipH="1">
              <a:off x="3250514" y="351528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0" name="椭圆 389"/>
            <p:cNvSpPr>
              <a:spLocks noChangeAspect="1"/>
            </p:cNvSpPr>
            <p:nvPr/>
          </p:nvSpPr>
          <p:spPr>
            <a:xfrm flipH="1">
              <a:off x="3271037" y="332657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1" name="椭圆 390"/>
            <p:cNvSpPr>
              <a:spLocks noChangeAspect="1"/>
            </p:cNvSpPr>
            <p:nvPr/>
          </p:nvSpPr>
          <p:spPr>
            <a:xfrm flipH="1">
              <a:off x="3305123" y="313984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2" name="椭圆 391"/>
            <p:cNvSpPr>
              <a:spLocks noChangeAspect="1"/>
            </p:cNvSpPr>
            <p:nvPr/>
          </p:nvSpPr>
          <p:spPr>
            <a:xfrm flipH="1">
              <a:off x="3352595" y="295605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3" name="椭圆 392"/>
            <p:cNvSpPr>
              <a:spLocks noChangeAspect="1"/>
            </p:cNvSpPr>
            <p:nvPr/>
          </p:nvSpPr>
          <p:spPr>
            <a:xfrm flipH="1">
              <a:off x="3413204" y="277617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4" name="椭圆 393"/>
            <p:cNvSpPr>
              <a:spLocks noChangeAspect="1"/>
            </p:cNvSpPr>
            <p:nvPr/>
          </p:nvSpPr>
          <p:spPr>
            <a:xfrm flipH="1">
              <a:off x="3486636" y="260113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5" name="椭圆 394"/>
            <p:cNvSpPr>
              <a:spLocks noChangeAspect="1"/>
            </p:cNvSpPr>
            <p:nvPr/>
          </p:nvSpPr>
          <p:spPr>
            <a:xfrm flipH="1">
              <a:off x="3572507" y="24318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6" name="椭圆 395"/>
            <p:cNvSpPr>
              <a:spLocks noChangeAspect="1"/>
            </p:cNvSpPr>
            <p:nvPr/>
          </p:nvSpPr>
          <p:spPr>
            <a:xfrm flipH="1">
              <a:off x="3670369" y="226919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7" name="椭圆 396"/>
            <p:cNvSpPr>
              <a:spLocks noChangeAspect="1"/>
            </p:cNvSpPr>
            <p:nvPr/>
          </p:nvSpPr>
          <p:spPr>
            <a:xfrm flipH="1">
              <a:off x="3779712" y="211403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8" name="椭圆 397"/>
            <p:cNvSpPr>
              <a:spLocks noChangeAspect="1"/>
            </p:cNvSpPr>
            <p:nvPr/>
          </p:nvSpPr>
          <p:spPr>
            <a:xfrm flipH="1">
              <a:off x="3899966" y="196716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399" name="椭圆 398"/>
            <p:cNvSpPr>
              <a:spLocks noChangeAspect="1"/>
            </p:cNvSpPr>
            <p:nvPr/>
          </p:nvSpPr>
          <p:spPr>
            <a:xfrm flipH="1">
              <a:off x="4030505" y="182936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0" name="椭圆 399"/>
            <p:cNvSpPr>
              <a:spLocks noChangeAspect="1"/>
            </p:cNvSpPr>
            <p:nvPr/>
          </p:nvSpPr>
          <p:spPr>
            <a:xfrm flipH="1">
              <a:off x="4170647" y="170133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1" name="椭圆 400"/>
            <p:cNvSpPr>
              <a:spLocks noChangeAspect="1"/>
            </p:cNvSpPr>
            <p:nvPr/>
          </p:nvSpPr>
          <p:spPr>
            <a:xfrm flipH="1">
              <a:off x="4319662" y="158374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2" name="椭圆 401"/>
            <p:cNvSpPr>
              <a:spLocks noChangeAspect="1"/>
            </p:cNvSpPr>
            <p:nvPr/>
          </p:nvSpPr>
          <p:spPr>
            <a:xfrm flipH="1">
              <a:off x="4476774" y="147722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3" name="椭圆 402"/>
            <p:cNvSpPr>
              <a:spLocks noChangeAspect="1"/>
            </p:cNvSpPr>
            <p:nvPr/>
          </p:nvSpPr>
          <p:spPr>
            <a:xfrm flipH="1">
              <a:off x="4641162" y="13823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4" name="椭圆 403"/>
            <p:cNvSpPr>
              <a:spLocks noChangeAspect="1"/>
            </p:cNvSpPr>
            <p:nvPr/>
          </p:nvSpPr>
          <p:spPr>
            <a:xfrm flipH="1">
              <a:off x="4811970" y="12995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5" name="椭圆 404"/>
            <p:cNvSpPr>
              <a:spLocks noChangeAspect="1"/>
            </p:cNvSpPr>
            <p:nvPr/>
          </p:nvSpPr>
          <p:spPr>
            <a:xfrm flipH="1">
              <a:off x="4988308" y="122925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6" name="椭圆 405"/>
            <p:cNvSpPr>
              <a:spLocks noChangeAspect="1"/>
            </p:cNvSpPr>
            <p:nvPr/>
          </p:nvSpPr>
          <p:spPr>
            <a:xfrm flipH="1">
              <a:off x="5169256" y="1171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7" name="椭圆 406"/>
            <p:cNvSpPr>
              <a:spLocks noChangeAspect="1"/>
            </p:cNvSpPr>
            <p:nvPr/>
          </p:nvSpPr>
          <p:spPr>
            <a:xfrm flipH="1">
              <a:off x="5353870" y="112775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8" name="椭圆 407"/>
            <p:cNvSpPr>
              <a:spLocks noChangeAspect="1"/>
            </p:cNvSpPr>
            <p:nvPr/>
          </p:nvSpPr>
          <p:spPr>
            <a:xfrm flipH="1">
              <a:off x="5541189" y="10970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09" name="椭圆 408"/>
            <p:cNvSpPr>
              <a:spLocks noChangeAspect="1"/>
            </p:cNvSpPr>
            <p:nvPr/>
          </p:nvSpPr>
          <p:spPr>
            <a:xfrm flipH="1">
              <a:off x="5730235" y="107993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0" name="椭圆 409"/>
            <p:cNvSpPr>
              <a:spLocks noChangeAspect="1"/>
            </p:cNvSpPr>
            <p:nvPr/>
          </p:nvSpPr>
          <p:spPr>
            <a:xfrm flipH="1">
              <a:off x="5920023" y="107650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1" name="椭圆 410"/>
            <p:cNvSpPr>
              <a:spLocks noChangeAspect="1"/>
            </p:cNvSpPr>
            <p:nvPr/>
          </p:nvSpPr>
          <p:spPr>
            <a:xfrm flipH="1">
              <a:off x="6109564" y="108678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2" name="椭圆 411"/>
            <p:cNvSpPr>
              <a:spLocks noChangeAspect="1"/>
            </p:cNvSpPr>
            <p:nvPr/>
          </p:nvSpPr>
          <p:spPr>
            <a:xfrm flipH="1">
              <a:off x="6297870" y="11107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3" name="椭圆 412"/>
            <p:cNvSpPr>
              <a:spLocks noChangeAspect="1"/>
            </p:cNvSpPr>
            <p:nvPr/>
          </p:nvSpPr>
          <p:spPr>
            <a:xfrm flipH="1">
              <a:off x="6483958" y="114816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4" name="椭圆 413"/>
            <p:cNvSpPr>
              <a:spLocks noChangeAspect="1"/>
            </p:cNvSpPr>
            <p:nvPr/>
          </p:nvSpPr>
          <p:spPr>
            <a:xfrm flipH="1">
              <a:off x="6666858" y="119894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5" name="椭圆 414"/>
            <p:cNvSpPr>
              <a:spLocks noChangeAspect="1"/>
            </p:cNvSpPr>
            <p:nvPr/>
          </p:nvSpPr>
          <p:spPr>
            <a:xfrm flipH="1">
              <a:off x="6845617" y="126279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6" name="椭圆 415"/>
            <p:cNvSpPr>
              <a:spLocks noChangeAspect="1"/>
            </p:cNvSpPr>
            <p:nvPr/>
          </p:nvSpPr>
          <p:spPr>
            <a:xfrm flipH="1">
              <a:off x="7019303" y="133937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7" name="椭圆 416"/>
            <p:cNvSpPr>
              <a:spLocks noChangeAspect="1"/>
            </p:cNvSpPr>
            <p:nvPr/>
          </p:nvSpPr>
          <p:spPr>
            <a:xfrm flipH="1">
              <a:off x="7187011" y="14282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8" name="椭圆 417"/>
            <p:cNvSpPr>
              <a:spLocks noChangeAspect="1"/>
            </p:cNvSpPr>
            <p:nvPr/>
          </p:nvSpPr>
          <p:spPr>
            <a:xfrm flipH="1">
              <a:off x="7347865" y="152906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19" name="椭圆 418"/>
            <p:cNvSpPr>
              <a:spLocks noChangeAspect="1"/>
            </p:cNvSpPr>
            <p:nvPr/>
          </p:nvSpPr>
          <p:spPr>
            <a:xfrm flipH="1">
              <a:off x="7501029" y="164119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0" name="椭圆 419"/>
            <p:cNvSpPr>
              <a:spLocks noChangeAspect="1"/>
            </p:cNvSpPr>
            <p:nvPr/>
          </p:nvSpPr>
          <p:spPr>
            <a:xfrm flipH="1">
              <a:off x="7645702" y="176408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1" name="椭圆 420"/>
            <p:cNvSpPr>
              <a:spLocks noChangeAspect="1"/>
            </p:cNvSpPr>
            <p:nvPr/>
          </p:nvSpPr>
          <p:spPr>
            <a:xfrm flipH="1">
              <a:off x="7781130" y="18970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2" name="椭圆 421"/>
            <p:cNvSpPr>
              <a:spLocks noChangeAspect="1"/>
            </p:cNvSpPr>
            <p:nvPr/>
          </p:nvSpPr>
          <p:spPr>
            <a:xfrm flipH="1">
              <a:off x="7906609" y="203951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3" name="椭圆 422"/>
            <p:cNvSpPr>
              <a:spLocks noChangeAspect="1"/>
            </p:cNvSpPr>
            <p:nvPr/>
          </p:nvSpPr>
          <p:spPr>
            <a:xfrm flipH="1">
              <a:off x="8021482" y="2190629"/>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4" name="椭圆 423"/>
            <p:cNvSpPr>
              <a:spLocks noChangeAspect="1"/>
            </p:cNvSpPr>
            <p:nvPr/>
          </p:nvSpPr>
          <p:spPr>
            <a:xfrm flipH="1">
              <a:off x="8125152" y="234963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5" name="椭圆 424"/>
            <p:cNvSpPr>
              <a:spLocks noChangeAspect="1"/>
            </p:cNvSpPr>
            <p:nvPr/>
          </p:nvSpPr>
          <p:spPr>
            <a:xfrm flipH="1">
              <a:off x="8217079" y="251571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6" name="椭圆 425"/>
            <p:cNvSpPr>
              <a:spLocks noChangeAspect="1"/>
            </p:cNvSpPr>
            <p:nvPr/>
          </p:nvSpPr>
          <p:spPr>
            <a:xfrm flipH="1">
              <a:off x="8296782" y="2687989"/>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7" name="椭圆 426"/>
            <p:cNvSpPr>
              <a:spLocks noChangeAspect="1"/>
            </p:cNvSpPr>
            <p:nvPr/>
          </p:nvSpPr>
          <p:spPr>
            <a:xfrm flipH="1">
              <a:off x="8363846" y="286556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8" name="椭圆 427"/>
            <p:cNvSpPr>
              <a:spLocks noChangeAspect="1"/>
            </p:cNvSpPr>
            <p:nvPr/>
          </p:nvSpPr>
          <p:spPr>
            <a:xfrm flipH="1">
              <a:off x="8417922" y="304752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29" name="椭圆 428"/>
            <p:cNvSpPr>
              <a:spLocks noChangeAspect="1"/>
            </p:cNvSpPr>
            <p:nvPr/>
          </p:nvSpPr>
          <p:spPr>
            <a:xfrm flipH="1">
              <a:off x="8458728" y="3232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0" name="椭圆 429"/>
            <p:cNvSpPr>
              <a:spLocks noChangeAspect="1"/>
            </p:cNvSpPr>
            <p:nvPr/>
          </p:nvSpPr>
          <p:spPr>
            <a:xfrm flipH="1">
              <a:off x="8486050" y="34207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1" name="椭圆 430"/>
            <p:cNvSpPr>
              <a:spLocks noChangeAspect="1"/>
            </p:cNvSpPr>
            <p:nvPr/>
          </p:nvSpPr>
          <p:spPr>
            <a:xfrm flipH="1">
              <a:off x="8499747" y="361006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2" name="椭圆 431"/>
            <p:cNvSpPr>
              <a:spLocks noChangeAspect="1"/>
            </p:cNvSpPr>
            <p:nvPr/>
          </p:nvSpPr>
          <p:spPr>
            <a:xfrm flipH="1">
              <a:off x="8499747" y="379988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3" name="椭圆 432"/>
            <p:cNvSpPr>
              <a:spLocks noChangeAspect="1"/>
            </p:cNvSpPr>
            <p:nvPr/>
          </p:nvSpPr>
          <p:spPr>
            <a:xfrm flipH="1">
              <a:off x="8486050" y="398921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4" name="椭圆 433"/>
            <p:cNvSpPr>
              <a:spLocks noChangeAspect="1"/>
            </p:cNvSpPr>
            <p:nvPr/>
          </p:nvSpPr>
          <p:spPr>
            <a:xfrm flipH="1">
              <a:off x="8458728" y="417705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5" name="椭圆 434"/>
            <p:cNvSpPr>
              <a:spLocks noChangeAspect="1"/>
            </p:cNvSpPr>
            <p:nvPr/>
          </p:nvSpPr>
          <p:spPr>
            <a:xfrm flipH="1">
              <a:off x="8417922" y="436243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6" name="椭圆 435"/>
            <p:cNvSpPr>
              <a:spLocks noChangeAspect="1"/>
            </p:cNvSpPr>
            <p:nvPr/>
          </p:nvSpPr>
          <p:spPr>
            <a:xfrm flipH="1">
              <a:off x="8363846" y="45443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7" name="椭圆 436"/>
            <p:cNvSpPr>
              <a:spLocks noChangeAspect="1"/>
            </p:cNvSpPr>
            <p:nvPr/>
          </p:nvSpPr>
          <p:spPr>
            <a:xfrm flipH="1">
              <a:off x="8296782" y="472196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8" name="椭圆 437"/>
            <p:cNvSpPr>
              <a:spLocks noChangeAspect="1"/>
            </p:cNvSpPr>
            <p:nvPr/>
          </p:nvSpPr>
          <p:spPr>
            <a:xfrm flipH="1">
              <a:off x="8217079" y="489424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39" name="椭圆 438"/>
            <p:cNvSpPr>
              <a:spLocks noChangeAspect="1"/>
            </p:cNvSpPr>
            <p:nvPr/>
          </p:nvSpPr>
          <p:spPr>
            <a:xfrm flipH="1">
              <a:off x="8125153" y="5060317"/>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0" name="椭圆 439"/>
            <p:cNvSpPr>
              <a:spLocks noChangeAspect="1"/>
            </p:cNvSpPr>
            <p:nvPr/>
          </p:nvSpPr>
          <p:spPr>
            <a:xfrm flipH="1">
              <a:off x="8021483" y="521932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1" name="椭圆 440"/>
            <p:cNvSpPr>
              <a:spLocks noChangeAspect="1"/>
            </p:cNvSpPr>
            <p:nvPr/>
          </p:nvSpPr>
          <p:spPr>
            <a:xfrm flipH="1">
              <a:off x="7906609" y="537044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2" name="椭圆 441"/>
            <p:cNvSpPr>
              <a:spLocks noChangeAspect="1"/>
            </p:cNvSpPr>
            <p:nvPr/>
          </p:nvSpPr>
          <p:spPr>
            <a:xfrm flipH="1">
              <a:off x="7781131" y="551287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3" name="椭圆 442"/>
            <p:cNvSpPr>
              <a:spLocks noChangeAspect="1"/>
            </p:cNvSpPr>
            <p:nvPr/>
          </p:nvSpPr>
          <p:spPr>
            <a:xfrm flipH="1">
              <a:off x="7645702" y="564587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4" name="椭圆 443"/>
            <p:cNvSpPr>
              <a:spLocks noChangeAspect="1"/>
            </p:cNvSpPr>
            <p:nvPr/>
          </p:nvSpPr>
          <p:spPr>
            <a:xfrm flipH="1">
              <a:off x="7501029" y="576876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5" name="椭圆 444"/>
            <p:cNvSpPr>
              <a:spLocks noChangeAspect="1"/>
            </p:cNvSpPr>
            <p:nvPr/>
          </p:nvSpPr>
          <p:spPr>
            <a:xfrm flipH="1">
              <a:off x="7347866" y="58808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6" name="椭圆 445"/>
            <p:cNvSpPr>
              <a:spLocks noChangeAspect="1"/>
            </p:cNvSpPr>
            <p:nvPr/>
          </p:nvSpPr>
          <p:spPr>
            <a:xfrm flipH="1">
              <a:off x="7187011" y="598167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7" name="椭圆 446"/>
            <p:cNvSpPr>
              <a:spLocks noChangeAspect="1"/>
            </p:cNvSpPr>
            <p:nvPr/>
          </p:nvSpPr>
          <p:spPr>
            <a:xfrm flipH="1">
              <a:off x="7019303" y="607058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8" name="椭圆 447"/>
            <p:cNvSpPr>
              <a:spLocks noChangeAspect="1"/>
            </p:cNvSpPr>
            <p:nvPr/>
          </p:nvSpPr>
          <p:spPr>
            <a:xfrm flipH="1">
              <a:off x="6845618" y="614716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49" name="椭圆 448"/>
            <p:cNvSpPr>
              <a:spLocks noChangeAspect="1"/>
            </p:cNvSpPr>
            <p:nvPr/>
          </p:nvSpPr>
          <p:spPr>
            <a:xfrm flipH="1">
              <a:off x="6666858" y="6211012"/>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0" name="椭圆 449"/>
            <p:cNvSpPr>
              <a:spLocks noChangeAspect="1"/>
            </p:cNvSpPr>
            <p:nvPr/>
          </p:nvSpPr>
          <p:spPr>
            <a:xfrm flipH="1">
              <a:off x="6483958" y="626179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1" name="椭圆 450"/>
            <p:cNvSpPr>
              <a:spLocks noChangeAspect="1"/>
            </p:cNvSpPr>
            <p:nvPr/>
          </p:nvSpPr>
          <p:spPr>
            <a:xfrm flipH="1">
              <a:off x="6297870" y="629924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2" name="椭圆 451"/>
            <p:cNvSpPr>
              <a:spLocks noChangeAspect="1"/>
            </p:cNvSpPr>
            <p:nvPr/>
          </p:nvSpPr>
          <p:spPr>
            <a:xfrm flipH="1">
              <a:off x="6109564" y="632317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3" name="椭圆 452"/>
            <p:cNvSpPr>
              <a:spLocks noChangeAspect="1"/>
            </p:cNvSpPr>
            <p:nvPr/>
          </p:nvSpPr>
          <p:spPr>
            <a:xfrm flipH="1">
              <a:off x="5920023" y="633345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4" name="椭圆 453"/>
            <p:cNvSpPr>
              <a:spLocks noChangeAspect="1"/>
            </p:cNvSpPr>
            <p:nvPr/>
          </p:nvSpPr>
          <p:spPr>
            <a:xfrm flipH="1">
              <a:off x="5730236" y="633002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5" name="椭圆 454"/>
            <p:cNvSpPr>
              <a:spLocks noChangeAspect="1"/>
            </p:cNvSpPr>
            <p:nvPr/>
          </p:nvSpPr>
          <p:spPr>
            <a:xfrm flipH="1">
              <a:off x="5541189" y="63129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6" name="椭圆 455"/>
            <p:cNvSpPr>
              <a:spLocks noChangeAspect="1"/>
            </p:cNvSpPr>
            <p:nvPr/>
          </p:nvSpPr>
          <p:spPr>
            <a:xfrm flipH="1">
              <a:off x="5353870" y="628220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7" name="椭圆 456"/>
            <p:cNvSpPr>
              <a:spLocks noChangeAspect="1"/>
            </p:cNvSpPr>
            <p:nvPr/>
          </p:nvSpPr>
          <p:spPr>
            <a:xfrm flipH="1">
              <a:off x="5169256" y="623805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8" name="椭圆 457"/>
            <p:cNvSpPr>
              <a:spLocks noChangeAspect="1"/>
            </p:cNvSpPr>
            <p:nvPr/>
          </p:nvSpPr>
          <p:spPr>
            <a:xfrm flipH="1">
              <a:off x="4988309" y="618070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59" name="椭圆 458"/>
            <p:cNvSpPr>
              <a:spLocks noChangeAspect="1"/>
            </p:cNvSpPr>
            <p:nvPr/>
          </p:nvSpPr>
          <p:spPr>
            <a:xfrm flipH="1">
              <a:off x="4811971" y="61104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0" name="椭圆 459"/>
            <p:cNvSpPr>
              <a:spLocks noChangeAspect="1"/>
            </p:cNvSpPr>
            <p:nvPr/>
          </p:nvSpPr>
          <p:spPr>
            <a:xfrm flipH="1">
              <a:off x="4641162" y="6027643"/>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1" name="椭圆 460"/>
            <p:cNvSpPr>
              <a:spLocks noChangeAspect="1"/>
            </p:cNvSpPr>
            <p:nvPr/>
          </p:nvSpPr>
          <p:spPr>
            <a:xfrm flipH="1">
              <a:off x="4476775" y="593273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2" name="椭圆 461"/>
            <p:cNvSpPr>
              <a:spLocks noChangeAspect="1"/>
            </p:cNvSpPr>
            <p:nvPr/>
          </p:nvSpPr>
          <p:spPr>
            <a:xfrm flipH="1">
              <a:off x="4319663" y="58262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3" name="椭圆 462"/>
            <p:cNvSpPr>
              <a:spLocks noChangeAspect="1"/>
            </p:cNvSpPr>
            <p:nvPr/>
          </p:nvSpPr>
          <p:spPr>
            <a:xfrm flipH="1">
              <a:off x="4170647" y="570862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4" name="椭圆 463"/>
            <p:cNvSpPr>
              <a:spLocks noChangeAspect="1"/>
            </p:cNvSpPr>
            <p:nvPr/>
          </p:nvSpPr>
          <p:spPr>
            <a:xfrm flipH="1">
              <a:off x="4030505" y="5580596"/>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5" name="椭圆 464"/>
            <p:cNvSpPr>
              <a:spLocks noChangeAspect="1"/>
            </p:cNvSpPr>
            <p:nvPr/>
          </p:nvSpPr>
          <p:spPr>
            <a:xfrm flipH="1">
              <a:off x="3899967" y="544279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6" name="椭圆 465"/>
            <p:cNvSpPr>
              <a:spLocks noChangeAspect="1"/>
            </p:cNvSpPr>
            <p:nvPr/>
          </p:nvSpPr>
          <p:spPr>
            <a:xfrm flipH="1">
              <a:off x="3779712" y="529592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7" name="椭圆 466"/>
            <p:cNvSpPr>
              <a:spLocks noChangeAspect="1"/>
            </p:cNvSpPr>
            <p:nvPr/>
          </p:nvSpPr>
          <p:spPr>
            <a:xfrm flipH="1">
              <a:off x="3670369" y="5140758"/>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8" name="椭圆 467"/>
            <p:cNvSpPr>
              <a:spLocks noChangeAspect="1"/>
            </p:cNvSpPr>
            <p:nvPr/>
          </p:nvSpPr>
          <p:spPr>
            <a:xfrm flipH="1">
              <a:off x="3572507" y="4978110"/>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69" name="椭圆 468"/>
            <p:cNvSpPr>
              <a:spLocks noChangeAspect="1"/>
            </p:cNvSpPr>
            <p:nvPr/>
          </p:nvSpPr>
          <p:spPr>
            <a:xfrm flipH="1">
              <a:off x="3486636" y="480882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70" name="椭圆 469"/>
            <p:cNvSpPr>
              <a:spLocks noChangeAspect="1"/>
            </p:cNvSpPr>
            <p:nvPr/>
          </p:nvSpPr>
          <p:spPr>
            <a:xfrm flipH="1">
              <a:off x="3413204" y="463378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71" name="椭圆 470"/>
            <p:cNvSpPr>
              <a:spLocks noChangeAspect="1"/>
            </p:cNvSpPr>
            <p:nvPr/>
          </p:nvSpPr>
          <p:spPr>
            <a:xfrm flipH="1">
              <a:off x="3352595" y="445390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72" name="椭圆 471"/>
            <p:cNvSpPr>
              <a:spLocks noChangeAspect="1"/>
            </p:cNvSpPr>
            <p:nvPr/>
          </p:nvSpPr>
          <p:spPr>
            <a:xfrm flipH="1">
              <a:off x="3305123" y="4270115"/>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73" name="椭圆 472"/>
            <p:cNvSpPr>
              <a:spLocks noChangeAspect="1"/>
            </p:cNvSpPr>
            <p:nvPr/>
          </p:nvSpPr>
          <p:spPr>
            <a:xfrm flipH="1">
              <a:off x="3271037" y="4083381"/>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sp>
          <p:nvSpPr>
            <p:cNvPr id="474" name="椭圆 473"/>
            <p:cNvSpPr>
              <a:spLocks noChangeAspect="1"/>
            </p:cNvSpPr>
            <p:nvPr/>
          </p:nvSpPr>
          <p:spPr>
            <a:xfrm flipH="1">
              <a:off x="3250514" y="3894674"/>
              <a:ext cx="72000" cy="72000"/>
            </a:xfrm>
            <a:prstGeom prst="ellipse">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white"/>
                </a:solidFill>
                <a:effectLst/>
                <a:uLnTx/>
                <a:uFillTx/>
                <a:cs typeface="+mn-ea"/>
                <a:sym typeface="+mn-lt"/>
              </a:endParaRPr>
            </a:p>
          </p:txBody>
        </p:sp>
      </p:grpSp>
      <p:grpSp>
        <p:nvGrpSpPr>
          <p:cNvPr id="475" name="组合 474"/>
          <p:cNvGrpSpPr/>
          <p:nvPr/>
        </p:nvGrpSpPr>
        <p:grpSpPr>
          <a:xfrm>
            <a:off x="2123886" y="-364171"/>
            <a:ext cx="7944229" cy="7630084"/>
            <a:chOff x="2198672" y="-186650"/>
            <a:chExt cx="7236116" cy="7236116"/>
          </a:xfrm>
        </p:grpSpPr>
        <p:cxnSp>
          <p:nvCxnSpPr>
            <p:cNvPr id="476" name="曲线连接符 861"/>
            <p:cNvCxnSpPr/>
            <p:nvPr/>
          </p:nvCxnSpPr>
          <p:spPr>
            <a:xfrm>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77" name="曲线连接符 862"/>
            <p:cNvCxnSpPr/>
            <p:nvPr/>
          </p:nvCxnSpPr>
          <p:spPr>
            <a:xfrm rot="16200000">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78" name="曲线连接符 863"/>
            <p:cNvCxnSpPr/>
            <p:nvPr/>
          </p:nvCxnSpPr>
          <p:spPr>
            <a:xfrm rot="17030769">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79" name="曲线连接符 864"/>
            <p:cNvCxnSpPr/>
            <p:nvPr/>
          </p:nvCxnSpPr>
          <p:spPr>
            <a:xfrm rot="17861538">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0" name="曲线连接符 865"/>
            <p:cNvCxnSpPr/>
            <p:nvPr/>
          </p:nvCxnSpPr>
          <p:spPr>
            <a:xfrm rot="18692308">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1" name="曲线连接符 866"/>
            <p:cNvCxnSpPr/>
            <p:nvPr/>
          </p:nvCxnSpPr>
          <p:spPr>
            <a:xfrm rot="19523077">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2" name="曲线连接符 867"/>
            <p:cNvCxnSpPr/>
            <p:nvPr/>
          </p:nvCxnSpPr>
          <p:spPr>
            <a:xfrm rot="20353846">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3" name="曲线连接符 868"/>
            <p:cNvCxnSpPr/>
            <p:nvPr/>
          </p:nvCxnSpPr>
          <p:spPr>
            <a:xfrm rot="21184616">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4" name="曲线连接符 869"/>
            <p:cNvCxnSpPr/>
            <p:nvPr/>
          </p:nvCxnSpPr>
          <p:spPr>
            <a:xfrm rot="415385">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5" name="曲线连接符 870"/>
            <p:cNvCxnSpPr/>
            <p:nvPr/>
          </p:nvCxnSpPr>
          <p:spPr>
            <a:xfrm rot="1246154">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6" name="曲线连接符 871"/>
            <p:cNvCxnSpPr/>
            <p:nvPr/>
          </p:nvCxnSpPr>
          <p:spPr>
            <a:xfrm rot="2076923">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7" name="曲线连接符 872"/>
            <p:cNvCxnSpPr/>
            <p:nvPr/>
          </p:nvCxnSpPr>
          <p:spPr>
            <a:xfrm rot="2907693">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8" name="曲线连接符 873"/>
            <p:cNvCxnSpPr/>
            <p:nvPr/>
          </p:nvCxnSpPr>
          <p:spPr>
            <a:xfrm rot="3738462">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89" name="曲线连接符 874"/>
            <p:cNvCxnSpPr/>
            <p:nvPr/>
          </p:nvCxnSpPr>
          <p:spPr>
            <a:xfrm rot="4569231">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0" name="曲线连接符 875"/>
            <p:cNvCxnSpPr/>
            <p:nvPr/>
          </p:nvCxnSpPr>
          <p:spPr>
            <a:xfrm rot="5400000">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1" name="曲线连接符 876"/>
            <p:cNvCxnSpPr/>
            <p:nvPr/>
          </p:nvCxnSpPr>
          <p:spPr>
            <a:xfrm rot="6230770">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2" name="曲线连接符 877"/>
            <p:cNvCxnSpPr/>
            <p:nvPr/>
          </p:nvCxnSpPr>
          <p:spPr>
            <a:xfrm rot="7061538">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3" name="曲线连接符 878"/>
            <p:cNvCxnSpPr/>
            <p:nvPr/>
          </p:nvCxnSpPr>
          <p:spPr>
            <a:xfrm rot="7892308">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4" name="曲线连接符 879"/>
            <p:cNvCxnSpPr/>
            <p:nvPr/>
          </p:nvCxnSpPr>
          <p:spPr>
            <a:xfrm rot="8723078">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5" name="曲线连接符 880"/>
            <p:cNvCxnSpPr/>
            <p:nvPr/>
          </p:nvCxnSpPr>
          <p:spPr>
            <a:xfrm rot="9553846">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6" name="曲线连接符 881"/>
            <p:cNvCxnSpPr/>
            <p:nvPr/>
          </p:nvCxnSpPr>
          <p:spPr>
            <a:xfrm rot="10384616">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7" name="曲线连接符 882"/>
            <p:cNvCxnSpPr/>
            <p:nvPr/>
          </p:nvCxnSpPr>
          <p:spPr>
            <a:xfrm rot="11215386">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8" name="曲线连接符 883"/>
            <p:cNvCxnSpPr/>
            <p:nvPr/>
          </p:nvCxnSpPr>
          <p:spPr>
            <a:xfrm rot="12046154">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499" name="曲线连接符 884"/>
            <p:cNvCxnSpPr/>
            <p:nvPr/>
          </p:nvCxnSpPr>
          <p:spPr>
            <a:xfrm rot="12876923">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500" name="曲线连接符 885"/>
            <p:cNvCxnSpPr/>
            <p:nvPr/>
          </p:nvCxnSpPr>
          <p:spPr>
            <a:xfrm rot="13707693">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501" name="曲线连接符 886"/>
            <p:cNvCxnSpPr/>
            <p:nvPr/>
          </p:nvCxnSpPr>
          <p:spPr>
            <a:xfrm rot="14538463">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cxnSp>
          <p:nvCxnSpPr>
            <p:cNvPr id="502" name="曲线连接符 887"/>
            <p:cNvCxnSpPr/>
            <p:nvPr/>
          </p:nvCxnSpPr>
          <p:spPr>
            <a:xfrm rot="15369232">
              <a:off x="2198672" y="1932759"/>
              <a:ext cx="7236116" cy="2997297"/>
            </a:xfrm>
            <a:prstGeom prst="curvedConnector3">
              <a:avLst>
                <a:gd name="adj1" fmla="val 50000"/>
              </a:avLst>
            </a:prstGeom>
            <a:noFill/>
            <a:ln w="3175" cap="flat" cmpd="sng" algn="ctr">
              <a:gradFill flip="none" rotWithShape="1">
                <a:gsLst>
                  <a:gs pos="0">
                    <a:srgbClr val="4AEFF2">
                      <a:alpha val="0"/>
                    </a:srgbClr>
                  </a:gs>
                  <a:gs pos="21000">
                    <a:srgbClr val="316A7B">
                      <a:alpha val="39000"/>
                    </a:srgbClr>
                  </a:gs>
                  <a:gs pos="43000">
                    <a:srgbClr val="316A7B">
                      <a:alpha val="4000"/>
                    </a:srgbClr>
                  </a:gs>
                  <a:gs pos="98101">
                    <a:srgbClr val="4AEFF2">
                      <a:alpha val="0"/>
                    </a:srgbClr>
                  </a:gs>
                  <a:gs pos="65000">
                    <a:srgbClr val="00C3C8">
                      <a:alpha val="9000"/>
                    </a:srgbClr>
                  </a:gs>
                </a:gsLst>
                <a:path path="circle">
                  <a:fillToRect l="50000" t="50000" r="50000" b="50000"/>
                </a:path>
                <a:tileRect/>
              </a:gradFill>
              <a:prstDash val="solid"/>
              <a:miter lim="800000"/>
            </a:ln>
            <a:effectLst/>
          </p:spPr>
        </p:cxnSp>
      </p:grpSp>
      <p:grpSp>
        <p:nvGrpSpPr>
          <p:cNvPr id="503" name="组合 502"/>
          <p:cNvGrpSpPr/>
          <p:nvPr/>
        </p:nvGrpSpPr>
        <p:grpSpPr>
          <a:xfrm>
            <a:off x="2424102" y="2913593"/>
            <a:ext cx="532826" cy="532826"/>
            <a:chOff x="722159" y="2967127"/>
            <a:chExt cx="676096" cy="676096"/>
          </a:xfrm>
        </p:grpSpPr>
        <p:sp>
          <p:nvSpPr>
            <p:cNvPr id="504" name="椭圆 503"/>
            <p:cNvSpPr/>
            <p:nvPr/>
          </p:nvSpPr>
          <p:spPr>
            <a:xfrm>
              <a:off x="945654" y="3190622"/>
              <a:ext cx="229107" cy="229107"/>
            </a:xfrm>
            <a:prstGeom prst="ellipse">
              <a:avLst/>
            </a:prstGeom>
            <a:solidFill>
              <a:srgbClr val="60FCFF">
                <a:alpha val="67000"/>
              </a:srgbClr>
            </a:solidFill>
            <a:ln>
              <a:solidFill>
                <a:srgbClr val="00324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505" name="椭圆 504"/>
            <p:cNvSpPr/>
            <p:nvPr/>
          </p:nvSpPr>
          <p:spPr>
            <a:xfrm>
              <a:off x="722159" y="2967127"/>
              <a:ext cx="676096" cy="676096"/>
            </a:xfrm>
            <a:prstGeom prst="ellipse">
              <a:avLst/>
            </a:prstGeom>
            <a:noFill/>
            <a:ln>
              <a:solidFill>
                <a:srgbClr val="00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grpSp>
        <p:nvGrpSpPr>
          <p:cNvPr id="506" name="组合 505"/>
          <p:cNvGrpSpPr/>
          <p:nvPr/>
        </p:nvGrpSpPr>
        <p:grpSpPr>
          <a:xfrm>
            <a:off x="415264" y="1277645"/>
            <a:ext cx="10975280" cy="6078976"/>
            <a:chOff x="14294389" y="-4155160"/>
            <a:chExt cx="9079620" cy="5029011"/>
          </a:xfrm>
        </p:grpSpPr>
        <p:pic>
          <p:nvPicPr>
            <p:cNvPr id="507" name="图片 506"/>
            <p:cNvPicPr>
              <a:picLocks noChangeAspect="1"/>
            </p:cNvPicPr>
            <p:nvPr/>
          </p:nvPicPr>
          <p:blipFill>
            <a:blip r:embed="rId2"/>
            <a:stretch>
              <a:fillRect/>
            </a:stretch>
          </p:blipFill>
          <p:spPr>
            <a:xfrm>
              <a:off x="14313924" y="-4155160"/>
              <a:ext cx="9060085" cy="4978813"/>
            </a:xfrm>
            <a:prstGeom prst="rect">
              <a:avLst/>
            </a:prstGeom>
          </p:spPr>
        </p:pic>
        <p:pic>
          <p:nvPicPr>
            <p:cNvPr id="508" name="图片 507"/>
            <p:cNvPicPr>
              <a:picLocks noChangeAspect="1"/>
            </p:cNvPicPr>
            <p:nvPr/>
          </p:nvPicPr>
          <p:blipFill>
            <a:blip r:embed="rId3"/>
            <a:stretch>
              <a:fillRect/>
            </a:stretch>
          </p:blipFill>
          <p:spPr>
            <a:xfrm>
              <a:off x="14294389" y="-4109196"/>
              <a:ext cx="9057518" cy="4983047"/>
            </a:xfrm>
            <a:prstGeom prst="rect">
              <a:avLst/>
            </a:prstGeom>
          </p:spPr>
        </p:pic>
      </p:grpSp>
      <p:sp>
        <p:nvSpPr>
          <p:cNvPr id="509" name="PROJECT NAME STARTS"/>
          <p:cNvSpPr txBox="1"/>
          <p:nvPr/>
        </p:nvSpPr>
        <p:spPr>
          <a:xfrm>
            <a:off x="4994487" y="5130254"/>
            <a:ext cx="2236510" cy="707886"/>
          </a:xfrm>
          <a:prstGeom prst="rect">
            <a:avLst/>
          </a:prstGeom>
          <a:noFill/>
        </p:spPr>
        <p:txBody>
          <a:bodyPr wrap="none" rtlCol="0">
            <a:spAutoFit/>
            <a:scene3d>
              <a:camera prst="orthographicFront"/>
              <a:lightRig rig="threePt" dir="t"/>
            </a:scene3d>
          </a:bodyPr>
          <a:lstStyle>
            <a:defPPr>
              <a:defRPr lang="zh-CN"/>
            </a:defPPr>
            <a:lvl1pPr algn="ctr" defTabSz="910590">
              <a:defRPr sz="4875" b="1">
                <a:gradFill flip="none" rotWithShape="1">
                  <a:gsLst>
                    <a:gs pos="0">
                      <a:srgbClr val="62FFFF"/>
                    </a:gs>
                    <a:gs pos="100000">
                      <a:srgbClr val="0D69FF"/>
                    </a:gs>
                  </a:gsLst>
                  <a:lin ang="2700000" scaled="1"/>
                  <a:tileRect/>
                </a:gra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defRPr>
            </a:lvl1pPr>
            <a:lvl2pPr marL="0" marR="0" indent="0" algn="ctr" defTabSz="584200" eaLnBrk="1" latinLnBrk="0" hangingPunct="1">
              <a:lnSpc>
                <a:spcPct val="100000"/>
              </a:lnSpc>
              <a:spcBef>
                <a:spcPts val="0"/>
              </a:spcBef>
              <a:spcAft>
                <a:spcPts val="0"/>
              </a:spcAft>
              <a:buClrTx/>
              <a:buSzTx/>
              <a:buFontTx/>
              <a:buNone/>
              <a:defRPr sz="3600" b="0" i="0" u="none" strike="noStrike" cap="none" spc="0" baseline="0">
                <a:ln>
                  <a:noFill/>
                </a:ln>
                <a:solidFill>
                  <a:srgbClr val="000000"/>
                </a:solidFill>
                <a:uFillTx/>
                <a:latin typeface="Gill Sans"/>
                <a:ea typeface="Gill Sans"/>
                <a:cs typeface="Gill Sans"/>
                <a:sym typeface="Gill Sans"/>
              </a:defRPr>
            </a:lvl2pPr>
            <a:lvl3pPr marL="0" marR="0" indent="0" algn="ctr" defTabSz="584200" eaLnBrk="1" latinLnBrk="0" hangingPunct="1">
              <a:lnSpc>
                <a:spcPct val="100000"/>
              </a:lnSpc>
              <a:spcBef>
                <a:spcPts val="0"/>
              </a:spcBef>
              <a:spcAft>
                <a:spcPts val="0"/>
              </a:spcAft>
              <a:buClrTx/>
              <a:buSzTx/>
              <a:buFontTx/>
              <a:buNone/>
              <a:defRPr sz="3600" b="0" i="0" u="none" strike="noStrike" cap="none" spc="0" baseline="0">
                <a:ln>
                  <a:noFill/>
                </a:ln>
                <a:solidFill>
                  <a:srgbClr val="000000"/>
                </a:solidFill>
                <a:uFillTx/>
                <a:latin typeface="Gill Sans"/>
                <a:ea typeface="Gill Sans"/>
                <a:cs typeface="Gill Sans"/>
                <a:sym typeface="Gill Sans"/>
              </a:defRPr>
            </a:lvl3pPr>
            <a:lvl4pPr marL="0" marR="0" indent="0" algn="ctr" defTabSz="584200" eaLnBrk="1" latinLnBrk="0" hangingPunct="1">
              <a:lnSpc>
                <a:spcPct val="100000"/>
              </a:lnSpc>
              <a:spcBef>
                <a:spcPts val="0"/>
              </a:spcBef>
              <a:spcAft>
                <a:spcPts val="0"/>
              </a:spcAft>
              <a:buClrTx/>
              <a:buSzTx/>
              <a:buFontTx/>
              <a:buNone/>
              <a:defRPr sz="3600" b="0" i="0" u="none" strike="noStrike" cap="none" spc="0" baseline="0">
                <a:ln>
                  <a:noFill/>
                </a:ln>
                <a:solidFill>
                  <a:srgbClr val="000000"/>
                </a:solidFill>
                <a:uFillTx/>
                <a:latin typeface="Gill Sans"/>
                <a:ea typeface="Gill Sans"/>
                <a:cs typeface="Gill Sans"/>
                <a:sym typeface="Gill Sans"/>
              </a:defRPr>
            </a:lvl4pPr>
            <a:lvl5pPr marL="0" marR="0" indent="0" algn="ctr" defTabSz="584200" eaLnBrk="1" latinLnBrk="0" hangingPunct="1">
              <a:lnSpc>
                <a:spcPct val="100000"/>
              </a:lnSpc>
              <a:spcBef>
                <a:spcPts val="0"/>
              </a:spcBef>
              <a:spcAft>
                <a:spcPts val="0"/>
              </a:spcAft>
              <a:buClrTx/>
              <a:buSzTx/>
              <a:buFontTx/>
              <a:buNone/>
              <a:defRPr sz="3600" b="0" i="0" u="none" strike="noStrike" cap="none" spc="0" baseline="0">
                <a:ln>
                  <a:noFill/>
                </a:ln>
                <a:solidFill>
                  <a:srgbClr val="000000"/>
                </a:solidFill>
                <a:uFillTx/>
                <a:latin typeface="Gill Sans"/>
                <a:ea typeface="Gill Sans"/>
                <a:cs typeface="Gill Sans"/>
                <a:sym typeface="Gill Sans"/>
              </a:defRPr>
            </a:lvl5pPr>
            <a:lvl6pPr marL="0" marR="0" indent="355600" algn="ctr" defTabSz="584200" eaLnBrk="1" latinLnBrk="0" hangingPunct="1">
              <a:lnSpc>
                <a:spcPct val="100000"/>
              </a:lnSpc>
              <a:spcBef>
                <a:spcPts val="0"/>
              </a:spcBef>
              <a:spcAft>
                <a:spcPts val="0"/>
              </a:spcAft>
              <a:buClrTx/>
              <a:buSzTx/>
              <a:buFontTx/>
              <a:buNone/>
              <a:defRPr sz="3600" b="0" i="0" u="none" strike="noStrike" cap="none" spc="0" baseline="0">
                <a:ln>
                  <a:noFill/>
                </a:ln>
                <a:solidFill>
                  <a:srgbClr val="000000"/>
                </a:solidFill>
                <a:uFillTx/>
                <a:latin typeface="Gill Sans"/>
                <a:ea typeface="Gill Sans"/>
                <a:cs typeface="Gill Sans"/>
                <a:sym typeface="Gill Sans"/>
              </a:defRPr>
            </a:lvl6pPr>
            <a:lvl7pPr marL="0" marR="0" indent="711200" algn="ctr" defTabSz="584200" eaLnBrk="1" latinLnBrk="0" hangingPunct="1">
              <a:lnSpc>
                <a:spcPct val="100000"/>
              </a:lnSpc>
              <a:spcBef>
                <a:spcPts val="0"/>
              </a:spcBef>
              <a:spcAft>
                <a:spcPts val="0"/>
              </a:spcAft>
              <a:buClrTx/>
              <a:buSzTx/>
              <a:buFontTx/>
              <a:buNone/>
              <a:defRPr sz="3600" b="0" i="0" u="none" strike="noStrike" cap="none" spc="0" baseline="0">
                <a:ln>
                  <a:noFill/>
                </a:ln>
                <a:solidFill>
                  <a:srgbClr val="000000"/>
                </a:solidFill>
                <a:uFillTx/>
                <a:latin typeface="Gill Sans"/>
                <a:ea typeface="Gill Sans"/>
                <a:cs typeface="Gill Sans"/>
                <a:sym typeface="Gill Sans"/>
              </a:defRPr>
            </a:lvl7pPr>
            <a:lvl8pPr marL="0" marR="0" indent="1066800" algn="ctr" defTabSz="584200" eaLnBrk="1" latinLnBrk="0" hangingPunct="1">
              <a:lnSpc>
                <a:spcPct val="100000"/>
              </a:lnSpc>
              <a:spcBef>
                <a:spcPts val="0"/>
              </a:spcBef>
              <a:spcAft>
                <a:spcPts val="0"/>
              </a:spcAft>
              <a:buClrTx/>
              <a:buSzTx/>
              <a:buFontTx/>
              <a:buNone/>
              <a:defRPr sz="3600" b="0" i="0" u="none" strike="noStrike" cap="none" spc="0" baseline="0">
                <a:ln>
                  <a:noFill/>
                </a:ln>
                <a:solidFill>
                  <a:srgbClr val="000000"/>
                </a:solidFill>
                <a:uFillTx/>
                <a:latin typeface="Gill Sans"/>
                <a:ea typeface="Gill Sans"/>
                <a:cs typeface="Gill Sans"/>
                <a:sym typeface="Gill Sans"/>
              </a:defRPr>
            </a:lvl8pPr>
            <a:lvl9pPr marL="0" marR="0" indent="1422400" algn="ctr" defTabSz="584200" eaLnBrk="1" latinLnBrk="0" hangingPunct="1">
              <a:lnSpc>
                <a:spcPct val="100000"/>
              </a:lnSpc>
              <a:spcBef>
                <a:spcPts val="0"/>
              </a:spcBef>
              <a:spcAft>
                <a:spcPts val="0"/>
              </a:spcAft>
              <a:buClrTx/>
              <a:buSzTx/>
              <a:buFontTx/>
              <a:buNone/>
              <a:defRPr sz="3600" b="0" i="0" u="none" strike="noStrike" cap="none" spc="0" baseline="0">
                <a:ln>
                  <a:noFill/>
                </a:ln>
                <a:solidFill>
                  <a:srgbClr val="000000"/>
                </a:solidFill>
                <a:uFillTx/>
                <a:latin typeface="Gill Sans"/>
                <a:ea typeface="Gill Sans"/>
                <a:cs typeface="Gill Sans"/>
                <a:sym typeface="Gill Sans"/>
              </a:defRPr>
            </a:lvl9p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4000" b="1" i="0" u="none" strike="noStrike" kern="1200" cap="none" spc="0" normalizeH="0" baseline="0" noProof="0" dirty="0">
                <a:ln>
                  <a:noFill/>
                </a:ln>
                <a:gradFill>
                  <a:gsLst>
                    <a:gs pos="14000">
                      <a:srgbClr val="00B0F0"/>
                    </a:gs>
                    <a:gs pos="64000">
                      <a:srgbClr val="0BB0AD"/>
                    </a:gs>
                    <a:gs pos="42000">
                      <a:srgbClr val="13FFEC"/>
                    </a:gs>
                  </a:gsLst>
                  <a:lin ang="5400000" scaled="0"/>
                </a:gradFill>
                <a:effectLst>
                  <a:outerShdw blurRad="38100" dist="38100" dir="2700000" algn="tl">
                    <a:srgbClr val="000000">
                      <a:alpha val="43137"/>
                    </a:srgbClr>
                  </a:outerShdw>
                  <a:reflection blurRad="6350" stA="55000" endA="300" endPos="45500" dir="5400000" sy="-100000" algn="bl" rotWithShape="0"/>
                </a:effectLst>
                <a:uLnTx/>
                <a:uFillTx/>
                <a:latin typeface="+mn-lt"/>
                <a:ea typeface="+mn-ea"/>
                <a:cs typeface="+mn-ea"/>
                <a:sym typeface="+mn-lt"/>
              </a:rPr>
              <a:t>人工智能</a:t>
            </a:r>
          </a:p>
        </p:txBody>
      </p:sp>
      <p:grpSp>
        <p:nvGrpSpPr>
          <p:cNvPr id="510" name="组合 509"/>
          <p:cNvGrpSpPr/>
          <p:nvPr/>
        </p:nvGrpSpPr>
        <p:grpSpPr>
          <a:xfrm>
            <a:off x="8259500" y="5786544"/>
            <a:ext cx="459109" cy="459109"/>
            <a:chOff x="722159" y="2967127"/>
            <a:chExt cx="676096" cy="676096"/>
          </a:xfrm>
        </p:grpSpPr>
        <p:sp>
          <p:nvSpPr>
            <p:cNvPr id="511" name="椭圆 510"/>
            <p:cNvSpPr/>
            <p:nvPr/>
          </p:nvSpPr>
          <p:spPr>
            <a:xfrm>
              <a:off x="945654" y="3190622"/>
              <a:ext cx="229107" cy="229107"/>
            </a:xfrm>
            <a:prstGeom prst="ellipse">
              <a:avLst/>
            </a:prstGeom>
            <a:solidFill>
              <a:srgbClr val="60FCFF">
                <a:alpha val="67000"/>
              </a:srgbClr>
            </a:solidFill>
            <a:ln>
              <a:solidFill>
                <a:srgbClr val="00324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sp>
          <p:nvSpPr>
            <p:cNvPr id="512" name="椭圆 511"/>
            <p:cNvSpPr/>
            <p:nvPr/>
          </p:nvSpPr>
          <p:spPr>
            <a:xfrm>
              <a:off x="722159" y="2967127"/>
              <a:ext cx="676096" cy="676096"/>
            </a:xfrm>
            <a:prstGeom prst="ellipse">
              <a:avLst/>
            </a:prstGeom>
            <a:noFill/>
            <a:ln>
              <a:solidFill>
                <a:srgbClr val="00324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grpSp>
        <p:nvGrpSpPr>
          <p:cNvPr id="513" name="组合 512"/>
          <p:cNvGrpSpPr/>
          <p:nvPr/>
        </p:nvGrpSpPr>
        <p:grpSpPr>
          <a:xfrm>
            <a:off x="2925053" y="3658683"/>
            <a:ext cx="1107996" cy="1225134"/>
            <a:chOff x="2260557" y="3837586"/>
            <a:chExt cx="1107996" cy="1225134"/>
          </a:xfrm>
        </p:grpSpPr>
        <p:sp>
          <p:nvSpPr>
            <p:cNvPr id="514" name="矩形 513"/>
            <p:cNvSpPr/>
            <p:nvPr/>
          </p:nvSpPr>
          <p:spPr>
            <a:xfrm>
              <a:off x="2260557" y="4693388"/>
              <a:ext cx="1107996" cy="369332"/>
            </a:xfrm>
            <a:prstGeom prst="rect">
              <a:avLst/>
            </a:prstGeom>
            <a:noFill/>
          </p:spPr>
          <p:txBody>
            <a:bodyPr wrap="non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84FFFF"/>
                  </a:solidFill>
                  <a:effectLst>
                    <a:reflection blurRad="6350" stA="55000" endA="300" endPos="45500" dir="5400000" sy="-100000" algn="bl" rotWithShape="0"/>
                  </a:effectLst>
                  <a:uLnTx/>
                  <a:uFillTx/>
                  <a:cs typeface="+mn-ea"/>
                  <a:sym typeface="+mn-lt"/>
                </a:rPr>
                <a:t>人脸识别</a:t>
              </a:r>
            </a:p>
          </p:txBody>
        </p:sp>
        <p:grpSp>
          <p:nvGrpSpPr>
            <p:cNvPr id="515" name="组合 514"/>
            <p:cNvGrpSpPr/>
            <p:nvPr/>
          </p:nvGrpSpPr>
          <p:grpSpPr>
            <a:xfrm>
              <a:off x="2415688" y="3837586"/>
              <a:ext cx="848719" cy="848720"/>
              <a:chOff x="251373" y="5567702"/>
              <a:chExt cx="848719" cy="848720"/>
            </a:xfrm>
          </p:grpSpPr>
          <p:grpSp>
            <p:nvGrpSpPr>
              <p:cNvPr id="516" name="组合 515"/>
              <p:cNvGrpSpPr/>
              <p:nvPr/>
            </p:nvGrpSpPr>
            <p:grpSpPr>
              <a:xfrm>
                <a:off x="251373" y="5567702"/>
                <a:ext cx="848719" cy="848720"/>
                <a:chOff x="251373" y="5567702"/>
                <a:chExt cx="848719" cy="848720"/>
              </a:xfrm>
            </p:grpSpPr>
            <p:sp>
              <p:nvSpPr>
                <p:cNvPr id="518" name="MH_SubTitle_3"/>
                <p:cNvSpPr>
                  <a:spLocks noChangeArrowheads="1"/>
                </p:cNvSpPr>
                <p:nvPr/>
              </p:nvSpPr>
              <p:spPr bwMode="auto">
                <a:xfrm>
                  <a:off x="251373" y="5567702"/>
                  <a:ext cx="848719" cy="848720"/>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sp>
              <p:nvSpPr>
                <p:cNvPr id="519" name="椭圆 518"/>
                <p:cNvSpPr/>
                <p:nvPr/>
              </p:nvSpPr>
              <p:spPr>
                <a:xfrm>
                  <a:off x="291852" y="5614845"/>
                  <a:ext cx="754435" cy="754435"/>
                </a:xfrm>
                <a:prstGeom prst="ellipse">
                  <a:avLst/>
                </a:prstGeom>
                <a:solidFill>
                  <a:srgbClr val="00C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pic>
            <p:nvPicPr>
              <p:cNvPr id="517" name="图片 516"/>
              <p:cNvPicPr>
                <a:picLocks noChangeAspect="1"/>
              </p:cNvPicPr>
              <p:nvPr/>
            </p:nvPicPr>
            <p:blipFill rotWithShape="1">
              <a:blip r:embed="rId4" cstate="screen"/>
              <a:srcRect/>
              <a:stretch>
                <a:fillRect/>
              </a:stretch>
            </p:blipFill>
            <p:spPr>
              <a:xfrm>
                <a:off x="410611" y="5760553"/>
                <a:ext cx="500798" cy="448944"/>
              </a:xfrm>
              <a:prstGeom prst="rect">
                <a:avLst/>
              </a:prstGeom>
            </p:spPr>
          </p:pic>
        </p:grpSp>
      </p:grpSp>
      <p:grpSp>
        <p:nvGrpSpPr>
          <p:cNvPr id="520" name="组合 519"/>
          <p:cNvGrpSpPr/>
          <p:nvPr/>
        </p:nvGrpSpPr>
        <p:grpSpPr>
          <a:xfrm>
            <a:off x="3284777" y="1809155"/>
            <a:ext cx="1232166" cy="1220475"/>
            <a:chOff x="-124358" y="4096836"/>
            <a:chExt cx="1232166" cy="1220475"/>
          </a:xfrm>
        </p:grpSpPr>
        <p:grpSp>
          <p:nvGrpSpPr>
            <p:cNvPr id="521" name="组合 520"/>
            <p:cNvGrpSpPr/>
            <p:nvPr/>
          </p:nvGrpSpPr>
          <p:grpSpPr>
            <a:xfrm>
              <a:off x="39701" y="4096836"/>
              <a:ext cx="848719" cy="848720"/>
              <a:chOff x="251373" y="5567702"/>
              <a:chExt cx="848719" cy="848720"/>
            </a:xfrm>
          </p:grpSpPr>
          <p:sp>
            <p:nvSpPr>
              <p:cNvPr id="524" name="MH_SubTitle_3"/>
              <p:cNvSpPr>
                <a:spLocks noChangeArrowheads="1"/>
              </p:cNvSpPr>
              <p:nvPr/>
            </p:nvSpPr>
            <p:spPr bwMode="auto">
              <a:xfrm>
                <a:off x="251373" y="5567702"/>
                <a:ext cx="848719" cy="848720"/>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sp>
            <p:nvSpPr>
              <p:cNvPr id="525" name="椭圆 524"/>
              <p:cNvSpPr/>
              <p:nvPr/>
            </p:nvSpPr>
            <p:spPr>
              <a:xfrm>
                <a:off x="291852" y="5614845"/>
                <a:ext cx="754435" cy="754435"/>
              </a:xfrm>
              <a:prstGeom prst="ellipse">
                <a:avLst/>
              </a:prstGeom>
              <a:solidFill>
                <a:srgbClr val="00C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pic>
          <p:nvPicPr>
            <p:cNvPr id="522" name="图片 521"/>
            <p:cNvPicPr>
              <a:picLocks noChangeAspect="1"/>
            </p:cNvPicPr>
            <p:nvPr/>
          </p:nvPicPr>
          <p:blipFill rotWithShape="1">
            <a:blip r:embed="rId5" cstate="screen"/>
            <a:srcRect/>
            <a:stretch>
              <a:fillRect/>
            </a:stretch>
          </p:blipFill>
          <p:spPr>
            <a:xfrm>
              <a:off x="198340" y="4255230"/>
              <a:ext cx="505104" cy="508174"/>
            </a:xfrm>
            <a:prstGeom prst="rect">
              <a:avLst/>
            </a:prstGeom>
          </p:spPr>
        </p:pic>
        <p:sp>
          <p:nvSpPr>
            <p:cNvPr id="523" name="矩形 522"/>
            <p:cNvSpPr/>
            <p:nvPr/>
          </p:nvSpPr>
          <p:spPr>
            <a:xfrm>
              <a:off x="-124358" y="4947979"/>
              <a:ext cx="1232166" cy="369332"/>
            </a:xfrm>
            <a:prstGeom prst="rect">
              <a:avLst/>
            </a:prstGeom>
            <a:noFill/>
          </p:spPr>
          <p:txBody>
            <a:bodyPr wrap="squar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84FFFF"/>
                  </a:solidFill>
                  <a:effectLst>
                    <a:reflection blurRad="6350" stA="55000" endA="300" endPos="45500" dir="5400000" sy="-100000" algn="bl" rotWithShape="0"/>
                  </a:effectLst>
                  <a:uLnTx/>
                  <a:uFillTx/>
                  <a:cs typeface="+mn-ea"/>
                  <a:sym typeface="+mn-lt"/>
                </a:rPr>
                <a:t>图像搜索</a:t>
              </a:r>
            </a:p>
          </p:txBody>
        </p:sp>
      </p:grpSp>
      <p:grpSp>
        <p:nvGrpSpPr>
          <p:cNvPr id="526" name="组合 525"/>
          <p:cNvGrpSpPr/>
          <p:nvPr/>
        </p:nvGrpSpPr>
        <p:grpSpPr>
          <a:xfrm>
            <a:off x="6364071" y="449852"/>
            <a:ext cx="1569660" cy="1153714"/>
            <a:chOff x="-1665841" y="3036009"/>
            <a:chExt cx="1569660" cy="1153714"/>
          </a:xfrm>
        </p:grpSpPr>
        <p:grpSp>
          <p:nvGrpSpPr>
            <p:cNvPr id="527" name="组合 526"/>
            <p:cNvGrpSpPr/>
            <p:nvPr/>
          </p:nvGrpSpPr>
          <p:grpSpPr>
            <a:xfrm>
              <a:off x="-1332865" y="3036009"/>
              <a:ext cx="848719" cy="848720"/>
              <a:chOff x="-1154744" y="703065"/>
              <a:chExt cx="848719" cy="848720"/>
            </a:xfrm>
          </p:grpSpPr>
          <p:grpSp>
            <p:nvGrpSpPr>
              <p:cNvPr id="529" name="组合 528"/>
              <p:cNvGrpSpPr/>
              <p:nvPr/>
            </p:nvGrpSpPr>
            <p:grpSpPr>
              <a:xfrm>
                <a:off x="-1154744" y="703065"/>
                <a:ext cx="848719" cy="848720"/>
                <a:chOff x="251373" y="5567702"/>
                <a:chExt cx="848719" cy="848720"/>
              </a:xfrm>
            </p:grpSpPr>
            <p:sp>
              <p:nvSpPr>
                <p:cNvPr id="531" name="MH_SubTitle_3"/>
                <p:cNvSpPr>
                  <a:spLocks noChangeArrowheads="1"/>
                </p:cNvSpPr>
                <p:nvPr/>
              </p:nvSpPr>
              <p:spPr bwMode="auto">
                <a:xfrm>
                  <a:off x="251373" y="5567702"/>
                  <a:ext cx="848719" cy="848720"/>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sp>
              <p:nvSpPr>
                <p:cNvPr id="532" name="椭圆 531"/>
                <p:cNvSpPr/>
                <p:nvPr/>
              </p:nvSpPr>
              <p:spPr>
                <a:xfrm>
                  <a:off x="291852" y="5614845"/>
                  <a:ext cx="754435" cy="754435"/>
                </a:xfrm>
                <a:prstGeom prst="ellipse">
                  <a:avLst/>
                </a:prstGeom>
                <a:solidFill>
                  <a:srgbClr val="00C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pic>
            <p:nvPicPr>
              <p:cNvPr id="530" name="图片 529"/>
              <p:cNvPicPr>
                <a:picLocks noChangeAspect="1"/>
              </p:cNvPicPr>
              <p:nvPr/>
            </p:nvPicPr>
            <p:blipFill rotWithShape="1">
              <a:blip r:embed="rId6" cstate="screen"/>
              <a:srcRect/>
              <a:stretch>
                <a:fillRect/>
              </a:stretch>
            </p:blipFill>
            <p:spPr>
              <a:xfrm>
                <a:off x="-997103" y="885491"/>
                <a:ext cx="513878" cy="497472"/>
              </a:xfrm>
              <a:prstGeom prst="rect">
                <a:avLst/>
              </a:prstGeom>
            </p:spPr>
          </p:pic>
        </p:grpSp>
        <p:sp>
          <p:nvSpPr>
            <p:cNvPr id="528" name="矩形 527"/>
            <p:cNvSpPr/>
            <p:nvPr/>
          </p:nvSpPr>
          <p:spPr>
            <a:xfrm>
              <a:off x="-1665841" y="3851169"/>
              <a:ext cx="1569660" cy="338554"/>
            </a:xfrm>
            <a:prstGeom prst="rect">
              <a:avLst/>
            </a:prstGeom>
            <a:noFill/>
          </p:spPr>
          <p:txBody>
            <a:bodyPr wrap="squar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84FFFF"/>
                  </a:solidFill>
                  <a:effectLst>
                    <a:reflection blurRad="6350" stA="55000" endA="300" endPos="45500" dir="5400000" sy="-100000" algn="bl" rotWithShape="0"/>
                  </a:effectLst>
                  <a:uLnTx/>
                  <a:uFillTx/>
                  <a:cs typeface="+mn-ea"/>
                  <a:sym typeface="+mn-lt"/>
                </a:rPr>
                <a:t>自然语言处理</a:t>
              </a:r>
            </a:p>
          </p:txBody>
        </p:sp>
      </p:grpSp>
      <p:grpSp>
        <p:nvGrpSpPr>
          <p:cNvPr id="533" name="组合 532"/>
          <p:cNvGrpSpPr/>
          <p:nvPr/>
        </p:nvGrpSpPr>
        <p:grpSpPr>
          <a:xfrm>
            <a:off x="7521293" y="1799866"/>
            <a:ext cx="1569660" cy="1233496"/>
            <a:chOff x="-3022864" y="2954448"/>
            <a:chExt cx="1569660" cy="1233496"/>
          </a:xfrm>
        </p:grpSpPr>
        <p:grpSp>
          <p:nvGrpSpPr>
            <p:cNvPr id="534" name="组合 533"/>
            <p:cNvGrpSpPr/>
            <p:nvPr/>
          </p:nvGrpSpPr>
          <p:grpSpPr>
            <a:xfrm>
              <a:off x="-2689120" y="2954448"/>
              <a:ext cx="848719" cy="848720"/>
              <a:chOff x="2604" y="1061331"/>
              <a:chExt cx="848719" cy="848720"/>
            </a:xfrm>
          </p:grpSpPr>
          <p:grpSp>
            <p:nvGrpSpPr>
              <p:cNvPr id="536" name="组合 535"/>
              <p:cNvGrpSpPr/>
              <p:nvPr/>
            </p:nvGrpSpPr>
            <p:grpSpPr>
              <a:xfrm>
                <a:off x="2604" y="1061331"/>
                <a:ext cx="848719" cy="848720"/>
                <a:chOff x="251373" y="5567702"/>
                <a:chExt cx="848719" cy="848720"/>
              </a:xfrm>
            </p:grpSpPr>
            <p:sp>
              <p:nvSpPr>
                <p:cNvPr id="538" name="MH_SubTitle_3"/>
                <p:cNvSpPr>
                  <a:spLocks noChangeArrowheads="1"/>
                </p:cNvSpPr>
                <p:nvPr/>
              </p:nvSpPr>
              <p:spPr bwMode="auto">
                <a:xfrm>
                  <a:off x="251373" y="5567702"/>
                  <a:ext cx="848719" cy="848720"/>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sp>
              <p:nvSpPr>
                <p:cNvPr id="539" name="椭圆 538"/>
                <p:cNvSpPr/>
                <p:nvPr/>
              </p:nvSpPr>
              <p:spPr>
                <a:xfrm>
                  <a:off x="291852" y="5614845"/>
                  <a:ext cx="754435" cy="754435"/>
                </a:xfrm>
                <a:prstGeom prst="ellipse">
                  <a:avLst/>
                </a:prstGeom>
                <a:solidFill>
                  <a:srgbClr val="00C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pic>
            <p:nvPicPr>
              <p:cNvPr id="537" name="图片 536"/>
              <p:cNvPicPr>
                <a:picLocks noChangeAspect="1"/>
              </p:cNvPicPr>
              <p:nvPr/>
            </p:nvPicPr>
            <p:blipFill rotWithShape="1">
              <a:blip r:embed="rId7" cstate="screen"/>
              <a:srcRect/>
              <a:stretch>
                <a:fillRect/>
              </a:stretch>
            </p:blipFill>
            <p:spPr>
              <a:xfrm>
                <a:off x="158750" y="1252766"/>
                <a:ext cx="521506" cy="500378"/>
              </a:xfrm>
              <a:prstGeom prst="rect">
                <a:avLst/>
              </a:prstGeom>
            </p:spPr>
          </p:pic>
        </p:grpSp>
        <p:sp>
          <p:nvSpPr>
            <p:cNvPr id="535" name="矩形 534"/>
            <p:cNvSpPr/>
            <p:nvPr/>
          </p:nvSpPr>
          <p:spPr>
            <a:xfrm>
              <a:off x="-3022864" y="3818612"/>
              <a:ext cx="1569660" cy="369332"/>
            </a:xfrm>
            <a:prstGeom prst="rect">
              <a:avLst/>
            </a:prstGeom>
            <a:noFill/>
          </p:spPr>
          <p:txBody>
            <a:bodyPr wrap="squar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800" b="0" i="0" u="none" strike="noStrike" kern="1200" cap="none" spc="0" normalizeH="0" baseline="0" noProof="0" dirty="0">
                  <a:ln>
                    <a:noFill/>
                  </a:ln>
                  <a:solidFill>
                    <a:srgbClr val="84FFFF"/>
                  </a:solidFill>
                  <a:effectLst>
                    <a:reflection blurRad="6350" stA="55000" endA="300" endPos="45500" dir="5400000" sy="-100000" algn="bl" rotWithShape="0"/>
                  </a:effectLst>
                  <a:uLnTx/>
                  <a:uFillTx/>
                  <a:cs typeface="+mn-ea"/>
                  <a:sym typeface="+mn-lt"/>
                </a:rPr>
                <a:t>印刷文字识别</a:t>
              </a:r>
            </a:p>
          </p:txBody>
        </p:sp>
      </p:grpSp>
      <p:grpSp>
        <p:nvGrpSpPr>
          <p:cNvPr id="540" name="组合 539"/>
          <p:cNvGrpSpPr/>
          <p:nvPr/>
        </p:nvGrpSpPr>
        <p:grpSpPr>
          <a:xfrm>
            <a:off x="4423051" y="438689"/>
            <a:ext cx="1569660" cy="1163490"/>
            <a:chOff x="-3265298" y="1541622"/>
            <a:chExt cx="1569660" cy="1163490"/>
          </a:xfrm>
        </p:grpSpPr>
        <p:grpSp>
          <p:nvGrpSpPr>
            <p:cNvPr id="541" name="组合 540"/>
            <p:cNvGrpSpPr/>
            <p:nvPr/>
          </p:nvGrpSpPr>
          <p:grpSpPr>
            <a:xfrm>
              <a:off x="-2885046" y="1541622"/>
              <a:ext cx="848719" cy="848720"/>
              <a:chOff x="-1093983" y="1862909"/>
              <a:chExt cx="848719" cy="848720"/>
            </a:xfrm>
          </p:grpSpPr>
          <p:grpSp>
            <p:nvGrpSpPr>
              <p:cNvPr id="543" name="组合 542"/>
              <p:cNvGrpSpPr/>
              <p:nvPr/>
            </p:nvGrpSpPr>
            <p:grpSpPr>
              <a:xfrm>
                <a:off x="-1093983" y="1862909"/>
                <a:ext cx="848719" cy="848720"/>
                <a:chOff x="251373" y="5567702"/>
                <a:chExt cx="848719" cy="848720"/>
              </a:xfrm>
            </p:grpSpPr>
            <p:sp>
              <p:nvSpPr>
                <p:cNvPr id="545" name="MH_SubTitle_3"/>
                <p:cNvSpPr>
                  <a:spLocks noChangeArrowheads="1"/>
                </p:cNvSpPr>
                <p:nvPr/>
              </p:nvSpPr>
              <p:spPr bwMode="auto">
                <a:xfrm>
                  <a:off x="251373" y="5567702"/>
                  <a:ext cx="848719" cy="848720"/>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sp>
              <p:nvSpPr>
                <p:cNvPr id="546" name="椭圆 545"/>
                <p:cNvSpPr/>
                <p:nvPr/>
              </p:nvSpPr>
              <p:spPr>
                <a:xfrm>
                  <a:off x="291852" y="5614845"/>
                  <a:ext cx="754435" cy="754435"/>
                </a:xfrm>
                <a:prstGeom prst="ellipse">
                  <a:avLst/>
                </a:prstGeom>
                <a:solidFill>
                  <a:srgbClr val="00C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pic>
            <p:nvPicPr>
              <p:cNvPr id="544" name="图片 543"/>
              <p:cNvPicPr>
                <a:picLocks noChangeAspect="1"/>
              </p:cNvPicPr>
              <p:nvPr/>
            </p:nvPicPr>
            <p:blipFill rotWithShape="1">
              <a:blip r:embed="rId8" cstate="screen"/>
              <a:srcRect/>
              <a:stretch>
                <a:fillRect/>
              </a:stretch>
            </p:blipFill>
            <p:spPr>
              <a:xfrm>
                <a:off x="-952500" y="2055236"/>
                <a:ext cx="526190" cy="492355"/>
              </a:xfrm>
              <a:prstGeom prst="rect">
                <a:avLst/>
              </a:prstGeom>
            </p:spPr>
          </p:pic>
        </p:grpSp>
        <p:sp>
          <p:nvSpPr>
            <p:cNvPr id="542" name="矩形 541"/>
            <p:cNvSpPr/>
            <p:nvPr/>
          </p:nvSpPr>
          <p:spPr>
            <a:xfrm>
              <a:off x="-3265298" y="2366558"/>
              <a:ext cx="1569660" cy="338554"/>
            </a:xfrm>
            <a:prstGeom prst="rect">
              <a:avLst/>
            </a:prstGeom>
            <a:noFill/>
          </p:spPr>
          <p:txBody>
            <a:bodyPr wrap="squar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0" normalizeH="0" baseline="0" noProof="0" dirty="0">
                  <a:ln>
                    <a:noFill/>
                  </a:ln>
                  <a:solidFill>
                    <a:srgbClr val="84FFFF"/>
                  </a:solidFill>
                  <a:effectLst>
                    <a:reflection blurRad="6350" stA="55000" endA="300" endPos="45500" dir="5400000" sy="-100000" algn="bl" rotWithShape="0"/>
                  </a:effectLst>
                  <a:uLnTx/>
                  <a:uFillTx/>
                  <a:cs typeface="+mn-ea"/>
                  <a:sym typeface="+mn-lt"/>
                </a:rPr>
                <a:t>智能语音交互</a:t>
              </a:r>
            </a:p>
          </p:txBody>
        </p:sp>
      </p:grpSp>
      <p:grpSp>
        <p:nvGrpSpPr>
          <p:cNvPr id="547" name="组合 546"/>
          <p:cNvGrpSpPr/>
          <p:nvPr/>
        </p:nvGrpSpPr>
        <p:grpSpPr>
          <a:xfrm>
            <a:off x="7886022" y="3653837"/>
            <a:ext cx="1569660" cy="1235883"/>
            <a:chOff x="13217664" y="5444582"/>
            <a:chExt cx="1569660" cy="1235883"/>
          </a:xfrm>
        </p:grpSpPr>
        <p:grpSp>
          <p:nvGrpSpPr>
            <p:cNvPr id="548" name="组合 547"/>
            <p:cNvGrpSpPr/>
            <p:nvPr/>
          </p:nvGrpSpPr>
          <p:grpSpPr>
            <a:xfrm>
              <a:off x="13527591" y="5444582"/>
              <a:ext cx="848719" cy="848720"/>
              <a:chOff x="251373" y="5567702"/>
              <a:chExt cx="848719" cy="848720"/>
            </a:xfrm>
          </p:grpSpPr>
          <p:sp>
            <p:nvSpPr>
              <p:cNvPr id="551" name="MH_SubTitle_3"/>
              <p:cNvSpPr>
                <a:spLocks noChangeArrowheads="1"/>
              </p:cNvSpPr>
              <p:nvPr/>
            </p:nvSpPr>
            <p:spPr bwMode="auto">
              <a:xfrm>
                <a:off x="251373" y="5567702"/>
                <a:ext cx="848719" cy="848720"/>
              </a:xfrm>
              <a:prstGeom prst="ellipse">
                <a:avLst/>
              </a:prstGeom>
              <a:solidFill>
                <a:schemeClr val="bg1">
                  <a:lumMod val="95000"/>
                  <a:alpha val="0"/>
                </a:schemeClr>
              </a:solidFill>
              <a:ln w="19050" cap="flat" cmpd="sng" algn="ctr">
                <a:gradFill>
                  <a:gsLst>
                    <a:gs pos="77000">
                      <a:srgbClr val="6ED5FF">
                        <a:alpha val="10000"/>
                      </a:srgbClr>
                    </a:gs>
                    <a:gs pos="10000">
                      <a:srgbClr val="6ED5FF"/>
                    </a:gs>
                    <a:gs pos="0">
                      <a:srgbClr val="9BE2FF"/>
                    </a:gs>
                    <a:gs pos="25000">
                      <a:srgbClr val="6ED5FF">
                        <a:alpha val="10000"/>
                      </a:srgbClr>
                    </a:gs>
                    <a:gs pos="88000">
                      <a:srgbClr val="6ED5FF">
                        <a:alpha val="60000"/>
                      </a:srgbClr>
                    </a:gs>
                  </a:gsLst>
                  <a:lin ang="18900000" scaled="0"/>
                </a:gradFill>
                <a:prstDash val="solid"/>
                <a:miter lim="800000"/>
              </a:ln>
              <a:effectLst>
                <a:outerShdw blurRad="114300" dir="2100000" algn="tl" rotWithShape="0">
                  <a:srgbClr val="6ED5FF">
                    <a:alpha val="70000"/>
                  </a:srgbClr>
                </a:outerShdw>
              </a:effectLst>
            </p:spPr>
            <p:txBody>
              <a:bodyPr rtlCol="0" anchor="ctr"/>
              <a:lstStyle>
                <a:lvl1pPr>
                  <a:buFont typeface="Arial" panose="020B0604020202020204" pitchFamily="34" charset="0"/>
                  <a:defRPr>
                    <a:solidFill>
                      <a:schemeClr val="tx1"/>
                    </a:solidFill>
                    <a:latin typeface="Arial" panose="020B0604020202020204" pitchFamily="34" charset="0"/>
                    <a:ea typeface="宋体" panose="02010600030101010101" pitchFamily="2" charset="-122"/>
                  </a:defRPr>
                </a:lvl1pPr>
                <a:lvl2pPr marL="742950" indent="-285750">
                  <a:buFont typeface="Arial" panose="020B0604020202020204" pitchFamily="34" charset="0"/>
                  <a:defRPr>
                    <a:solidFill>
                      <a:schemeClr val="tx1"/>
                    </a:solidFill>
                    <a:latin typeface="Arial" panose="020B0604020202020204" pitchFamily="34" charset="0"/>
                    <a:ea typeface="宋体" panose="02010600030101010101" pitchFamily="2" charset="-122"/>
                  </a:defRPr>
                </a:lvl2pPr>
                <a:lvl3pPr marL="11430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3pPr>
                <a:lvl4pPr marL="16002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4pPr>
                <a:lvl5pPr marL="2057400" indent="-228600">
                  <a:buFont typeface="Arial" panose="020B0604020202020204" pitchFamily="34" charse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defRPr/>
                </a:pPr>
                <a:endParaRPr kumimoji="0" lang="zh-CN" altLang="en-US" sz="1600" b="0" i="0" u="none" strike="noStrike" kern="0" cap="none" spc="0" normalizeH="0" baseline="0" noProof="0" dirty="0">
                  <a:ln>
                    <a:noFill/>
                  </a:ln>
                  <a:solidFill>
                    <a:prstClr val="white"/>
                  </a:solidFill>
                  <a:effectLst/>
                  <a:uLnTx/>
                  <a:uFillTx/>
                  <a:latin typeface="+mn-lt"/>
                  <a:ea typeface="+mn-ea"/>
                  <a:cs typeface="+mn-ea"/>
                  <a:sym typeface="+mn-lt"/>
                </a:endParaRPr>
              </a:p>
            </p:txBody>
          </p:sp>
          <p:sp>
            <p:nvSpPr>
              <p:cNvPr id="552" name="椭圆 551"/>
              <p:cNvSpPr/>
              <p:nvPr/>
            </p:nvSpPr>
            <p:spPr>
              <a:xfrm>
                <a:off x="291852" y="5614845"/>
                <a:ext cx="754435" cy="754435"/>
              </a:xfrm>
              <a:prstGeom prst="ellipse">
                <a:avLst/>
              </a:prstGeom>
              <a:solidFill>
                <a:srgbClr val="00C1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cs typeface="+mn-ea"/>
                  <a:sym typeface="+mn-lt"/>
                </a:endParaRPr>
              </a:p>
            </p:txBody>
          </p:sp>
        </p:grpSp>
        <p:pic>
          <p:nvPicPr>
            <p:cNvPr id="549" name="图片 548"/>
            <p:cNvPicPr>
              <a:picLocks noChangeAspect="1"/>
            </p:cNvPicPr>
            <p:nvPr/>
          </p:nvPicPr>
          <p:blipFill rotWithShape="1">
            <a:blip r:embed="rId9" cstate="screen"/>
            <a:srcRect/>
            <a:stretch>
              <a:fillRect/>
            </a:stretch>
          </p:blipFill>
          <p:spPr>
            <a:xfrm>
              <a:off x="13684534" y="5597065"/>
              <a:ext cx="521506" cy="500378"/>
            </a:xfrm>
            <a:prstGeom prst="rect">
              <a:avLst/>
            </a:prstGeom>
          </p:spPr>
        </p:pic>
        <p:sp>
          <p:nvSpPr>
            <p:cNvPr id="550" name="矩形 549"/>
            <p:cNvSpPr/>
            <p:nvPr/>
          </p:nvSpPr>
          <p:spPr>
            <a:xfrm>
              <a:off x="13217664" y="6311133"/>
              <a:ext cx="1569660" cy="369332"/>
            </a:xfrm>
            <a:prstGeom prst="rect">
              <a:avLst/>
            </a:prstGeom>
            <a:noFill/>
          </p:spPr>
          <p:txBody>
            <a:bodyPr wrap="square" rtlCol="0">
              <a:spAutoFit/>
              <a:scene3d>
                <a:camera prst="orthographicFront"/>
                <a:lightRig rig="threePt" dir="t"/>
              </a:scene3d>
            </a:bodyPr>
            <a:lstStyle/>
            <a:p>
              <a:pPr marL="0" marR="0" lvl="0" indent="0" algn="ctr" defTabSz="910590" rtl="0" eaLnBrk="1" fontAlgn="auto" latinLnBrk="0" hangingPunct="1">
                <a:lnSpc>
                  <a:spcPct val="100000"/>
                </a:lnSpc>
                <a:spcBef>
                  <a:spcPts val="0"/>
                </a:spcBef>
                <a:spcAft>
                  <a:spcPts val="0"/>
                </a:spcAft>
                <a:buClrTx/>
                <a:buSzTx/>
                <a:buFontTx/>
                <a:buNone/>
                <a:defRPr/>
              </a:pPr>
              <a:r>
                <a:rPr kumimoji="0" lang="en-US" altLang="zh-CN" sz="1800" b="1" i="0" u="none" strike="noStrike" kern="1200" cap="none" spc="0" normalizeH="0" baseline="0" noProof="0" dirty="0">
                  <a:ln>
                    <a:noFill/>
                  </a:ln>
                  <a:solidFill>
                    <a:srgbClr val="84FFFF"/>
                  </a:solidFill>
                  <a:effectLst>
                    <a:reflection blurRad="6350" stA="55000" endA="300" endPos="45500" dir="5400000" sy="-100000" algn="bl" rotWithShape="0"/>
                  </a:effectLst>
                  <a:uLnTx/>
                  <a:uFillTx/>
                  <a:cs typeface="+mn-ea"/>
                  <a:sym typeface="+mn-lt"/>
                </a:rPr>
                <a:t>3D</a:t>
              </a:r>
              <a:r>
                <a:rPr kumimoji="0" lang="zh-CN" altLang="en-US" sz="1800" b="1" i="0" u="none" strike="noStrike" kern="1200" cap="none" spc="0" normalizeH="0" baseline="0" noProof="0" dirty="0">
                  <a:ln>
                    <a:noFill/>
                  </a:ln>
                  <a:solidFill>
                    <a:srgbClr val="84FFFF"/>
                  </a:solidFill>
                  <a:effectLst>
                    <a:reflection blurRad="6350" stA="55000" endA="300" endPos="45500" dir="5400000" sy="-100000" algn="bl" rotWithShape="0"/>
                  </a:effectLst>
                  <a:uLnTx/>
                  <a:uFillTx/>
                  <a:cs typeface="+mn-ea"/>
                  <a:sym typeface="+mn-lt"/>
                </a:rPr>
                <a:t>打印技术</a:t>
              </a:r>
            </a:p>
          </p:txBody>
        </p:sp>
      </p:grpSp>
      <p:pic>
        <p:nvPicPr>
          <p:cNvPr id="2" name="1"/>
          <p:cNvPicPr>
            <a:picLocks noChangeAspect="1"/>
          </p:cNvPicPr>
          <p:nvPr/>
        </p:nvPicPr>
        <p:blipFill rotWithShape="1">
          <a:blip r:embed="rId10" cstate="screen"/>
          <a:srcRect/>
          <a:stretch>
            <a:fillRect/>
          </a:stretch>
        </p:blipFill>
        <p:spPr>
          <a:xfrm>
            <a:off x="284893" y="56713"/>
            <a:ext cx="869970" cy="1499038"/>
          </a:xfrm>
          <a:prstGeom prst="rect">
            <a:avLst/>
          </a:prstGeom>
        </p:spPr>
      </p:pic>
      <p:sp>
        <p:nvSpPr>
          <p:cNvPr id="3" name="矩形 2"/>
          <p:cNvSpPr/>
          <p:nvPr/>
        </p:nvSpPr>
        <p:spPr>
          <a:xfrm>
            <a:off x="1154863" y="459121"/>
            <a:ext cx="2622550" cy="523220"/>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智慧企业</a:t>
            </a:r>
          </a:p>
        </p:txBody>
      </p:sp>
      <p:pic>
        <p:nvPicPr>
          <p:cNvPr id="44" name="图片 43"/>
          <p:cNvPicPr>
            <a:picLocks noChangeAspect="1"/>
          </p:cNvPicPr>
          <p:nvPr/>
        </p:nvPicPr>
        <p:blipFill>
          <a:blip r:embed="rId11"/>
          <a:stretch>
            <a:fillRect/>
          </a:stretch>
        </p:blipFill>
        <p:spPr>
          <a:xfrm>
            <a:off x="1646759" y="4828732"/>
            <a:ext cx="4381500" cy="24765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ppt_x"/>
                                          </p:val>
                                        </p:tav>
                                        <p:tav tm="100000">
                                          <p:val>
                                            <p:strVal val="#ppt_x"/>
                                          </p:val>
                                        </p:tav>
                                      </p:tavLst>
                                    </p:anim>
                                    <p:anim calcmode="lin" valueType="num">
                                      <p:cBhvr additive="base">
                                        <p:cTn id="8" dur="1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par>
                          <p:cTn id="16" fill="hold">
                            <p:stCondLst>
                              <p:cond delay="0"/>
                            </p:stCondLst>
                            <p:childTnLst>
                              <p:par>
                                <p:cTn id="17" presetID="2" presetClass="entr" presetSubtype="12" fill="hold" nodeType="afterEffect">
                                  <p:stCondLst>
                                    <p:cond delay="0"/>
                                  </p:stCondLst>
                                  <p:childTnLst>
                                    <p:set>
                                      <p:cBhvr>
                                        <p:cTn id="18" dur="1" fill="hold">
                                          <p:stCondLst>
                                            <p:cond delay="0"/>
                                          </p:stCondLst>
                                        </p:cTn>
                                        <p:tgtEl>
                                          <p:spTgt spid="44"/>
                                        </p:tgtEl>
                                        <p:attrNameLst>
                                          <p:attrName>style.visibility</p:attrName>
                                        </p:attrNameLst>
                                      </p:cBhvr>
                                      <p:to>
                                        <p:strVal val="visible"/>
                                      </p:to>
                                    </p:set>
                                    <p:anim calcmode="lin" valueType="num">
                                      <p:cBhvr additive="base">
                                        <p:cTn id="19" dur="750" fill="hold"/>
                                        <p:tgtEl>
                                          <p:spTgt spid="44"/>
                                        </p:tgtEl>
                                        <p:attrNameLst>
                                          <p:attrName>ppt_x</p:attrName>
                                        </p:attrNameLst>
                                      </p:cBhvr>
                                      <p:tavLst>
                                        <p:tav tm="0">
                                          <p:val>
                                            <p:strVal val="0-#ppt_w/2"/>
                                          </p:val>
                                        </p:tav>
                                        <p:tav tm="100000">
                                          <p:val>
                                            <p:strVal val="#ppt_x"/>
                                          </p:val>
                                        </p:tav>
                                      </p:tavLst>
                                    </p:anim>
                                    <p:anim calcmode="lin" valueType="num">
                                      <p:cBhvr additive="base">
                                        <p:cTn id="20" dur="750" fill="hold"/>
                                        <p:tgtEl>
                                          <p:spTgt spid="44"/>
                                        </p:tgtEl>
                                        <p:attrNameLst>
                                          <p:attrName>ppt_y</p:attrName>
                                        </p:attrNameLst>
                                      </p:cBhvr>
                                      <p:tavLst>
                                        <p:tav tm="0">
                                          <p:val>
                                            <p:strVal val="1+#ppt_h/2"/>
                                          </p:val>
                                        </p:tav>
                                        <p:tav tm="100000">
                                          <p:val>
                                            <p:strVal val="#ppt_y"/>
                                          </p:val>
                                        </p:tav>
                                      </p:tavLst>
                                    </p:anim>
                                  </p:childTnLst>
                                </p:cTn>
                              </p:par>
                              <p:par>
                                <p:cTn id="21" presetID="53" presetClass="entr" presetSubtype="16" fill="hold" nodeType="withEffect">
                                  <p:stCondLst>
                                    <p:cond delay="0"/>
                                  </p:stCondLst>
                                  <p:childTnLst>
                                    <p:set>
                                      <p:cBhvr>
                                        <p:cTn id="22" dur="1" fill="hold">
                                          <p:stCondLst>
                                            <p:cond delay="0"/>
                                          </p:stCondLst>
                                        </p:cTn>
                                        <p:tgtEl>
                                          <p:spTgt spid="506"/>
                                        </p:tgtEl>
                                        <p:attrNameLst>
                                          <p:attrName>style.visibility</p:attrName>
                                        </p:attrNameLst>
                                      </p:cBhvr>
                                      <p:to>
                                        <p:strVal val="visible"/>
                                      </p:to>
                                    </p:set>
                                    <p:anim calcmode="lin" valueType="num">
                                      <p:cBhvr>
                                        <p:cTn id="23" dur="500" fill="hold"/>
                                        <p:tgtEl>
                                          <p:spTgt spid="506"/>
                                        </p:tgtEl>
                                        <p:attrNameLst>
                                          <p:attrName>ppt_w</p:attrName>
                                        </p:attrNameLst>
                                      </p:cBhvr>
                                      <p:tavLst>
                                        <p:tav tm="0">
                                          <p:val>
                                            <p:fltVal val="0"/>
                                          </p:val>
                                        </p:tav>
                                        <p:tav tm="100000">
                                          <p:val>
                                            <p:strVal val="#ppt_w"/>
                                          </p:val>
                                        </p:tav>
                                      </p:tavLst>
                                    </p:anim>
                                    <p:anim calcmode="lin" valueType="num">
                                      <p:cBhvr>
                                        <p:cTn id="24" dur="500" fill="hold"/>
                                        <p:tgtEl>
                                          <p:spTgt spid="506"/>
                                        </p:tgtEl>
                                        <p:attrNameLst>
                                          <p:attrName>ppt_h</p:attrName>
                                        </p:attrNameLst>
                                      </p:cBhvr>
                                      <p:tavLst>
                                        <p:tav tm="0">
                                          <p:val>
                                            <p:fltVal val="0"/>
                                          </p:val>
                                        </p:tav>
                                        <p:tav tm="100000">
                                          <p:val>
                                            <p:strVal val="#ppt_h"/>
                                          </p:val>
                                        </p:tav>
                                      </p:tavLst>
                                    </p:anim>
                                    <p:animEffect transition="in" filter="fade">
                                      <p:cBhvr>
                                        <p:cTn id="25" dur="500"/>
                                        <p:tgtEl>
                                          <p:spTgt spid="506"/>
                                        </p:tgtEl>
                                      </p:cBhvr>
                                    </p:animEffect>
                                  </p:childTnLst>
                                </p:cTn>
                              </p:par>
                              <p:par>
                                <p:cTn id="26" presetID="49" presetClass="entr" presetSubtype="0" decel="10000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p:cTn id="28" dur="1250" fill="hold"/>
                                        <p:tgtEl>
                                          <p:spTgt spid="24"/>
                                        </p:tgtEl>
                                        <p:attrNameLst>
                                          <p:attrName>ppt_w</p:attrName>
                                        </p:attrNameLst>
                                      </p:cBhvr>
                                      <p:tavLst>
                                        <p:tav tm="0">
                                          <p:val>
                                            <p:fltVal val="0"/>
                                          </p:val>
                                        </p:tav>
                                        <p:tav tm="100000">
                                          <p:val>
                                            <p:strVal val="#ppt_w"/>
                                          </p:val>
                                        </p:tav>
                                      </p:tavLst>
                                    </p:anim>
                                    <p:anim calcmode="lin" valueType="num">
                                      <p:cBhvr>
                                        <p:cTn id="29" dur="1250" fill="hold"/>
                                        <p:tgtEl>
                                          <p:spTgt spid="24"/>
                                        </p:tgtEl>
                                        <p:attrNameLst>
                                          <p:attrName>ppt_h</p:attrName>
                                        </p:attrNameLst>
                                      </p:cBhvr>
                                      <p:tavLst>
                                        <p:tav tm="0">
                                          <p:val>
                                            <p:fltVal val="0"/>
                                          </p:val>
                                        </p:tav>
                                        <p:tav tm="100000">
                                          <p:val>
                                            <p:strVal val="#ppt_h"/>
                                          </p:val>
                                        </p:tav>
                                      </p:tavLst>
                                    </p:anim>
                                    <p:anim calcmode="lin" valueType="num">
                                      <p:cBhvr>
                                        <p:cTn id="30" dur="1250" fill="hold"/>
                                        <p:tgtEl>
                                          <p:spTgt spid="24"/>
                                        </p:tgtEl>
                                        <p:attrNameLst>
                                          <p:attrName>style.rotation</p:attrName>
                                        </p:attrNameLst>
                                      </p:cBhvr>
                                      <p:tavLst>
                                        <p:tav tm="0">
                                          <p:val>
                                            <p:fltVal val="360"/>
                                          </p:val>
                                        </p:tav>
                                        <p:tav tm="100000">
                                          <p:val>
                                            <p:fltVal val="0"/>
                                          </p:val>
                                        </p:tav>
                                      </p:tavLst>
                                    </p:anim>
                                    <p:animEffect transition="in" filter="fade">
                                      <p:cBhvr>
                                        <p:cTn id="31" dur="1250"/>
                                        <p:tgtEl>
                                          <p:spTgt spid="24"/>
                                        </p:tgtEl>
                                      </p:cBhvr>
                                    </p:animEffect>
                                  </p:childTnLst>
                                </p:cTn>
                              </p:par>
                              <p:par>
                                <p:cTn id="32" presetID="49" presetClass="entr" presetSubtype="0" decel="100000" fill="hold" grpId="0" nodeType="withEffect">
                                  <p:stCondLst>
                                    <p:cond delay="500"/>
                                  </p:stCondLst>
                                  <p:childTnLst>
                                    <p:set>
                                      <p:cBhvr>
                                        <p:cTn id="33" dur="1" fill="hold">
                                          <p:stCondLst>
                                            <p:cond delay="0"/>
                                          </p:stCondLst>
                                        </p:cTn>
                                        <p:tgtEl>
                                          <p:spTgt spid="25"/>
                                        </p:tgtEl>
                                        <p:attrNameLst>
                                          <p:attrName>style.visibility</p:attrName>
                                        </p:attrNameLst>
                                      </p:cBhvr>
                                      <p:to>
                                        <p:strVal val="visible"/>
                                      </p:to>
                                    </p:set>
                                    <p:anim calcmode="lin" valueType="num">
                                      <p:cBhvr>
                                        <p:cTn id="34" dur="1500" fill="hold"/>
                                        <p:tgtEl>
                                          <p:spTgt spid="25"/>
                                        </p:tgtEl>
                                        <p:attrNameLst>
                                          <p:attrName>ppt_w</p:attrName>
                                        </p:attrNameLst>
                                      </p:cBhvr>
                                      <p:tavLst>
                                        <p:tav tm="0">
                                          <p:val>
                                            <p:fltVal val="0"/>
                                          </p:val>
                                        </p:tav>
                                        <p:tav tm="100000">
                                          <p:val>
                                            <p:strVal val="#ppt_w"/>
                                          </p:val>
                                        </p:tav>
                                      </p:tavLst>
                                    </p:anim>
                                    <p:anim calcmode="lin" valueType="num">
                                      <p:cBhvr>
                                        <p:cTn id="35" dur="1500" fill="hold"/>
                                        <p:tgtEl>
                                          <p:spTgt spid="25"/>
                                        </p:tgtEl>
                                        <p:attrNameLst>
                                          <p:attrName>ppt_h</p:attrName>
                                        </p:attrNameLst>
                                      </p:cBhvr>
                                      <p:tavLst>
                                        <p:tav tm="0">
                                          <p:val>
                                            <p:fltVal val="0"/>
                                          </p:val>
                                        </p:tav>
                                        <p:tav tm="100000">
                                          <p:val>
                                            <p:strVal val="#ppt_h"/>
                                          </p:val>
                                        </p:tav>
                                      </p:tavLst>
                                    </p:anim>
                                    <p:anim calcmode="lin" valueType="num">
                                      <p:cBhvr>
                                        <p:cTn id="36" dur="1500" fill="hold"/>
                                        <p:tgtEl>
                                          <p:spTgt spid="25"/>
                                        </p:tgtEl>
                                        <p:attrNameLst>
                                          <p:attrName>style.rotation</p:attrName>
                                        </p:attrNameLst>
                                      </p:cBhvr>
                                      <p:tavLst>
                                        <p:tav tm="0">
                                          <p:val>
                                            <p:fltVal val="360"/>
                                          </p:val>
                                        </p:tav>
                                        <p:tav tm="100000">
                                          <p:val>
                                            <p:fltVal val="0"/>
                                          </p:val>
                                        </p:tav>
                                      </p:tavLst>
                                    </p:anim>
                                    <p:animEffect transition="in" filter="fade">
                                      <p:cBhvr>
                                        <p:cTn id="37" dur="1500"/>
                                        <p:tgtEl>
                                          <p:spTgt spid="25"/>
                                        </p:tgtEl>
                                      </p:cBhvr>
                                    </p:animEffect>
                                  </p:childTnLst>
                                </p:cTn>
                              </p:par>
                              <p:par>
                                <p:cTn id="38" presetID="49" presetClass="entr" presetSubtype="0" decel="100000" fill="hold" grpId="0" nodeType="withEffect">
                                  <p:stCondLst>
                                    <p:cond delay="500"/>
                                  </p:stCondLst>
                                  <p:childTnLst>
                                    <p:set>
                                      <p:cBhvr>
                                        <p:cTn id="39" dur="1" fill="hold">
                                          <p:stCondLst>
                                            <p:cond delay="0"/>
                                          </p:stCondLst>
                                        </p:cTn>
                                        <p:tgtEl>
                                          <p:spTgt spid="26"/>
                                        </p:tgtEl>
                                        <p:attrNameLst>
                                          <p:attrName>style.visibility</p:attrName>
                                        </p:attrNameLst>
                                      </p:cBhvr>
                                      <p:to>
                                        <p:strVal val="visible"/>
                                      </p:to>
                                    </p:set>
                                    <p:anim calcmode="lin" valueType="num">
                                      <p:cBhvr>
                                        <p:cTn id="40" dur="1000" fill="hold"/>
                                        <p:tgtEl>
                                          <p:spTgt spid="26"/>
                                        </p:tgtEl>
                                        <p:attrNameLst>
                                          <p:attrName>ppt_w</p:attrName>
                                        </p:attrNameLst>
                                      </p:cBhvr>
                                      <p:tavLst>
                                        <p:tav tm="0">
                                          <p:val>
                                            <p:fltVal val="0"/>
                                          </p:val>
                                        </p:tav>
                                        <p:tav tm="100000">
                                          <p:val>
                                            <p:strVal val="#ppt_w"/>
                                          </p:val>
                                        </p:tav>
                                      </p:tavLst>
                                    </p:anim>
                                    <p:anim calcmode="lin" valueType="num">
                                      <p:cBhvr>
                                        <p:cTn id="41" dur="1000" fill="hold"/>
                                        <p:tgtEl>
                                          <p:spTgt spid="26"/>
                                        </p:tgtEl>
                                        <p:attrNameLst>
                                          <p:attrName>ppt_h</p:attrName>
                                        </p:attrNameLst>
                                      </p:cBhvr>
                                      <p:tavLst>
                                        <p:tav tm="0">
                                          <p:val>
                                            <p:fltVal val="0"/>
                                          </p:val>
                                        </p:tav>
                                        <p:tav tm="100000">
                                          <p:val>
                                            <p:strVal val="#ppt_h"/>
                                          </p:val>
                                        </p:tav>
                                      </p:tavLst>
                                    </p:anim>
                                    <p:anim calcmode="lin" valueType="num">
                                      <p:cBhvr>
                                        <p:cTn id="42" dur="1000" fill="hold"/>
                                        <p:tgtEl>
                                          <p:spTgt spid="26"/>
                                        </p:tgtEl>
                                        <p:attrNameLst>
                                          <p:attrName>style.rotation</p:attrName>
                                        </p:attrNameLst>
                                      </p:cBhvr>
                                      <p:tavLst>
                                        <p:tav tm="0">
                                          <p:val>
                                            <p:fltVal val="360"/>
                                          </p:val>
                                        </p:tav>
                                        <p:tav tm="100000">
                                          <p:val>
                                            <p:fltVal val="0"/>
                                          </p:val>
                                        </p:tav>
                                      </p:tavLst>
                                    </p:anim>
                                    <p:animEffect transition="in" filter="fade">
                                      <p:cBhvr>
                                        <p:cTn id="43" dur="1000"/>
                                        <p:tgtEl>
                                          <p:spTgt spid="26"/>
                                        </p:tgtEl>
                                      </p:cBhvr>
                                    </p:animEffect>
                                  </p:childTnLst>
                                </p:cTn>
                              </p:par>
                              <p:par>
                                <p:cTn id="44" presetID="42" presetClass="entr" presetSubtype="0" fill="hold" grpId="0" nodeType="withEffect">
                                  <p:stCondLst>
                                    <p:cond delay="500"/>
                                  </p:stCondLst>
                                  <p:childTnLst>
                                    <p:set>
                                      <p:cBhvr>
                                        <p:cTn id="45" dur="1" fill="hold">
                                          <p:stCondLst>
                                            <p:cond delay="0"/>
                                          </p:stCondLst>
                                        </p:cTn>
                                        <p:tgtEl>
                                          <p:spTgt spid="509"/>
                                        </p:tgtEl>
                                        <p:attrNameLst>
                                          <p:attrName>style.visibility</p:attrName>
                                        </p:attrNameLst>
                                      </p:cBhvr>
                                      <p:to>
                                        <p:strVal val="visible"/>
                                      </p:to>
                                    </p:set>
                                    <p:animEffect transition="in" filter="fade">
                                      <p:cBhvr>
                                        <p:cTn id="46" dur="1000"/>
                                        <p:tgtEl>
                                          <p:spTgt spid="509"/>
                                        </p:tgtEl>
                                      </p:cBhvr>
                                    </p:animEffect>
                                    <p:anim calcmode="lin" valueType="num">
                                      <p:cBhvr>
                                        <p:cTn id="47" dur="1000" fill="hold"/>
                                        <p:tgtEl>
                                          <p:spTgt spid="509"/>
                                        </p:tgtEl>
                                        <p:attrNameLst>
                                          <p:attrName>ppt_x</p:attrName>
                                        </p:attrNameLst>
                                      </p:cBhvr>
                                      <p:tavLst>
                                        <p:tav tm="0">
                                          <p:val>
                                            <p:strVal val="#ppt_x"/>
                                          </p:val>
                                        </p:tav>
                                        <p:tav tm="100000">
                                          <p:val>
                                            <p:strVal val="#ppt_x"/>
                                          </p:val>
                                        </p:tav>
                                      </p:tavLst>
                                    </p:anim>
                                    <p:anim calcmode="lin" valueType="num">
                                      <p:cBhvr>
                                        <p:cTn id="48" dur="1000" fill="hold"/>
                                        <p:tgtEl>
                                          <p:spTgt spid="509"/>
                                        </p:tgtEl>
                                        <p:attrNameLst>
                                          <p:attrName>ppt_y</p:attrName>
                                        </p:attrNameLst>
                                      </p:cBhvr>
                                      <p:tavLst>
                                        <p:tav tm="0">
                                          <p:val>
                                            <p:strVal val="#ppt_y+.1"/>
                                          </p:val>
                                        </p:tav>
                                        <p:tav tm="100000">
                                          <p:val>
                                            <p:strVal val="#ppt_y"/>
                                          </p:val>
                                        </p:tav>
                                      </p:tavLst>
                                    </p:anim>
                                  </p:childTnLst>
                                </p:cTn>
                              </p:par>
                              <p:par>
                                <p:cTn id="49" presetID="49" presetClass="entr" presetSubtype="0" decel="100000" fill="hold" grpId="0" nodeType="withEffect">
                                  <p:stCondLst>
                                    <p:cond delay="500"/>
                                  </p:stCondLst>
                                  <p:childTnLst>
                                    <p:set>
                                      <p:cBhvr>
                                        <p:cTn id="50" dur="1" fill="hold">
                                          <p:stCondLst>
                                            <p:cond delay="0"/>
                                          </p:stCondLst>
                                        </p:cTn>
                                        <p:tgtEl>
                                          <p:spTgt spid="27"/>
                                        </p:tgtEl>
                                        <p:attrNameLst>
                                          <p:attrName>style.visibility</p:attrName>
                                        </p:attrNameLst>
                                      </p:cBhvr>
                                      <p:to>
                                        <p:strVal val="visible"/>
                                      </p:to>
                                    </p:set>
                                    <p:anim calcmode="lin" valueType="num">
                                      <p:cBhvr>
                                        <p:cTn id="51" dur="1000" fill="hold"/>
                                        <p:tgtEl>
                                          <p:spTgt spid="27"/>
                                        </p:tgtEl>
                                        <p:attrNameLst>
                                          <p:attrName>ppt_w</p:attrName>
                                        </p:attrNameLst>
                                      </p:cBhvr>
                                      <p:tavLst>
                                        <p:tav tm="0">
                                          <p:val>
                                            <p:fltVal val="0"/>
                                          </p:val>
                                        </p:tav>
                                        <p:tav tm="100000">
                                          <p:val>
                                            <p:strVal val="#ppt_w"/>
                                          </p:val>
                                        </p:tav>
                                      </p:tavLst>
                                    </p:anim>
                                    <p:anim calcmode="lin" valueType="num">
                                      <p:cBhvr>
                                        <p:cTn id="52" dur="1000" fill="hold"/>
                                        <p:tgtEl>
                                          <p:spTgt spid="27"/>
                                        </p:tgtEl>
                                        <p:attrNameLst>
                                          <p:attrName>ppt_h</p:attrName>
                                        </p:attrNameLst>
                                      </p:cBhvr>
                                      <p:tavLst>
                                        <p:tav tm="0">
                                          <p:val>
                                            <p:fltVal val="0"/>
                                          </p:val>
                                        </p:tav>
                                        <p:tav tm="100000">
                                          <p:val>
                                            <p:strVal val="#ppt_h"/>
                                          </p:val>
                                        </p:tav>
                                      </p:tavLst>
                                    </p:anim>
                                    <p:anim calcmode="lin" valueType="num">
                                      <p:cBhvr>
                                        <p:cTn id="53" dur="1000" fill="hold"/>
                                        <p:tgtEl>
                                          <p:spTgt spid="27"/>
                                        </p:tgtEl>
                                        <p:attrNameLst>
                                          <p:attrName>style.rotation</p:attrName>
                                        </p:attrNameLst>
                                      </p:cBhvr>
                                      <p:tavLst>
                                        <p:tav tm="0">
                                          <p:val>
                                            <p:fltVal val="360"/>
                                          </p:val>
                                        </p:tav>
                                        <p:tav tm="100000">
                                          <p:val>
                                            <p:fltVal val="0"/>
                                          </p:val>
                                        </p:tav>
                                      </p:tavLst>
                                    </p:anim>
                                    <p:animEffect transition="in" filter="fade">
                                      <p:cBhvr>
                                        <p:cTn id="54" dur="1000"/>
                                        <p:tgtEl>
                                          <p:spTgt spid="27"/>
                                        </p:tgtEl>
                                      </p:cBhvr>
                                    </p:animEffect>
                                  </p:childTnLst>
                                </p:cTn>
                              </p:par>
                              <p:par>
                                <p:cTn id="55" presetID="49" presetClass="entr" presetSubtype="0" decel="100000" fill="hold" grpId="0" nodeType="withEffect">
                                  <p:stCondLst>
                                    <p:cond delay="500"/>
                                  </p:stCondLst>
                                  <p:childTnLst>
                                    <p:set>
                                      <p:cBhvr>
                                        <p:cTn id="56" dur="1" fill="hold">
                                          <p:stCondLst>
                                            <p:cond delay="0"/>
                                          </p:stCondLst>
                                        </p:cTn>
                                        <p:tgtEl>
                                          <p:spTgt spid="28"/>
                                        </p:tgtEl>
                                        <p:attrNameLst>
                                          <p:attrName>style.visibility</p:attrName>
                                        </p:attrNameLst>
                                      </p:cBhvr>
                                      <p:to>
                                        <p:strVal val="visible"/>
                                      </p:to>
                                    </p:set>
                                    <p:anim calcmode="lin" valueType="num">
                                      <p:cBhvr>
                                        <p:cTn id="57" dur="1000" fill="hold"/>
                                        <p:tgtEl>
                                          <p:spTgt spid="28"/>
                                        </p:tgtEl>
                                        <p:attrNameLst>
                                          <p:attrName>ppt_w</p:attrName>
                                        </p:attrNameLst>
                                      </p:cBhvr>
                                      <p:tavLst>
                                        <p:tav tm="0">
                                          <p:val>
                                            <p:fltVal val="0"/>
                                          </p:val>
                                        </p:tav>
                                        <p:tav tm="100000">
                                          <p:val>
                                            <p:strVal val="#ppt_w"/>
                                          </p:val>
                                        </p:tav>
                                      </p:tavLst>
                                    </p:anim>
                                    <p:anim calcmode="lin" valueType="num">
                                      <p:cBhvr>
                                        <p:cTn id="58" dur="1000" fill="hold"/>
                                        <p:tgtEl>
                                          <p:spTgt spid="28"/>
                                        </p:tgtEl>
                                        <p:attrNameLst>
                                          <p:attrName>ppt_h</p:attrName>
                                        </p:attrNameLst>
                                      </p:cBhvr>
                                      <p:tavLst>
                                        <p:tav tm="0">
                                          <p:val>
                                            <p:fltVal val="0"/>
                                          </p:val>
                                        </p:tav>
                                        <p:tav tm="100000">
                                          <p:val>
                                            <p:strVal val="#ppt_h"/>
                                          </p:val>
                                        </p:tav>
                                      </p:tavLst>
                                    </p:anim>
                                    <p:anim calcmode="lin" valueType="num">
                                      <p:cBhvr>
                                        <p:cTn id="59" dur="1000" fill="hold"/>
                                        <p:tgtEl>
                                          <p:spTgt spid="28"/>
                                        </p:tgtEl>
                                        <p:attrNameLst>
                                          <p:attrName>style.rotation</p:attrName>
                                        </p:attrNameLst>
                                      </p:cBhvr>
                                      <p:tavLst>
                                        <p:tav tm="0">
                                          <p:val>
                                            <p:fltVal val="360"/>
                                          </p:val>
                                        </p:tav>
                                        <p:tav tm="100000">
                                          <p:val>
                                            <p:fltVal val="0"/>
                                          </p:val>
                                        </p:tav>
                                      </p:tavLst>
                                    </p:anim>
                                    <p:animEffect transition="in" filter="fade">
                                      <p:cBhvr>
                                        <p:cTn id="60" dur="1000"/>
                                        <p:tgtEl>
                                          <p:spTgt spid="28"/>
                                        </p:tgtEl>
                                      </p:cBhvr>
                                    </p:animEffect>
                                  </p:childTnLst>
                                </p:cTn>
                              </p:par>
                              <p:par>
                                <p:cTn id="61" presetID="49" presetClass="entr" presetSubtype="0" decel="100000" fill="hold" grpId="0" nodeType="withEffect">
                                  <p:stCondLst>
                                    <p:cond delay="0"/>
                                  </p:stCondLst>
                                  <p:childTnLst>
                                    <p:set>
                                      <p:cBhvr>
                                        <p:cTn id="62" dur="1" fill="hold">
                                          <p:stCondLst>
                                            <p:cond delay="0"/>
                                          </p:stCondLst>
                                        </p:cTn>
                                        <p:tgtEl>
                                          <p:spTgt spid="29"/>
                                        </p:tgtEl>
                                        <p:attrNameLst>
                                          <p:attrName>style.visibility</p:attrName>
                                        </p:attrNameLst>
                                      </p:cBhvr>
                                      <p:to>
                                        <p:strVal val="visible"/>
                                      </p:to>
                                    </p:set>
                                    <p:anim calcmode="lin" valueType="num">
                                      <p:cBhvr>
                                        <p:cTn id="63" dur="1250" fill="hold"/>
                                        <p:tgtEl>
                                          <p:spTgt spid="29"/>
                                        </p:tgtEl>
                                        <p:attrNameLst>
                                          <p:attrName>ppt_w</p:attrName>
                                        </p:attrNameLst>
                                      </p:cBhvr>
                                      <p:tavLst>
                                        <p:tav tm="0">
                                          <p:val>
                                            <p:fltVal val="0"/>
                                          </p:val>
                                        </p:tav>
                                        <p:tav tm="100000">
                                          <p:val>
                                            <p:strVal val="#ppt_w"/>
                                          </p:val>
                                        </p:tav>
                                      </p:tavLst>
                                    </p:anim>
                                    <p:anim calcmode="lin" valueType="num">
                                      <p:cBhvr>
                                        <p:cTn id="64" dur="1250" fill="hold"/>
                                        <p:tgtEl>
                                          <p:spTgt spid="29"/>
                                        </p:tgtEl>
                                        <p:attrNameLst>
                                          <p:attrName>ppt_h</p:attrName>
                                        </p:attrNameLst>
                                      </p:cBhvr>
                                      <p:tavLst>
                                        <p:tav tm="0">
                                          <p:val>
                                            <p:fltVal val="0"/>
                                          </p:val>
                                        </p:tav>
                                        <p:tav tm="100000">
                                          <p:val>
                                            <p:strVal val="#ppt_h"/>
                                          </p:val>
                                        </p:tav>
                                      </p:tavLst>
                                    </p:anim>
                                    <p:anim calcmode="lin" valueType="num">
                                      <p:cBhvr>
                                        <p:cTn id="65" dur="1250" fill="hold"/>
                                        <p:tgtEl>
                                          <p:spTgt spid="29"/>
                                        </p:tgtEl>
                                        <p:attrNameLst>
                                          <p:attrName>style.rotation</p:attrName>
                                        </p:attrNameLst>
                                      </p:cBhvr>
                                      <p:tavLst>
                                        <p:tav tm="0">
                                          <p:val>
                                            <p:fltVal val="360"/>
                                          </p:val>
                                        </p:tav>
                                        <p:tav tm="100000">
                                          <p:val>
                                            <p:fltVal val="0"/>
                                          </p:val>
                                        </p:tav>
                                      </p:tavLst>
                                    </p:anim>
                                    <p:animEffect transition="in" filter="fade">
                                      <p:cBhvr>
                                        <p:cTn id="66" dur="1250"/>
                                        <p:tgtEl>
                                          <p:spTgt spid="29"/>
                                        </p:tgtEl>
                                      </p:cBhvr>
                                    </p:animEffect>
                                  </p:childTnLst>
                                </p:cTn>
                              </p:par>
                              <p:par>
                                <p:cTn id="67" presetID="1" presetClass="entr" presetSubtype="0" fill="hold" nodeType="withEffect">
                                  <p:stCondLst>
                                    <p:cond delay="1000"/>
                                  </p:stCondLst>
                                  <p:childTnLst>
                                    <p:set>
                                      <p:cBhvr>
                                        <p:cTn id="68" dur="1" fill="hold">
                                          <p:stCondLst>
                                            <p:cond delay="0"/>
                                          </p:stCondLst>
                                        </p:cTn>
                                        <p:tgtEl>
                                          <p:spTgt spid="503"/>
                                        </p:tgtEl>
                                        <p:attrNameLst>
                                          <p:attrName>style.visibility</p:attrName>
                                        </p:attrNameLst>
                                      </p:cBhvr>
                                      <p:to>
                                        <p:strVal val="visible"/>
                                      </p:to>
                                    </p:set>
                                  </p:childTnLst>
                                </p:cTn>
                              </p:par>
                              <p:par>
                                <p:cTn id="69" presetID="6" presetClass="emph" presetSubtype="0" repeatCount="4000" fill="hold" nodeType="withEffect">
                                  <p:stCondLst>
                                    <p:cond delay="1000"/>
                                  </p:stCondLst>
                                  <p:childTnLst>
                                    <p:animScale>
                                      <p:cBhvr>
                                        <p:cTn id="70" dur="1000" fill="hold"/>
                                        <p:tgtEl>
                                          <p:spTgt spid="503"/>
                                        </p:tgtEl>
                                      </p:cBhvr>
                                      <p:by x="200000" y="200000"/>
                                    </p:animScale>
                                  </p:childTnLst>
                                </p:cTn>
                              </p:par>
                              <p:par>
                                <p:cTn id="71" presetID="10" presetClass="exit" presetSubtype="0" repeatCount="4000" fill="hold" nodeType="withEffect">
                                  <p:stCondLst>
                                    <p:cond delay="1000"/>
                                  </p:stCondLst>
                                  <p:childTnLst>
                                    <p:animEffect transition="out" filter="fade">
                                      <p:cBhvr>
                                        <p:cTn id="72" dur="1000"/>
                                        <p:tgtEl>
                                          <p:spTgt spid="503"/>
                                        </p:tgtEl>
                                      </p:cBhvr>
                                    </p:animEffect>
                                    <p:set>
                                      <p:cBhvr>
                                        <p:cTn id="73" dur="1" fill="hold">
                                          <p:stCondLst>
                                            <p:cond delay="999"/>
                                          </p:stCondLst>
                                        </p:cTn>
                                        <p:tgtEl>
                                          <p:spTgt spid="503"/>
                                        </p:tgtEl>
                                        <p:attrNameLst>
                                          <p:attrName>style.visibility</p:attrName>
                                        </p:attrNameLst>
                                      </p:cBhvr>
                                      <p:to>
                                        <p:strVal val="hidden"/>
                                      </p:to>
                                    </p:set>
                                  </p:childTnLst>
                                </p:cTn>
                              </p:par>
                              <p:par>
                                <p:cTn id="74" presetID="49" presetClass="entr" presetSubtype="0" decel="100000" fill="hold" grpId="0" nodeType="withEffect">
                                  <p:stCondLst>
                                    <p:cond delay="0"/>
                                  </p:stCondLst>
                                  <p:childTnLst>
                                    <p:set>
                                      <p:cBhvr>
                                        <p:cTn id="75" dur="1" fill="hold">
                                          <p:stCondLst>
                                            <p:cond delay="0"/>
                                          </p:stCondLst>
                                        </p:cTn>
                                        <p:tgtEl>
                                          <p:spTgt spid="30"/>
                                        </p:tgtEl>
                                        <p:attrNameLst>
                                          <p:attrName>style.visibility</p:attrName>
                                        </p:attrNameLst>
                                      </p:cBhvr>
                                      <p:to>
                                        <p:strVal val="visible"/>
                                      </p:to>
                                    </p:set>
                                    <p:anim calcmode="lin" valueType="num">
                                      <p:cBhvr>
                                        <p:cTn id="76" dur="1250" fill="hold"/>
                                        <p:tgtEl>
                                          <p:spTgt spid="30"/>
                                        </p:tgtEl>
                                        <p:attrNameLst>
                                          <p:attrName>ppt_w</p:attrName>
                                        </p:attrNameLst>
                                      </p:cBhvr>
                                      <p:tavLst>
                                        <p:tav tm="0">
                                          <p:val>
                                            <p:fltVal val="0"/>
                                          </p:val>
                                        </p:tav>
                                        <p:tav tm="100000">
                                          <p:val>
                                            <p:strVal val="#ppt_w"/>
                                          </p:val>
                                        </p:tav>
                                      </p:tavLst>
                                    </p:anim>
                                    <p:anim calcmode="lin" valueType="num">
                                      <p:cBhvr>
                                        <p:cTn id="77" dur="1250" fill="hold"/>
                                        <p:tgtEl>
                                          <p:spTgt spid="30"/>
                                        </p:tgtEl>
                                        <p:attrNameLst>
                                          <p:attrName>ppt_h</p:attrName>
                                        </p:attrNameLst>
                                      </p:cBhvr>
                                      <p:tavLst>
                                        <p:tav tm="0">
                                          <p:val>
                                            <p:fltVal val="0"/>
                                          </p:val>
                                        </p:tav>
                                        <p:tav tm="100000">
                                          <p:val>
                                            <p:strVal val="#ppt_h"/>
                                          </p:val>
                                        </p:tav>
                                      </p:tavLst>
                                    </p:anim>
                                    <p:anim calcmode="lin" valueType="num">
                                      <p:cBhvr>
                                        <p:cTn id="78" dur="1250" fill="hold"/>
                                        <p:tgtEl>
                                          <p:spTgt spid="30"/>
                                        </p:tgtEl>
                                        <p:attrNameLst>
                                          <p:attrName>style.rotation</p:attrName>
                                        </p:attrNameLst>
                                      </p:cBhvr>
                                      <p:tavLst>
                                        <p:tav tm="0">
                                          <p:val>
                                            <p:fltVal val="360"/>
                                          </p:val>
                                        </p:tav>
                                        <p:tav tm="100000">
                                          <p:val>
                                            <p:fltVal val="0"/>
                                          </p:val>
                                        </p:tav>
                                      </p:tavLst>
                                    </p:anim>
                                    <p:animEffect transition="in" filter="fade">
                                      <p:cBhvr>
                                        <p:cTn id="79" dur="1250"/>
                                        <p:tgtEl>
                                          <p:spTgt spid="30"/>
                                        </p:tgtEl>
                                      </p:cBhvr>
                                    </p:animEffect>
                                  </p:childTnLst>
                                </p:cTn>
                              </p:par>
                              <p:par>
                                <p:cTn id="80" presetID="49" presetClass="entr" presetSubtype="0" decel="100000" fill="hold" nodeType="withEffect">
                                  <p:stCondLst>
                                    <p:cond delay="250"/>
                                  </p:stCondLst>
                                  <p:childTnLst>
                                    <p:set>
                                      <p:cBhvr>
                                        <p:cTn id="81" dur="1" fill="hold">
                                          <p:stCondLst>
                                            <p:cond delay="0"/>
                                          </p:stCondLst>
                                        </p:cTn>
                                        <p:tgtEl>
                                          <p:spTgt spid="31"/>
                                        </p:tgtEl>
                                        <p:attrNameLst>
                                          <p:attrName>style.visibility</p:attrName>
                                        </p:attrNameLst>
                                      </p:cBhvr>
                                      <p:to>
                                        <p:strVal val="visible"/>
                                      </p:to>
                                    </p:set>
                                    <p:anim calcmode="lin" valueType="num">
                                      <p:cBhvr>
                                        <p:cTn id="82" dur="1250" fill="hold"/>
                                        <p:tgtEl>
                                          <p:spTgt spid="31"/>
                                        </p:tgtEl>
                                        <p:attrNameLst>
                                          <p:attrName>ppt_w</p:attrName>
                                        </p:attrNameLst>
                                      </p:cBhvr>
                                      <p:tavLst>
                                        <p:tav tm="0">
                                          <p:val>
                                            <p:fltVal val="0"/>
                                          </p:val>
                                        </p:tav>
                                        <p:tav tm="100000">
                                          <p:val>
                                            <p:strVal val="#ppt_w"/>
                                          </p:val>
                                        </p:tav>
                                      </p:tavLst>
                                    </p:anim>
                                    <p:anim calcmode="lin" valueType="num">
                                      <p:cBhvr>
                                        <p:cTn id="83" dur="1250" fill="hold"/>
                                        <p:tgtEl>
                                          <p:spTgt spid="31"/>
                                        </p:tgtEl>
                                        <p:attrNameLst>
                                          <p:attrName>ppt_h</p:attrName>
                                        </p:attrNameLst>
                                      </p:cBhvr>
                                      <p:tavLst>
                                        <p:tav tm="0">
                                          <p:val>
                                            <p:fltVal val="0"/>
                                          </p:val>
                                        </p:tav>
                                        <p:tav tm="100000">
                                          <p:val>
                                            <p:strVal val="#ppt_h"/>
                                          </p:val>
                                        </p:tav>
                                      </p:tavLst>
                                    </p:anim>
                                    <p:anim calcmode="lin" valueType="num">
                                      <p:cBhvr>
                                        <p:cTn id="84" dur="1250" fill="hold"/>
                                        <p:tgtEl>
                                          <p:spTgt spid="31"/>
                                        </p:tgtEl>
                                        <p:attrNameLst>
                                          <p:attrName>style.rotation</p:attrName>
                                        </p:attrNameLst>
                                      </p:cBhvr>
                                      <p:tavLst>
                                        <p:tav tm="0">
                                          <p:val>
                                            <p:fltVal val="360"/>
                                          </p:val>
                                        </p:tav>
                                        <p:tav tm="100000">
                                          <p:val>
                                            <p:fltVal val="0"/>
                                          </p:val>
                                        </p:tav>
                                      </p:tavLst>
                                    </p:anim>
                                    <p:animEffect transition="in" filter="fade">
                                      <p:cBhvr>
                                        <p:cTn id="85" dur="1250"/>
                                        <p:tgtEl>
                                          <p:spTgt spid="31"/>
                                        </p:tgtEl>
                                      </p:cBhvr>
                                    </p:animEffect>
                                  </p:childTnLst>
                                </p:cTn>
                              </p:par>
                              <p:par>
                                <p:cTn id="86" presetID="49" presetClass="entr" presetSubtype="0" decel="100000" fill="hold" nodeType="withEffect">
                                  <p:stCondLst>
                                    <p:cond delay="250"/>
                                  </p:stCondLst>
                                  <p:childTnLst>
                                    <p:set>
                                      <p:cBhvr>
                                        <p:cTn id="87" dur="1" fill="hold">
                                          <p:stCondLst>
                                            <p:cond delay="0"/>
                                          </p:stCondLst>
                                        </p:cTn>
                                        <p:tgtEl>
                                          <p:spTgt spid="123"/>
                                        </p:tgtEl>
                                        <p:attrNameLst>
                                          <p:attrName>style.visibility</p:attrName>
                                        </p:attrNameLst>
                                      </p:cBhvr>
                                      <p:to>
                                        <p:strVal val="visible"/>
                                      </p:to>
                                    </p:set>
                                    <p:anim calcmode="lin" valueType="num">
                                      <p:cBhvr>
                                        <p:cTn id="88" dur="1250" fill="hold"/>
                                        <p:tgtEl>
                                          <p:spTgt spid="123"/>
                                        </p:tgtEl>
                                        <p:attrNameLst>
                                          <p:attrName>ppt_w</p:attrName>
                                        </p:attrNameLst>
                                      </p:cBhvr>
                                      <p:tavLst>
                                        <p:tav tm="0">
                                          <p:val>
                                            <p:fltVal val="0"/>
                                          </p:val>
                                        </p:tav>
                                        <p:tav tm="100000">
                                          <p:val>
                                            <p:strVal val="#ppt_w"/>
                                          </p:val>
                                        </p:tav>
                                      </p:tavLst>
                                    </p:anim>
                                    <p:anim calcmode="lin" valueType="num">
                                      <p:cBhvr>
                                        <p:cTn id="89" dur="1250" fill="hold"/>
                                        <p:tgtEl>
                                          <p:spTgt spid="123"/>
                                        </p:tgtEl>
                                        <p:attrNameLst>
                                          <p:attrName>ppt_h</p:attrName>
                                        </p:attrNameLst>
                                      </p:cBhvr>
                                      <p:tavLst>
                                        <p:tav tm="0">
                                          <p:val>
                                            <p:fltVal val="0"/>
                                          </p:val>
                                        </p:tav>
                                        <p:tav tm="100000">
                                          <p:val>
                                            <p:strVal val="#ppt_h"/>
                                          </p:val>
                                        </p:tav>
                                      </p:tavLst>
                                    </p:anim>
                                    <p:anim calcmode="lin" valueType="num">
                                      <p:cBhvr>
                                        <p:cTn id="90" dur="1250" fill="hold"/>
                                        <p:tgtEl>
                                          <p:spTgt spid="123"/>
                                        </p:tgtEl>
                                        <p:attrNameLst>
                                          <p:attrName>style.rotation</p:attrName>
                                        </p:attrNameLst>
                                      </p:cBhvr>
                                      <p:tavLst>
                                        <p:tav tm="0">
                                          <p:val>
                                            <p:fltVal val="360"/>
                                          </p:val>
                                        </p:tav>
                                        <p:tav tm="100000">
                                          <p:val>
                                            <p:fltVal val="0"/>
                                          </p:val>
                                        </p:tav>
                                      </p:tavLst>
                                    </p:anim>
                                    <p:animEffect transition="in" filter="fade">
                                      <p:cBhvr>
                                        <p:cTn id="91" dur="1250"/>
                                        <p:tgtEl>
                                          <p:spTgt spid="123"/>
                                        </p:tgtEl>
                                      </p:cBhvr>
                                    </p:animEffect>
                                  </p:childTnLst>
                                </p:cTn>
                              </p:par>
                              <p:par>
                                <p:cTn id="92" presetID="49" presetClass="entr" presetSubtype="0" decel="100000" fill="hold" nodeType="withEffect">
                                  <p:stCondLst>
                                    <p:cond delay="250"/>
                                  </p:stCondLst>
                                  <p:childTnLst>
                                    <p:set>
                                      <p:cBhvr>
                                        <p:cTn id="93" dur="1" fill="hold">
                                          <p:stCondLst>
                                            <p:cond delay="0"/>
                                          </p:stCondLst>
                                        </p:cTn>
                                        <p:tgtEl>
                                          <p:spTgt spid="211"/>
                                        </p:tgtEl>
                                        <p:attrNameLst>
                                          <p:attrName>style.visibility</p:attrName>
                                        </p:attrNameLst>
                                      </p:cBhvr>
                                      <p:to>
                                        <p:strVal val="visible"/>
                                      </p:to>
                                    </p:set>
                                    <p:anim calcmode="lin" valueType="num">
                                      <p:cBhvr>
                                        <p:cTn id="94" dur="1250" fill="hold"/>
                                        <p:tgtEl>
                                          <p:spTgt spid="211"/>
                                        </p:tgtEl>
                                        <p:attrNameLst>
                                          <p:attrName>ppt_w</p:attrName>
                                        </p:attrNameLst>
                                      </p:cBhvr>
                                      <p:tavLst>
                                        <p:tav tm="0">
                                          <p:val>
                                            <p:fltVal val="0"/>
                                          </p:val>
                                        </p:tav>
                                        <p:tav tm="100000">
                                          <p:val>
                                            <p:strVal val="#ppt_w"/>
                                          </p:val>
                                        </p:tav>
                                      </p:tavLst>
                                    </p:anim>
                                    <p:anim calcmode="lin" valueType="num">
                                      <p:cBhvr>
                                        <p:cTn id="95" dur="1250" fill="hold"/>
                                        <p:tgtEl>
                                          <p:spTgt spid="211"/>
                                        </p:tgtEl>
                                        <p:attrNameLst>
                                          <p:attrName>ppt_h</p:attrName>
                                        </p:attrNameLst>
                                      </p:cBhvr>
                                      <p:tavLst>
                                        <p:tav tm="0">
                                          <p:val>
                                            <p:fltVal val="0"/>
                                          </p:val>
                                        </p:tav>
                                        <p:tav tm="100000">
                                          <p:val>
                                            <p:strVal val="#ppt_h"/>
                                          </p:val>
                                        </p:tav>
                                      </p:tavLst>
                                    </p:anim>
                                    <p:anim calcmode="lin" valueType="num">
                                      <p:cBhvr>
                                        <p:cTn id="96" dur="1250" fill="hold"/>
                                        <p:tgtEl>
                                          <p:spTgt spid="211"/>
                                        </p:tgtEl>
                                        <p:attrNameLst>
                                          <p:attrName>style.rotation</p:attrName>
                                        </p:attrNameLst>
                                      </p:cBhvr>
                                      <p:tavLst>
                                        <p:tav tm="0">
                                          <p:val>
                                            <p:fltVal val="360"/>
                                          </p:val>
                                        </p:tav>
                                        <p:tav tm="100000">
                                          <p:val>
                                            <p:fltVal val="0"/>
                                          </p:val>
                                        </p:tav>
                                      </p:tavLst>
                                    </p:anim>
                                    <p:animEffect transition="in" filter="fade">
                                      <p:cBhvr>
                                        <p:cTn id="97" dur="1250"/>
                                        <p:tgtEl>
                                          <p:spTgt spid="211"/>
                                        </p:tgtEl>
                                      </p:cBhvr>
                                    </p:animEffect>
                                  </p:childTnLst>
                                </p:cTn>
                              </p:par>
                              <p:par>
                                <p:cTn id="98" presetID="49" presetClass="entr" presetSubtype="0" decel="100000" fill="hold" nodeType="withEffect">
                                  <p:stCondLst>
                                    <p:cond delay="0"/>
                                  </p:stCondLst>
                                  <p:childTnLst>
                                    <p:set>
                                      <p:cBhvr>
                                        <p:cTn id="99" dur="1" fill="hold">
                                          <p:stCondLst>
                                            <p:cond delay="0"/>
                                          </p:stCondLst>
                                        </p:cTn>
                                        <p:tgtEl>
                                          <p:spTgt spid="299"/>
                                        </p:tgtEl>
                                        <p:attrNameLst>
                                          <p:attrName>style.visibility</p:attrName>
                                        </p:attrNameLst>
                                      </p:cBhvr>
                                      <p:to>
                                        <p:strVal val="visible"/>
                                      </p:to>
                                    </p:set>
                                    <p:anim calcmode="lin" valueType="num">
                                      <p:cBhvr>
                                        <p:cTn id="100" dur="1750" fill="hold"/>
                                        <p:tgtEl>
                                          <p:spTgt spid="299"/>
                                        </p:tgtEl>
                                        <p:attrNameLst>
                                          <p:attrName>ppt_w</p:attrName>
                                        </p:attrNameLst>
                                      </p:cBhvr>
                                      <p:tavLst>
                                        <p:tav tm="0">
                                          <p:val>
                                            <p:fltVal val="0"/>
                                          </p:val>
                                        </p:tav>
                                        <p:tav tm="100000">
                                          <p:val>
                                            <p:strVal val="#ppt_w"/>
                                          </p:val>
                                        </p:tav>
                                      </p:tavLst>
                                    </p:anim>
                                    <p:anim calcmode="lin" valueType="num">
                                      <p:cBhvr>
                                        <p:cTn id="101" dur="1750" fill="hold"/>
                                        <p:tgtEl>
                                          <p:spTgt spid="299"/>
                                        </p:tgtEl>
                                        <p:attrNameLst>
                                          <p:attrName>ppt_h</p:attrName>
                                        </p:attrNameLst>
                                      </p:cBhvr>
                                      <p:tavLst>
                                        <p:tav tm="0">
                                          <p:val>
                                            <p:fltVal val="0"/>
                                          </p:val>
                                        </p:tav>
                                        <p:tav tm="100000">
                                          <p:val>
                                            <p:strVal val="#ppt_h"/>
                                          </p:val>
                                        </p:tav>
                                      </p:tavLst>
                                    </p:anim>
                                    <p:anim calcmode="lin" valueType="num">
                                      <p:cBhvr>
                                        <p:cTn id="102" dur="1750" fill="hold"/>
                                        <p:tgtEl>
                                          <p:spTgt spid="299"/>
                                        </p:tgtEl>
                                        <p:attrNameLst>
                                          <p:attrName>style.rotation</p:attrName>
                                        </p:attrNameLst>
                                      </p:cBhvr>
                                      <p:tavLst>
                                        <p:tav tm="0">
                                          <p:val>
                                            <p:fltVal val="360"/>
                                          </p:val>
                                        </p:tav>
                                        <p:tav tm="100000">
                                          <p:val>
                                            <p:fltVal val="0"/>
                                          </p:val>
                                        </p:tav>
                                      </p:tavLst>
                                    </p:anim>
                                    <p:animEffect transition="in" filter="fade">
                                      <p:cBhvr>
                                        <p:cTn id="103" dur="1750"/>
                                        <p:tgtEl>
                                          <p:spTgt spid="299"/>
                                        </p:tgtEl>
                                      </p:cBhvr>
                                    </p:animEffect>
                                  </p:childTnLst>
                                </p:cTn>
                              </p:par>
                              <p:par>
                                <p:cTn id="104" presetID="49" presetClass="entr" presetSubtype="0" decel="100000" fill="hold" nodeType="withEffect">
                                  <p:stCondLst>
                                    <p:cond delay="0"/>
                                  </p:stCondLst>
                                  <p:childTnLst>
                                    <p:set>
                                      <p:cBhvr>
                                        <p:cTn id="105" dur="1" fill="hold">
                                          <p:stCondLst>
                                            <p:cond delay="0"/>
                                          </p:stCondLst>
                                        </p:cTn>
                                        <p:tgtEl>
                                          <p:spTgt spid="387"/>
                                        </p:tgtEl>
                                        <p:attrNameLst>
                                          <p:attrName>style.visibility</p:attrName>
                                        </p:attrNameLst>
                                      </p:cBhvr>
                                      <p:to>
                                        <p:strVal val="visible"/>
                                      </p:to>
                                    </p:set>
                                    <p:anim calcmode="lin" valueType="num">
                                      <p:cBhvr>
                                        <p:cTn id="106" dur="1250" fill="hold"/>
                                        <p:tgtEl>
                                          <p:spTgt spid="387"/>
                                        </p:tgtEl>
                                        <p:attrNameLst>
                                          <p:attrName>ppt_w</p:attrName>
                                        </p:attrNameLst>
                                      </p:cBhvr>
                                      <p:tavLst>
                                        <p:tav tm="0">
                                          <p:val>
                                            <p:fltVal val="0"/>
                                          </p:val>
                                        </p:tav>
                                        <p:tav tm="100000">
                                          <p:val>
                                            <p:strVal val="#ppt_w"/>
                                          </p:val>
                                        </p:tav>
                                      </p:tavLst>
                                    </p:anim>
                                    <p:anim calcmode="lin" valueType="num">
                                      <p:cBhvr>
                                        <p:cTn id="107" dur="1250" fill="hold"/>
                                        <p:tgtEl>
                                          <p:spTgt spid="387"/>
                                        </p:tgtEl>
                                        <p:attrNameLst>
                                          <p:attrName>ppt_h</p:attrName>
                                        </p:attrNameLst>
                                      </p:cBhvr>
                                      <p:tavLst>
                                        <p:tav tm="0">
                                          <p:val>
                                            <p:fltVal val="0"/>
                                          </p:val>
                                        </p:tav>
                                        <p:tav tm="100000">
                                          <p:val>
                                            <p:strVal val="#ppt_h"/>
                                          </p:val>
                                        </p:tav>
                                      </p:tavLst>
                                    </p:anim>
                                    <p:anim calcmode="lin" valueType="num">
                                      <p:cBhvr>
                                        <p:cTn id="108" dur="1250" fill="hold"/>
                                        <p:tgtEl>
                                          <p:spTgt spid="387"/>
                                        </p:tgtEl>
                                        <p:attrNameLst>
                                          <p:attrName>style.rotation</p:attrName>
                                        </p:attrNameLst>
                                      </p:cBhvr>
                                      <p:tavLst>
                                        <p:tav tm="0">
                                          <p:val>
                                            <p:fltVal val="360"/>
                                          </p:val>
                                        </p:tav>
                                        <p:tav tm="100000">
                                          <p:val>
                                            <p:fltVal val="0"/>
                                          </p:val>
                                        </p:tav>
                                      </p:tavLst>
                                    </p:anim>
                                    <p:animEffect transition="in" filter="fade">
                                      <p:cBhvr>
                                        <p:cTn id="109" dur="1250"/>
                                        <p:tgtEl>
                                          <p:spTgt spid="387"/>
                                        </p:tgtEl>
                                      </p:cBhvr>
                                    </p:animEffect>
                                  </p:childTnLst>
                                </p:cTn>
                              </p:par>
                              <p:par>
                                <p:cTn id="110" presetID="49" presetClass="entr" presetSubtype="0" decel="100000" fill="hold" nodeType="withEffect">
                                  <p:stCondLst>
                                    <p:cond delay="0"/>
                                  </p:stCondLst>
                                  <p:childTnLst>
                                    <p:set>
                                      <p:cBhvr>
                                        <p:cTn id="111" dur="1" fill="hold">
                                          <p:stCondLst>
                                            <p:cond delay="0"/>
                                          </p:stCondLst>
                                        </p:cTn>
                                        <p:tgtEl>
                                          <p:spTgt spid="475"/>
                                        </p:tgtEl>
                                        <p:attrNameLst>
                                          <p:attrName>style.visibility</p:attrName>
                                        </p:attrNameLst>
                                      </p:cBhvr>
                                      <p:to>
                                        <p:strVal val="visible"/>
                                      </p:to>
                                    </p:set>
                                    <p:anim calcmode="lin" valueType="num">
                                      <p:cBhvr>
                                        <p:cTn id="112" dur="1250" fill="hold"/>
                                        <p:tgtEl>
                                          <p:spTgt spid="475"/>
                                        </p:tgtEl>
                                        <p:attrNameLst>
                                          <p:attrName>ppt_w</p:attrName>
                                        </p:attrNameLst>
                                      </p:cBhvr>
                                      <p:tavLst>
                                        <p:tav tm="0">
                                          <p:val>
                                            <p:fltVal val="0"/>
                                          </p:val>
                                        </p:tav>
                                        <p:tav tm="100000">
                                          <p:val>
                                            <p:strVal val="#ppt_w"/>
                                          </p:val>
                                        </p:tav>
                                      </p:tavLst>
                                    </p:anim>
                                    <p:anim calcmode="lin" valueType="num">
                                      <p:cBhvr>
                                        <p:cTn id="113" dur="1250" fill="hold"/>
                                        <p:tgtEl>
                                          <p:spTgt spid="475"/>
                                        </p:tgtEl>
                                        <p:attrNameLst>
                                          <p:attrName>ppt_h</p:attrName>
                                        </p:attrNameLst>
                                      </p:cBhvr>
                                      <p:tavLst>
                                        <p:tav tm="0">
                                          <p:val>
                                            <p:fltVal val="0"/>
                                          </p:val>
                                        </p:tav>
                                        <p:tav tm="100000">
                                          <p:val>
                                            <p:strVal val="#ppt_h"/>
                                          </p:val>
                                        </p:tav>
                                      </p:tavLst>
                                    </p:anim>
                                    <p:anim calcmode="lin" valueType="num">
                                      <p:cBhvr>
                                        <p:cTn id="114" dur="1250" fill="hold"/>
                                        <p:tgtEl>
                                          <p:spTgt spid="475"/>
                                        </p:tgtEl>
                                        <p:attrNameLst>
                                          <p:attrName>style.rotation</p:attrName>
                                        </p:attrNameLst>
                                      </p:cBhvr>
                                      <p:tavLst>
                                        <p:tav tm="0">
                                          <p:val>
                                            <p:fltVal val="360"/>
                                          </p:val>
                                        </p:tav>
                                        <p:tav tm="100000">
                                          <p:val>
                                            <p:fltVal val="0"/>
                                          </p:val>
                                        </p:tav>
                                      </p:tavLst>
                                    </p:anim>
                                    <p:animEffect transition="in" filter="fade">
                                      <p:cBhvr>
                                        <p:cTn id="115" dur="1250"/>
                                        <p:tgtEl>
                                          <p:spTgt spid="475"/>
                                        </p:tgtEl>
                                      </p:cBhvr>
                                    </p:animEffect>
                                  </p:childTnLst>
                                </p:cTn>
                              </p:par>
                              <p:par>
                                <p:cTn id="116" presetID="8" presetClass="emph" presetSubtype="0" repeatCount="3000" fill="hold" grpId="1" nodeType="withEffect">
                                  <p:stCondLst>
                                    <p:cond delay="0"/>
                                  </p:stCondLst>
                                  <p:childTnLst>
                                    <p:animRot by="21600000">
                                      <p:cBhvr>
                                        <p:cTn id="117" dur="1500" fill="hold"/>
                                        <p:tgtEl>
                                          <p:spTgt spid="24"/>
                                        </p:tgtEl>
                                        <p:attrNameLst>
                                          <p:attrName>r</p:attrName>
                                        </p:attrNameLst>
                                      </p:cBhvr>
                                    </p:animRot>
                                  </p:childTnLst>
                                </p:cTn>
                              </p:par>
                              <p:par>
                                <p:cTn id="118" presetID="8" presetClass="emph" presetSubtype="0" repeatCount="3000" fill="hold" grpId="1" nodeType="withEffect">
                                  <p:stCondLst>
                                    <p:cond delay="100"/>
                                  </p:stCondLst>
                                  <p:childTnLst>
                                    <p:animRot by="21600000">
                                      <p:cBhvr>
                                        <p:cTn id="119" dur="1500" fill="hold"/>
                                        <p:tgtEl>
                                          <p:spTgt spid="25"/>
                                        </p:tgtEl>
                                        <p:attrNameLst>
                                          <p:attrName>r</p:attrName>
                                        </p:attrNameLst>
                                      </p:cBhvr>
                                    </p:animRot>
                                  </p:childTnLst>
                                </p:cTn>
                              </p:par>
                              <p:par>
                                <p:cTn id="120" presetID="8" presetClass="emph" presetSubtype="0" repeatCount="3000" fill="hold" grpId="1" nodeType="withEffect">
                                  <p:stCondLst>
                                    <p:cond delay="0"/>
                                  </p:stCondLst>
                                  <p:childTnLst>
                                    <p:animRot by="21600000">
                                      <p:cBhvr>
                                        <p:cTn id="121" dur="1500" fill="hold"/>
                                        <p:tgtEl>
                                          <p:spTgt spid="26"/>
                                        </p:tgtEl>
                                        <p:attrNameLst>
                                          <p:attrName>r</p:attrName>
                                        </p:attrNameLst>
                                      </p:cBhvr>
                                    </p:animRot>
                                  </p:childTnLst>
                                </p:cTn>
                              </p:par>
                              <p:par>
                                <p:cTn id="122" presetID="8" presetClass="emph" presetSubtype="0" repeatCount="3000" fill="hold" grpId="1" nodeType="withEffect">
                                  <p:stCondLst>
                                    <p:cond delay="0"/>
                                  </p:stCondLst>
                                  <p:childTnLst>
                                    <p:animRot by="21600000">
                                      <p:cBhvr>
                                        <p:cTn id="123" dur="1500" fill="hold"/>
                                        <p:tgtEl>
                                          <p:spTgt spid="27"/>
                                        </p:tgtEl>
                                        <p:attrNameLst>
                                          <p:attrName>r</p:attrName>
                                        </p:attrNameLst>
                                      </p:cBhvr>
                                    </p:animRot>
                                  </p:childTnLst>
                                </p:cTn>
                              </p:par>
                              <p:par>
                                <p:cTn id="124" presetID="8" presetClass="emph" presetSubtype="0" repeatCount="3000" fill="hold" grpId="1" nodeType="withEffect">
                                  <p:stCondLst>
                                    <p:cond delay="100"/>
                                  </p:stCondLst>
                                  <p:childTnLst>
                                    <p:animRot by="-21600000">
                                      <p:cBhvr>
                                        <p:cTn id="125" dur="1500" fill="hold"/>
                                        <p:tgtEl>
                                          <p:spTgt spid="28"/>
                                        </p:tgtEl>
                                        <p:attrNameLst>
                                          <p:attrName>r</p:attrName>
                                        </p:attrNameLst>
                                      </p:cBhvr>
                                    </p:animRot>
                                  </p:childTnLst>
                                </p:cTn>
                              </p:par>
                              <p:par>
                                <p:cTn id="126" presetID="8" presetClass="emph" presetSubtype="0" repeatCount="3000" fill="hold" grpId="1" nodeType="withEffect">
                                  <p:stCondLst>
                                    <p:cond delay="0"/>
                                  </p:stCondLst>
                                  <p:childTnLst>
                                    <p:animRot by="-21600000">
                                      <p:cBhvr>
                                        <p:cTn id="127" dur="1500" fill="hold"/>
                                        <p:tgtEl>
                                          <p:spTgt spid="29"/>
                                        </p:tgtEl>
                                        <p:attrNameLst>
                                          <p:attrName>r</p:attrName>
                                        </p:attrNameLst>
                                      </p:cBhvr>
                                    </p:animRot>
                                  </p:childTnLst>
                                </p:cTn>
                              </p:par>
                              <p:par>
                                <p:cTn id="128" presetID="8" presetClass="emph" presetSubtype="0" repeatCount="3000" fill="hold" nodeType="withEffect">
                                  <p:stCondLst>
                                    <p:cond delay="0"/>
                                  </p:stCondLst>
                                  <p:childTnLst>
                                    <p:animRot by="-21600000">
                                      <p:cBhvr>
                                        <p:cTn id="129" dur="1500" fill="hold"/>
                                        <p:tgtEl>
                                          <p:spTgt spid="123"/>
                                        </p:tgtEl>
                                        <p:attrNameLst>
                                          <p:attrName>r</p:attrName>
                                        </p:attrNameLst>
                                      </p:cBhvr>
                                    </p:animRot>
                                  </p:childTnLst>
                                </p:cTn>
                              </p:par>
                              <p:par>
                                <p:cTn id="130" presetID="8" presetClass="emph" presetSubtype="0" repeatCount="3000" fill="hold" grpId="1" nodeType="withEffect">
                                  <p:stCondLst>
                                    <p:cond delay="0"/>
                                  </p:stCondLst>
                                  <p:childTnLst>
                                    <p:animRot by="-21600000">
                                      <p:cBhvr>
                                        <p:cTn id="131" dur="1500" fill="hold"/>
                                        <p:tgtEl>
                                          <p:spTgt spid="30"/>
                                        </p:tgtEl>
                                        <p:attrNameLst>
                                          <p:attrName>r</p:attrName>
                                        </p:attrNameLst>
                                      </p:cBhvr>
                                    </p:animRot>
                                  </p:childTnLst>
                                </p:cTn>
                              </p:par>
                              <p:par>
                                <p:cTn id="132" presetID="8" presetClass="emph" presetSubtype="0" repeatCount="3000" fill="hold" nodeType="withEffect">
                                  <p:stCondLst>
                                    <p:cond delay="0"/>
                                  </p:stCondLst>
                                  <p:childTnLst>
                                    <p:animRot by="-21600000">
                                      <p:cBhvr>
                                        <p:cTn id="133" dur="1500" fill="hold"/>
                                        <p:tgtEl>
                                          <p:spTgt spid="31"/>
                                        </p:tgtEl>
                                        <p:attrNameLst>
                                          <p:attrName>r</p:attrName>
                                        </p:attrNameLst>
                                      </p:cBhvr>
                                    </p:animRot>
                                  </p:childTnLst>
                                </p:cTn>
                              </p:par>
                              <p:par>
                                <p:cTn id="134" presetID="8" presetClass="emph" presetSubtype="0" repeatCount="3000" fill="hold" nodeType="withEffect">
                                  <p:stCondLst>
                                    <p:cond delay="0"/>
                                  </p:stCondLst>
                                  <p:childTnLst>
                                    <p:animRot by="21600000">
                                      <p:cBhvr>
                                        <p:cTn id="135" dur="1500" fill="hold"/>
                                        <p:tgtEl>
                                          <p:spTgt spid="211"/>
                                        </p:tgtEl>
                                        <p:attrNameLst>
                                          <p:attrName>r</p:attrName>
                                        </p:attrNameLst>
                                      </p:cBhvr>
                                    </p:animRot>
                                  </p:childTnLst>
                                </p:cTn>
                              </p:par>
                              <p:par>
                                <p:cTn id="136" presetID="8" presetClass="emph" presetSubtype="0" repeatCount="3000" fill="hold" nodeType="withEffect">
                                  <p:stCondLst>
                                    <p:cond delay="0"/>
                                  </p:stCondLst>
                                  <p:childTnLst>
                                    <p:animRot by="21600000">
                                      <p:cBhvr>
                                        <p:cTn id="137" dur="1500" fill="hold"/>
                                        <p:tgtEl>
                                          <p:spTgt spid="299"/>
                                        </p:tgtEl>
                                        <p:attrNameLst>
                                          <p:attrName>r</p:attrName>
                                        </p:attrNameLst>
                                      </p:cBhvr>
                                    </p:animRot>
                                  </p:childTnLst>
                                </p:cTn>
                              </p:par>
                              <p:par>
                                <p:cTn id="138" presetID="8" presetClass="emph" presetSubtype="0" repeatCount="3000" fill="hold" nodeType="withEffect">
                                  <p:stCondLst>
                                    <p:cond delay="0"/>
                                  </p:stCondLst>
                                  <p:childTnLst>
                                    <p:animRot by="21600000">
                                      <p:cBhvr>
                                        <p:cTn id="139" dur="1500" fill="hold"/>
                                        <p:tgtEl>
                                          <p:spTgt spid="387"/>
                                        </p:tgtEl>
                                        <p:attrNameLst>
                                          <p:attrName>r</p:attrName>
                                        </p:attrNameLst>
                                      </p:cBhvr>
                                    </p:animRot>
                                  </p:childTnLst>
                                </p:cTn>
                              </p:par>
                              <p:par>
                                <p:cTn id="140" presetID="8" presetClass="emph" presetSubtype="0" repeatCount="3000" fill="hold" nodeType="withEffect">
                                  <p:stCondLst>
                                    <p:cond delay="0"/>
                                  </p:stCondLst>
                                  <p:childTnLst>
                                    <p:animRot by="21600000">
                                      <p:cBhvr>
                                        <p:cTn id="141" dur="1500" fill="hold"/>
                                        <p:tgtEl>
                                          <p:spTgt spid="475"/>
                                        </p:tgtEl>
                                        <p:attrNameLst>
                                          <p:attrName>r</p:attrName>
                                        </p:attrNameLst>
                                      </p:cBhvr>
                                    </p:animRot>
                                  </p:childTnLst>
                                </p:cTn>
                              </p:par>
                              <p:par>
                                <p:cTn id="142" presetID="1" presetClass="entr" presetSubtype="0" fill="hold" nodeType="withEffect">
                                  <p:stCondLst>
                                    <p:cond delay="500"/>
                                  </p:stCondLst>
                                  <p:childTnLst>
                                    <p:set>
                                      <p:cBhvr>
                                        <p:cTn id="143" dur="1" fill="hold">
                                          <p:stCondLst>
                                            <p:cond delay="0"/>
                                          </p:stCondLst>
                                        </p:cTn>
                                        <p:tgtEl>
                                          <p:spTgt spid="510"/>
                                        </p:tgtEl>
                                        <p:attrNameLst>
                                          <p:attrName>style.visibility</p:attrName>
                                        </p:attrNameLst>
                                      </p:cBhvr>
                                      <p:to>
                                        <p:strVal val="visible"/>
                                      </p:to>
                                    </p:set>
                                  </p:childTnLst>
                                </p:cTn>
                              </p:par>
                              <p:par>
                                <p:cTn id="144" presetID="6" presetClass="emph" presetSubtype="0" repeatCount="4000" fill="hold" nodeType="withEffect">
                                  <p:stCondLst>
                                    <p:cond delay="500"/>
                                  </p:stCondLst>
                                  <p:childTnLst>
                                    <p:animScale>
                                      <p:cBhvr>
                                        <p:cTn id="145" dur="1000" fill="hold"/>
                                        <p:tgtEl>
                                          <p:spTgt spid="510"/>
                                        </p:tgtEl>
                                      </p:cBhvr>
                                      <p:by x="200000" y="200000"/>
                                    </p:animScale>
                                  </p:childTnLst>
                                </p:cTn>
                              </p:par>
                              <p:par>
                                <p:cTn id="146" presetID="10" presetClass="exit" presetSubtype="0" repeatCount="4000" fill="hold" nodeType="withEffect">
                                  <p:stCondLst>
                                    <p:cond delay="500"/>
                                  </p:stCondLst>
                                  <p:childTnLst>
                                    <p:animEffect transition="out" filter="fade">
                                      <p:cBhvr>
                                        <p:cTn id="147" dur="1000"/>
                                        <p:tgtEl>
                                          <p:spTgt spid="510"/>
                                        </p:tgtEl>
                                      </p:cBhvr>
                                    </p:animEffect>
                                    <p:set>
                                      <p:cBhvr>
                                        <p:cTn id="148" dur="1" fill="hold">
                                          <p:stCondLst>
                                            <p:cond delay="999"/>
                                          </p:stCondLst>
                                        </p:cTn>
                                        <p:tgtEl>
                                          <p:spTgt spid="510"/>
                                        </p:tgtEl>
                                        <p:attrNameLst>
                                          <p:attrName>style.visibility</p:attrName>
                                        </p:attrNameLst>
                                      </p:cBhvr>
                                      <p:to>
                                        <p:strVal val="hidden"/>
                                      </p:to>
                                    </p:set>
                                  </p:childTnLst>
                                </p:cTn>
                              </p:par>
                              <p:par>
                                <p:cTn id="149" presetID="23" presetClass="entr" presetSubtype="36" fill="hold" nodeType="withEffect">
                                  <p:stCondLst>
                                    <p:cond delay="750"/>
                                  </p:stCondLst>
                                  <p:childTnLst>
                                    <p:set>
                                      <p:cBhvr>
                                        <p:cTn id="150" dur="1" fill="hold">
                                          <p:stCondLst>
                                            <p:cond delay="0"/>
                                          </p:stCondLst>
                                        </p:cTn>
                                        <p:tgtEl>
                                          <p:spTgt spid="513"/>
                                        </p:tgtEl>
                                        <p:attrNameLst>
                                          <p:attrName>style.visibility</p:attrName>
                                        </p:attrNameLst>
                                      </p:cBhvr>
                                      <p:to>
                                        <p:strVal val="visible"/>
                                      </p:to>
                                    </p:set>
                                    <p:anim calcmode="lin" valueType="num">
                                      <p:cBhvr>
                                        <p:cTn id="151" dur="500" fill="hold"/>
                                        <p:tgtEl>
                                          <p:spTgt spid="513"/>
                                        </p:tgtEl>
                                        <p:attrNameLst>
                                          <p:attrName>ppt_w</p:attrName>
                                        </p:attrNameLst>
                                      </p:cBhvr>
                                      <p:tavLst>
                                        <p:tav tm="0">
                                          <p:val>
                                            <p:strVal val="(6*min(max(#ppt_w*#ppt_h,.3),1)-7.4)/-.7*#ppt_w"/>
                                          </p:val>
                                        </p:tav>
                                        <p:tav tm="100000">
                                          <p:val>
                                            <p:strVal val="#ppt_w"/>
                                          </p:val>
                                        </p:tav>
                                      </p:tavLst>
                                    </p:anim>
                                    <p:anim calcmode="lin" valueType="num">
                                      <p:cBhvr>
                                        <p:cTn id="152" dur="500" fill="hold"/>
                                        <p:tgtEl>
                                          <p:spTgt spid="513"/>
                                        </p:tgtEl>
                                        <p:attrNameLst>
                                          <p:attrName>ppt_h</p:attrName>
                                        </p:attrNameLst>
                                      </p:cBhvr>
                                      <p:tavLst>
                                        <p:tav tm="0">
                                          <p:val>
                                            <p:strVal val="(6*min(max(#ppt_w*#ppt_h,.3),1)-7.4)/-.7*#ppt_h"/>
                                          </p:val>
                                        </p:tav>
                                        <p:tav tm="100000">
                                          <p:val>
                                            <p:strVal val="#ppt_h"/>
                                          </p:val>
                                        </p:tav>
                                      </p:tavLst>
                                    </p:anim>
                                    <p:anim calcmode="lin" valueType="num">
                                      <p:cBhvr>
                                        <p:cTn id="153" dur="500" fill="hold"/>
                                        <p:tgtEl>
                                          <p:spTgt spid="513"/>
                                        </p:tgtEl>
                                        <p:attrNameLst>
                                          <p:attrName>ppt_x</p:attrName>
                                        </p:attrNameLst>
                                      </p:cBhvr>
                                      <p:tavLst>
                                        <p:tav tm="0">
                                          <p:val>
                                            <p:fltVal val="0.5"/>
                                          </p:val>
                                        </p:tav>
                                        <p:tav tm="100000">
                                          <p:val>
                                            <p:strVal val="#ppt_x"/>
                                          </p:val>
                                        </p:tav>
                                      </p:tavLst>
                                    </p:anim>
                                    <p:anim calcmode="lin" valueType="num">
                                      <p:cBhvr>
                                        <p:cTn id="154" dur="500" fill="hold"/>
                                        <p:tgtEl>
                                          <p:spTgt spid="513"/>
                                        </p:tgtEl>
                                        <p:attrNameLst>
                                          <p:attrName>ppt_y</p:attrName>
                                        </p:attrNameLst>
                                      </p:cBhvr>
                                      <p:tavLst>
                                        <p:tav tm="0">
                                          <p:val>
                                            <p:strVal val="1+(6*min(max(#ppt_w*#ppt_h,.3),1)-7.4)/-.7*#ppt_h/2"/>
                                          </p:val>
                                        </p:tav>
                                        <p:tav tm="100000">
                                          <p:val>
                                            <p:strVal val="#ppt_y"/>
                                          </p:val>
                                        </p:tav>
                                      </p:tavLst>
                                    </p:anim>
                                  </p:childTnLst>
                                </p:cTn>
                              </p:par>
                              <p:par>
                                <p:cTn id="155" presetID="23" presetClass="entr" presetSubtype="36" fill="hold" nodeType="withEffect">
                                  <p:stCondLst>
                                    <p:cond delay="1000"/>
                                  </p:stCondLst>
                                  <p:childTnLst>
                                    <p:set>
                                      <p:cBhvr>
                                        <p:cTn id="156" dur="1" fill="hold">
                                          <p:stCondLst>
                                            <p:cond delay="0"/>
                                          </p:stCondLst>
                                        </p:cTn>
                                        <p:tgtEl>
                                          <p:spTgt spid="520"/>
                                        </p:tgtEl>
                                        <p:attrNameLst>
                                          <p:attrName>style.visibility</p:attrName>
                                        </p:attrNameLst>
                                      </p:cBhvr>
                                      <p:to>
                                        <p:strVal val="visible"/>
                                      </p:to>
                                    </p:set>
                                    <p:anim calcmode="lin" valueType="num">
                                      <p:cBhvr>
                                        <p:cTn id="157" dur="500" fill="hold"/>
                                        <p:tgtEl>
                                          <p:spTgt spid="520"/>
                                        </p:tgtEl>
                                        <p:attrNameLst>
                                          <p:attrName>ppt_w</p:attrName>
                                        </p:attrNameLst>
                                      </p:cBhvr>
                                      <p:tavLst>
                                        <p:tav tm="0">
                                          <p:val>
                                            <p:strVal val="(6*min(max(#ppt_w*#ppt_h,.3),1)-7.4)/-.7*#ppt_w"/>
                                          </p:val>
                                        </p:tav>
                                        <p:tav tm="100000">
                                          <p:val>
                                            <p:strVal val="#ppt_w"/>
                                          </p:val>
                                        </p:tav>
                                      </p:tavLst>
                                    </p:anim>
                                    <p:anim calcmode="lin" valueType="num">
                                      <p:cBhvr>
                                        <p:cTn id="158" dur="500" fill="hold"/>
                                        <p:tgtEl>
                                          <p:spTgt spid="520"/>
                                        </p:tgtEl>
                                        <p:attrNameLst>
                                          <p:attrName>ppt_h</p:attrName>
                                        </p:attrNameLst>
                                      </p:cBhvr>
                                      <p:tavLst>
                                        <p:tav tm="0">
                                          <p:val>
                                            <p:strVal val="(6*min(max(#ppt_w*#ppt_h,.3),1)-7.4)/-.7*#ppt_h"/>
                                          </p:val>
                                        </p:tav>
                                        <p:tav tm="100000">
                                          <p:val>
                                            <p:strVal val="#ppt_h"/>
                                          </p:val>
                                        </p:tav>
                                      </p:tavLst>
                                    </p:anim>
                                    <p:anim calcmode="lin" valueType="num">
                                      <p:cBhvr>
                                        <p:cTn id="159" dur="500" fill="hold"/>
                                        <p:tgtEl>
                                          <p:spTgt spid="520"/>
                                        </p:tgtEl>
                                        <p:attrNameLst>
                                          <p:attrName>ppt_x</p:attrName>
                                        </p:attrNameLst>
                                      </p:cBhvr>
                                      <p:tavLst>
                                        <p:tav tm="0">
                                          <p:val>
                                            <p:fltVal val="0.5"/>
                                          </p:val>
                                        </p:tav>
                                        <p:tav tm="100000">
                                          <p:val>
                                            <p:strVal val="#ppt_x"/>
                                          </p:val>
                                        </p:tav>
                                      </p:tavLst>
                                    </p:anim>
                                    <p:anim calcmode="lin" valueType="num">
                                      <p:cBhvr>
                                        <p:cTn id="160" dur="500" fill="hold"/>
                                        <p:tgtEl>
                                          <p:spTgt spid="520"/>
                                        </p:tgtEl>
                                        <p:attrNameLst>
                                          <p:attrName>ppt_y</p:attrName>
                                        </p:attrNameLst>
                                      </p:cBhvr>
                                      <p:tavLst>
                                        <p:tav tm="0">
                                          <p:val>
                                            <p:strVal val="1+(6*min(max(#ppt_w*#ppt_h,.3),1)-7.4)/-.7*#ppt_h/2"/>
                                          </p:val>
                                        </p:tav>
                                        <p:tav tm="100000">
                                          <p:val>
                                            <p:strVal val="#ppt_y"/>
                                          </p:val>
                                        </p:tav>
                                      </p:tavLst>
                                    </p:anim>
                                  </p:childTnLst>
                                </p:cTn>
                              </p:par>
                              <p:par>
                                <p:cTn id="161" presetID="23" presetClass="entr" presetSubtype="36" fill="hold" nodeType="withEffect">
                                  <p:stCondLst>
                                    <p:cond delay="1250"/>
                                  </p:stCondLst>
                                  <p:childTnLst>
                                    <p:set>
                                      <p:cBhvr>
                                        <p:cTn id="162" dur="1" fill="hold">
                                          <p:stCondLst>
                                            <p:cond delay="0"/>
                                          </p:stCondLst>
                                        </p:cTn>
                                        <p:tgtEl>
                                          <p:spTgt spid="540"/>
                                        </p:tgtEl>
                                        <p:attrNameLst>
                                          <p:attrName>style.visibility</p:attrName>
                                        </p:attrNameLst>
                                      </p:cBhvr>
                                      <p:to>
                                        <p:strVal val="visible"/>
                                      </p:to>
                                    </p:set>
                                    <p:anim calcmode="lin" valueType="num">
                                      <p:cBhvr>
                                        <p:cTn id="163" dur="500" fill="hold"/>
                                        <p:tgtEl>
                                          <p:spTgt spid="540"/>
                                        </p:tgtEl>
                                        <p:attrNameLst>
                                          <p:attrName>ppt_w</p:attrName>
                                        </p:attrNameLst>
                                      </p:cBhvr>
                                      <p:tavLst>
                                        <p:tav tm="0">
                                          <p:val>
                                            <p:strVal val="(6*min(max(#ppt_w*#ppt_h,.3),1)-7.4)/-.7*#ppt_w"/>
                                          </p:val>
                                        </p:tav>
                                        <p:tav tm="100000">
                                          <p:val>
                                            <p:strVal val="#ppt_w"/>
                                          </p:val>
                                        </p:tav>
                                      </p:tavLst>
                                    </p:anim>
                                    <p:anim calcmode="lin" valueType="num">
                                      <p:cBhvr>
                                        <p:cTn id="164" dur="500" fill="hold"/>
                                        <p:tgtEl>
                                          <p:spTgt spid="540"/>
                                        </p:tgtEl>
                                        <p:attrNameLst>
                                          <p:attrName>ppt_h</p:attrName>
                                        </p:attrNameLst>
                                      </p:cBhvr>
                                      <p:tavLst>
                                        <p:tav tm="0">
                                          <p:val>
                                            <p:strVal val="(6*min(max(#ppt_w*#ppt_h,.3),1)-7.4)/-.7*#ppt_h"/>
                                          </p:val>
                                        </p:tav>
                                        <p:tav tm="100000">
                                          <p:val>
                                            <p:strVal val="#ppt_h"/>
                                          </p:val>
                                        </p:tav>
                                      </p:tavLst>
                                    </p:anim>
                                    <p:anim calcmode="lin" valueType="num">
                                      <p:cBhvr>
                                        <p:cTn id="165" dur="500" fill="hold"/>
                                        <p:tgtEl>
                                          <p:spTgt spid="540"/>
                                        </p:tgtEl>
                                        <p:attrNameLst>
                                          <p:attrName>ppt_x</p:attrName>
                                        </p:attrNameLst>
                                      </p:cBhvr>
                                      <p:tavLst>
                                        <p:tav tm="0">
                                          <p:val>
                                            <p:fltVal val="0.5"/>
                                          </p:val>
                                        </p:tav>
                                        <p:tav tm="100000">
                                          <p:val>
                                            <p:strVal val="#ppt_x"/>
                                          </p:val>
                                        </p:tav>
                                      </p:tavLst>
                                    </p:anim>
                                    <p:anim calcmode="lin" valueType="num">
                                      <p:cBhvr>
                                        <p:cTn id="166" dur="500" fill="hold"/>
                                        <p:tgtEl>
                                          <p:spTgt spid="540"/>
                                        </p:tgtEl>
                                        <p:attrNameLst>
                                          <p:attrName>ppt_y</p:attrName>
                                        </p:attrNameLst>
                                      </p:cBhvr>
                                      <p:tavLst>
                                        <p:tav tm="0">
                                          <p:val>
                                            <p:strVal val="1+(6*min(max(#ppt_w*#ppt_h,.3),1)-7.4)/-.7*#ppt_h/2"/>
                                          </p:val>
                                        </p:tav>
                                        <p:tav tm="100000">
                                          <p:val>
                                            <p:strVal val="#ppt_y"/>
                                          </p:val>
                                        </p:tav>
                                      </p:tavLst>
                                    </p:anim>
                                  </p:childTnLst>
                                </p:cTn>
                              </p:par>
                              <p:par>
                                <p:cTn id="167" presetID="23" presetClass="entr" presetSubtype="36" fill="hold" nodeType="withEffect">
                                  <p:stCondLst>
                                    <p:cond delay="1500"/>
                                  </p:stCondLst>
                                  <p:childTnLst>
                                    <p:set>
                                      <p:cBhvr>
                                        <p:cTn id="168" dur="1" fill="hold">
                                          <p:stCondLst>
                                            <p:cond delay="0"/>
                                          </p:stCondLst>
                                        </p:cTn>
                                        <p:tgtEl>
                                          <p:spTgt spid="526"/>
                                        </p:tgtEl>
                                        <p:attrNameLst>
                                          <p:attrName>style.visibility</p:attrName>
                                        </p:attrNameLst>
                                      </p:cBhvr>
                                      <p:to>
                                        <p:strVal val="visible"/>
                                      </p:to>
                                    </p:set>
                                    <p:anim calcmode="lin" valueType="num">
                                      <p:cBhvr>
                                        <p:cTn id="169" dur="500" fill="hold"/>
                                        <p:tgtEl>
                                          <p:spTgt spid="526"/>
                                        </p:tgtEl>
                                        <p:attrNameLst>
                                          <p:attrName>ppt_w</p:attrName>
                                        </p:attrNameLst>
                                      </p:cBhvr>
                                      <p:tavLst>
                                        <p:tav tm="0">
                                          <p:val>
                                            <p:strVal val="(6*min(max(#ppt_w*#ppt_h,.3),1)-7.4)/-.7*#ppt_w"/>
                                          </p:val>
                                        </p:tav>
                                        <p:tav tm="100000">
                                          <p:val>
                                            <p:strVal val="#ppt_w"/>
                                          </p:val>
                                        </p:tav>
                                      </p:tavLst>
                                    </p:anim>
                                    <p:anim calcmode="lin" valueType="num">
                                      <p:cBhvr>
                                        <p:cTn id="170" dur="500" fill="hold"/>
                                        <p:tgtEl>
                                          <p:spTgt spid="526"/>
                                        </p:tgtEl>
                                        <p:attrNameLst>
                                          <p:attrName>ppt_h</p:attrName>
                                        </p:attrNameLst>
                                      </p:cBhvr>
                                      <p:tavLst>
                                        <p:tav tm="0">
                                          <p:val>
                                            <p:strVal val="(6*min(max(#ppt_w*#ppt_h,.3),1)-7.4)/-.7*#ppt_h"/>
                                          </p:val>
                                        </p:tav>
                                        <p:tav tm="100000">
                                          <p:val>
                                            <p:strVal val="#ppt_h"/>
                                          </p:val>
                                        </p:tav>
                                      </p:tavLst>
                                    </p:anim>
                                    <p:anim calcmode="lin" valueType="num">
                                      <p:cBhvr>
                                        <p:cTn id="171" dur="500" fill="hold"/>
                                        <p:tgtEl>
                                          <p:spTgt spid="526"/>
                                        </p:tgtEl>
                                        <p:attrNameLst>
                                          <p:attrName>ppt_x</p:attrName>
                                        </p:attrNameLst>
                                      </p:cBhvr>
                                      <p:tavLst>
                                        <p:tav tm="0">
                                          <p:val>
                                            <p:fltVal val="0.5"/>
                                          </p:val>
                                        </p:tav>
                                        <p:tav tm="100000">
                                          <p:val>
                                            <p:strVal val="#ppt_x"/>
                                          </p:val>
                                        </p:tav>
                                      </p:tavLst>
                                    </p:anim>
                                    <p:anim calcmode="lin" valueType="num">
                                      <p:cBhvr>
                                        <p:cTn id="172" dur="500" fill="hold"/>
                                        <p:tgtEl>
                                          <p:spTgt spid="526"/>
                                        </p:tgtEl>
                                        <p:attrNameLst>
                                          <p:attrName>ppt_y</p:attrName>
                                        </p:attrNameLst>
                                      </p:cBhvr>
                                      <p:tavLst>
                                        <p:tav tm="0">
                                          <p:val>
                                            <p:strVal val="1+(6*min(max(#ppt_w*#ppt_h,.3),1)-7.4)/-.7*#ppt_h/2"/>
                                          </p:val>
                                        </p:tav>
                                        <p:tav tm="100000">
                                          <p:val>
                                            <p:strVal val="#ppt_y"/>
                                          </p:val>
                                        </p:tav>
                                      </p:tavLst>
                                    </p:anim>
                                  </p:childTnLst>
                                </p:cTn>
                              </p:par>
                              <p:par>
                                <p:cTn id="173" presetID="23" presetClass="entr" presetSubtype="36" fill="hold" nodeType="withEffect">
                                  <p:stCondLst>
                                    <p:cond delay="1750"/>
                                  </p:stCondLst>
                                  <p:childTnLst>
                                    <p:set>
                                      <p:cBhvr>
                                        <p:cTn id="174" dur="1" fill="hold">
                                          <p:stCondLst>
                                            <p:cond delay="0"/>
                                          </p:stCondLst>
                                        </p:cTn>
                                        <p:tgtEl>
                                          <p:spTgt spid="533"/>
                                        </p:tgtEl>
                                        <p:attrNameLst>
                                          <p:attrName>style.visibility</p:attrName>
                                        </p:attrNameLst>
                                      </p:cBhvr>
                                      <p:to>
                                        <p:strVal val="visible"/>
                                      </p:to>
                                    </p:set>
                                    <p:anim calcmode="lin" valueType="num">
                                      <p:cBhvr>
                                        <p:cTn id="175" dur="500" fill="hold"/>
                                        <p:tgtEl>
                                          <p:spTgt spid="533"/>
                                        </p:tgtEl>
                                        <p:attrNameLst>
                                          <p:attrName>ppt_w</p:attrName>
                                        </p:attrNameLst>
                                      </p:cBhvr>
                                      <p:tavLst>
                                        <p:tav tm="0">
                                          <p:val>
                                            <p:strVal val="(6*min(max(#ppt_w*#ppt_h,.3),1)-7.4)/-.7*#ppt_w"/>
                                          </p:val>
                                        </p:tav>
                                        <p:tav tm="100000">
                                          <p:val>
                                            <p:strVal val="#ppt_w"/>
                                          </p:val>
                                        </p:tav>
                                      </p:tavLst>
                                    </p:anim>
                                    <p:anim calcmode="lin" valueType="num">
                                      <p:cBhvr>
                                        <p:cTn id="176" dur="500" fill="hold"/>
                                        <p:tgtEl>
                                          <p:spTgt spid="533"/>
                                        </p:tgtEl>
                                        <p:attrNameLst>
                                          <p:attrName>ppt_h</p:attrName>
                                        </p:attrNameLst>
                                      </p:cBhvr>
                                      <p:tavLst>
                                        <p:tav tm="0">
                                          <p:val>
                                            <p:strVal val="(6*min(max(#ppt_w*#ppt_h,.3),1)-7.4)/-.7*#ppt_h"/>
                                          </p:val>
                                        </p:tav>
                                        <p:tav tm="100000">
                                          <p:val>
                                            <p:strVal val="#ppt_h"/>
                                          </p:val>
                                        </p:tav>
                                      </p:tavLst>
                                    </p:anim>
                                    <p:anim calcmode="lin" valueType="num">
                                      <p:cBhvr>
                                        <p:cTn id="177" dur="500" fill="hold"/>
                                        <p:tgtEl>
                                          <p:spTgt spid="533"/>
                                        </p:tgtEl>
                                        <p:attrNameLst>
                                          <p:attrName>ppt_x</p:attrName>
                                        </p:attrNameLst>
                                      </p:cBhvr>
                                      <p:tavLst>
                                        <p:tav tm="0">
                                          <p:val>
                                            <p:fltVal val="0.5"/>
                                          </p:val>
                                        </p:tav>
                                        <p:tav tm="100000">
                                          <p:val>
                                            <p:strVal val="#ppt_x"/>
                                          </p:val>
                                        </p:tav>
                                      </p:tavLst>
                                    </p:anim>
                                    <p:anim calcmode="lin" valueType="num">
                                      <p:cBhvr>
                                        <p:cTn id="178" dur="500" fill="hold"/>
                                        <p:tgtEl>
                                          <p:spTgt spid="533"/>
                                        </p:tgtEl>
                                        <p:attrNameLst>
                                          <p:attrName>ppt_y</p:attrName>
                                        </p:attrNameLst>
                                      </p:cBhvr>
                                      <p:tavLst>
                                        <p:tav tm="0">
                                          <p:val>
                                            <p:strVal val="1+(6*min(max(#ppt_w*#ppt_h,.3),1)-7.4)/-.7*#ppt_h/2"/>
                                          </p:val>
                                        </p:tav>
                                        <p:tav tm="100000">
                                          <p:val>
                                            <p:strVal val="#ppt_y"/>
                                          </p:val>
                                        </p:tav>
                                      </p:tavLst>
                                    </p:anim>
                                  </p:childTnLst>
                                </p:cTn>
                              </p:par>
                              <p:par>
                                <p:cTn id="179" presetID="23" presetClass="entr" presetSubtype="36" fill="hold" nodeType="withEffect">
                                  <p:stCondLst>
                                    <p:cond delay="2300"/>
                                  </p:stCondLst>
                                  <p:childTnLst>
                                    <p:set>
                                      <p:cBhvr>
                                        <p:cTn id="180" dur="1" fill="hold">
                                          <p:stCondLst>
                                            <p:cond delay="0"/>
                                          </p:stCondLst>
                                        </p:cTn>
                                        <p:tgtEl>
                                          <p:spTgt spid="547"/>
                                        </p:tgtEl>
                                        <p:attrNameLst>
                                          <p:attrName>style.visibility</p:attrName>
                                        </p:attrNameLst>
                                      </p:cBhvr>
                                      <p:to>
                                        <p:strVal val="visible"/>
                                      </p:to>
                                    </p:set>
                                    <p:anim calcmode="lin" valueType="num">
                                      <p:cBhvr>
                                        <p:cTn id="181" dur="500" fill="hold"/>
                                        <p:tgtEl>
                                          <p:spTgt spid="547"/>
                                        </p:tgtEl>
                                        <p:attrNameLst>
                                          <p:attrName>ppt_w</p:attrName>
                                        </p:attrNameLst>
                                      </p:cBhvr>
                                      <p:tavLst>
                                        <p:tav tm="0">
                                          <p:val>
                                            <p:strVal val="(6*min(max(#ppt_w*#ppt_h,.3),1)-7.4)/-.7*#ppt_w"/>
                                          </p:val>
                                        </p:tav>
                                        <p:tav tm="100000">
                                          <p:val>
                                            <p:strVal val="#ppt_w"/>
                                          </p:val>
                                        </p:tav>
                                      </p:tavLst>
                                    </p:anim>
                                    <p:anim calcmode="lin" valueType="num">
                                      <p:cBhvr>
                                        <p:cTn id="182" dur="500" fill="hold"/>
                                        <p:tgtEl>
                                          <p:spTgt spid="547"/>
                                        </p:tgtEl>
                                        <p:attrNameLst>
                                          <p:attrName>ppt_h</p:attrName>
                                        </p:attrNameLst>
                                      </p:cBhvr>
                                      <p:tavLst>
                                        <p:tav tm="0">
                                          <p:val>
                                            <p:strVal val="(6*min(max(#ppt_w*#ppt_h,.3),1)-7.4)/-.7*#ppt_h"/>
                                          </p:val>
                                        </p:tav>
                                        <p:tav tm="100000">
                                          <p:val>
                                            <p:strVal val="#ppt_h"/>
                                          </p:val>
                                        </p:tav>
                                      </p:tavLst>
                                    </p:anim>
                                    <p:anim calcmode="lin" valueType="num">
                                      <p:cBhvr>
                                        <p:cTn id="183" dur="500" fill="hold"/>
                                        <p:tgtEl>
                                          <p:spTgt spid="547"/>
                                        </p:tgtEl>
                                        <p:attrNameLst>
                                          <p:attrName>ppt_x</p:attrName>
                                        </p:attrNameLst>
                                      </p:cBhvr>
                                      <p:tavLst>
                                        <p:tav tm="0">
                                          <p:val>
                                            <p:fltVal val="0.5"/>
                                          </p:val>
                                        </p:tav>
                                        <p:tav tm="100000">
                                          <p:val>
                                            <p:strVal val="#ppt_x"/>
                                          </p:val>
                                        </p:tav>
                                      </p:tavLst>
                                    </p:anim>
                                    <p:anim calcmode="lin" valueType="num">
                                      <p:cBhvr>
                                        <p:cTn id="184" dur="500" fill="hold"/>
                                        <p:tgtEl>
                                          <p:spTgt spid="547"/>
                                        </p:tgtEl>
                                        <p:attrNameLst>
                                          <p:attrName>ppt_y</p:attrName>
                                        </p:attrNameLst>
                                      </p:cBhvr>
                                      <p:tavLst>
                                        <p:tav tm="0">
                                          <p:val>
                                            <p:strVal val="1+(6*min(max(#ppt_w*#ppt_h,.3),1)-7.4)/-.7*#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509" grpId="0"/>
      <p:bldP spid="3" grpId="0"/>
      <p:bldP spid="3"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
          <p:cNvPicPr>
            <a:picLocks noChangeAspect="1"/>
          </p:cNvPicPr>
          <p:nvPr/>
        </p:nvPicPr>
        <p:blipFill rotWithShape="1">
          <a:blip r:embed="rId2" cstate="screen"/>
          <a:srcRect/>
          <a:stretch>
            <a:fillRect/>
          </a:stretch>
        </p:blipFill>
        <p:spPr>
          <a:xfrm>
            <a:off x="284893" y="56713"/>
            <a:ext cx="869970" cy="1499038"/>
          </a:xfrm>
          <a:prstGeom prst="rect">
            <a:avLst/>
          </a:prstGeom>
        </p:spPr>
      </p:pic>
      <p:sp>
        <p:nvSpPr>
          <p:cNvPr id="3" name="矩形 2"/>
          <p:cNvSpPr/>
          <p:nvPr/>
        </p:nvSpPr>
        <p:spPr>
          <a:xfrm>
            <a:off x="1154863" y="459121"/>
            <a:ext cx="2622550" cy="523220"/>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智慧企业</a:t>
            </a:r>
          </a:p>
        </p:txBody>
      </p:sp>
      <p:pic>
        <p:nvPicPr>
          <p:cNvPr id="43" name="图片 42"/>
          <p:cNvPicPr>
            <a:picLocks noChangeAspect="1"/>
          </p:cNvPicPr>
          <p:nvPr/>
        </p:nvPicPr>
        <p:blipFill>
          <a:blip r:embed="rId3"/>
          <a:stretch>
            <a:fillRect/>
          </a:stretch>
        </p:blipFill>
        <p:spPr>
          <a:xfrm>
            <a:off x="1040931" y="2297099"/>
            <a:ext cx="2657475" cy="4362450"/>
          </a:xfrm>
          <a:prstGeom prst="rect">
            <a:avLst/>
          </a:prstGeom>
        </p:spPr>
      </p:pic>
      <p:pic>
        <p:nvPicPr>
          <p:cNvPr id="44" name="图片 43"/>
          <p:cNvPicPr>
            <a:picLocks noChangeAspect="1"/>
          </p:cNvPicPr>
          <p:nvPr/>
        </p:nvPicPr>
        <p:blipFill>
          <a:blip r:embed="rId4"/>
          <a:stretch>
            <a:fillRect/>
          </a:stretch>
        </p:blipFill>
        <p:spPr>
          <a:xfrm>
            <a:off x="1646759" y="4828732"/>
            <a:ext cx="4381500" cy="2476500"/>
          </a:xfrm>
          <a:prstGeom prst="rect">
            <a:avLst/>
          </a:prstGeom>
        </p:spPr>
      </p:pic>
      <p:grpSp>
        <p:nvGrpSpPr>
          <p:cNvPr id="46" name="组合 45"/>
          <p:cNvGrpSpPr/>
          <p:nvPr/>
        </p:nvGrpSpPr>
        <p:grpSpPr>
          <a:xfrm>
            <a:off x="2047816" y="1458899"/>
            <a:ext cx="3720321" cy="3645333"/>
            <a:chOff x="1944336" y="1496244"/>
            <a:chExt cx="3720321" cy="3645333"/>
          </a:xfrm>
        </p:grpSpPr>
        <p:pic>
          <p:nvPicPr>
            <p:cNvPr id="47" name="图片 46"/>
            <p:cNvPicPr>
              <a:picLocks noChangeAspect="1"/>
            </p:cNvPicPr>
            <p:nvPr/>
          </p:nvPicPr>
          <p:blipFill>
            <a:blip r:embed="rId5"/>
            <a:stretch>
              <a:fillRect/>
            </a:stretch>
          </p:blipFill>
          <p:spPr>
            <a:xfrm>
              <a:off x="3014724" y="1728712"/>
              <a:ext cx="2019300" cy="3362325"/>
            </a:xfrm>
            <a:prstGeom prst="rect">
              <a:avLst/>
            </a:prstGeom>
          </p:spPr>
        </p:pic>
        <p:pic>
          <p:nvPicPr>
            <p:cNvPr id="48" name="图片 47"/>
            <p:cNvPicPr>
              <a:picLocks noChangeAspect="1"/>
            </p:cNvPicPr>
            <p:nvPr/>
          </p:nvPicPr>
          <p:blipFill>
            <a:blip r:embed="rId6"/>
            <a:stretch>
              <a:fillRect/>
            </a:stretch>
          </p:blipFill>
          <p:spPr>
            <a:xfrm>
              <a:off x="2729831" y="1955835"/>
              <a:ext cx="1885950" cy="3133725"/>
            </a:xfrm>
            <a:prstGeom prst="rect">
              <a:avLst/>
            </a:prstGeom>
          </p:spPr>
        </p:pic>
        <p:pic>
          <p:nvPicPr>
            <p:cNvPr id="49" name="图片 48"/>
            <p:cNvPicPr>
              <a:picLocks noChangeAspect="1"/>
            </p:cNvPicPr>
            <p:nvPr/>
          </p:nvPicPr>
          <p:blipFill>
            <a:blip r:embed="rId7"/>
            <a:stretch>
              <a:fillRect/>
            </a:stretch>
          </p:blipFill>
          <p:spPr>
            <a:xfrm>
              <a:off x="2376151" y="2284077"/>
              <a:ext cx="1733550" cy="2857500"/>
            </a:xfrm>
            <a:prstGeom prst="rect">
              <a:avLst/>
            </a:prstGeom>
          </p:spPr>
        </p:pic>
        <p:pic>
          <p:nvPicPr>
            <p:cNvPr id="50" name="图片 49"/>
            <p:cNvPicPr>
              <a:picLocks noChangeAspect="1"/>
            </p:cNvPicPr>
            <p:nvPr/>
          </p:nvPicPr>
          <p:blipFill>
            <a:blip r:embed="rId8"/>
            <a:stretch>
              <a:fillRect/>
            </a:stretch>
          </p:blipFill>
          <p:spPr>
            <a:xfrm>
              <a:off x="2140938" y="2616035"/>
              <a:ext cx="1476375" cy="2447925"/>
            </a:xfrm>
            <a:prstGeom prst="rect">
              <a:avLst/>
            </a:prstGeom>
          </p:spPr>
        </p:pic>
        <p:pic>
          <p:nvPicPr>
            <p:cNvPr id="51" name="图片 50"/>
            <p:cNvPicPr>
              <a:picLocks noChangeAspect="1"/>
            </p:cNvPicPr>
            <p:nvPr/>
          </p:nvPicPr>
          <p:blipFill>
            <a:blip r:embed="rId9"/>
            <a:stretch>
              <a:fillRect/>
            </a:stretch>
          </p:blipFill>
          <p:spPr>
            <a:xfrm>
              <a:off x="1944336" y="3199092"/>
              <a:ext cx="1123950" cy="1857375"/>
            </a:xfrm>
            <a:prstGeom prst="rect">
              <a:avLst/>
            </a:prstGeom>
          </p:spPr>
        </p:pic>
        <p:pic>
          <p:nvPicPr>
            <p:cNvPr id="52" name="图片 51"/>
            <p:cNvPicPr>
              <a:picLocks noChangeAspect="1"/>
            </p:cNvPicPr>
            <p:nvPr/>
          </p:nvPicPr>
          <p:blipFill>
            <a:blip r:embed="rId10"/>
            <a:stretch>
              <a:fillRect/>
            </a:stretch>
          </p:blipFill>
          <p:spPr>
            <a:xfrm>
              <a:off x="3646619" y="2247812"/>
              <a:ext cx="1304925" cy="2152650"/>
            </a:xfrm>
            <a:prstGeom prst="rect">
              <a:avLst/>
            </a:prstGeom>
          </p:spPr>
        </p:pic>
        <p:pic>
          <p:nvPicPr>
            <p:cNvPr id="57" name="图片 56"/>
            <p:cNvPicPr>
              <a:picLocks noChangeAspect="1"/>
            </p:cNvPicPr>
            <p:nvPr/>
          </p:nvPicPr>
          <p:blipFill>
            <a:blip r:embed="rId11"/>
            <a:stretch>
              <a:fillRect/>
            </a:stretch>
          </p:blipFill>
          <p:spPr>
            <a:xfrm>
              <a:off x="3531057" y="1496244"/>
              <a:ext cx="2133600" cy="3238500"/>
            </a:xfrm>
            <a:prstGeom prst="rect">
              <a:avLst/>
            </a:prstGeom>
          </p:spPr>
        </p:pic>
      </p:grpSp>
      <p:sp>
        <p:nvSpPr>
          <p:cNvPr id="58" name="矩形 57"/>
          <p:cNvSpPr/>
          <p:nvPr/>
        </p:nvSpPr>
        <p:spPr>
          <a:xfrm>
            <a:off x="6530438" y="3225644"/>
            <a:ext cx="4247681" cy="1200329"/>
          </a:xfrm>
          <a:prstGeom prst="rect">
            <a:avLst/>
          </a:prstGeom>
        </p:spPr>
        <p:txBody>
          <a:bodyPr wrap="square">
            <a:spAutoFit/>
          </a:bodyPr>
          <a:lstStyle/>
          <a:p>
            <a:pPr lvl="0" algn="just">
              <a:lnSpc>
                <a:spcPct val="120000"/>
              </a:lnSpc>
              <a:defRPr/>
            </a:pPr>
            <a:r>
              <a:rPr lang="zh-CN" altLang="en-US" sz="1200" dirty="0">
                <a:solidFill>
                  <a:schemeClr val="bg1">
                    <a:lumMod val="85000"/>
                  </a:schemeClr>
                </a:solidFill>
                <a:cs typeface="+mn-ea"/>
                <a:sym typeface="+mn-lt"/>
              </a:rPr>
              <a:t>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a:t>
            </a:r>
          </a:p>
        </p:txBody>
      </p:sp>
      <p:sp>
        <p:nvSpPr>
          <p:cNvPr id="59" name="矩形 58"/>
          <p:cNvSpPr/>
          <p:nvPr/>
        </p:nvSpPr>
        <p:spPr>
          <a:xfrm>
            <a:off x="6526867" y="2281966"/>
            <a:ext cx="3483229" cy="633187"/>
          </a:xfrm>
          <a:prstGeom prst="rect">
            <a:avLst/>
          </a:prstGeom>
        </p:spPr>
        <p:txBody>
          <a:bodyPr wrap="square">
            <a:spAutoFit/>
          </a:bodyPr>
          <a:lstStyle/>
          <a:p>
            <a:pPr marL="0" marR="0" lvl="0" indent="0" algn="just" defTabSz="914400" rtl="0" eaLnBrk="1" fontAlgn="auto" latinLnBrk="0" hangingPunct="1">
              <a:lnSpc>
                <a:spcPct val="120000"/>
              </a:lnSpc>
              <a:spcBef>
                <a:spcPts val="0"/>
              </a:spcBef>
              <a:spcAft>
                <a:spcPts val="0"/>
              </a:spcAft>
              <a:buClrTx/>
              <a:buSzTx/>
              <a:buFontTx/>
              <a:buNone/>
              <a:defRPr/>
            </a:pPr>
            <a:r>
              <a:rPr kumimoji="0" lang="zh-CN" altLang="en-US" sz="3200" b="1" i="0" u="none" strike="noStrike" kern="1200" cap="none" spc="0" normalizeH="0" baseline="0" noProof="0" dirty="0">
                <a:ln>
                  <a:noFill/>
                </a:ln>
                <a:gradFill>
                  <a:gsLst>
                    <a:gs pos="14000">
                      <a:srgbClr val="00B0F0"/>
                    </a:gs>
                    <a:gs pos="64000">
                      <a:srgbClr val="0BB0AD"/>
                    </a:gs>
                    <a:gs pos="42000">
                      <a:srgbClr val="13FFEC"/>
                    </a:gs>
                  </a:gsLst>
                  <a:lin ang="5400000" scaled="0"/>
                </a:gradFill>
                <a:effectLst/>
                <a:uLnTx/>
                <a:uFillTx/>
                <a:cs typeface="+mn-ea"/>
                <a:sym typeface="+mn-lt"/>
              </a:rPr>
              <a:t>输入标题</a:t>
            </a:r>
            <a:r>
              <a:rPr kumimoji="0" lang="en-US" altLang="zh-CN" sz="3200" b="1" i="0" u="none" strike="noStrike" kern="1200" cap="none" spc="0" normalizeH="0" baseline="0" noProof="0" dirty="0">
                <a:ln>
                  <a:noFill/>
                </a:ln>
                <a:gradFill>
                  <a:gsLst>
                    <a:gs pos="14000">
                      <a:srgbClr val="00B0F0"/>
                    </a:gs>
                    <a:gs pos="64000">
                      <a:srgbClr val="0BB0AD"/>
                    </a:gs>
                    <a:gs pos="42000">
                      <a:srgbClr val="13FFEC"/>
                    </a:gs>
                  </a:gsLst>
                  <a:lin ang="5400000" scaled="0"/>
                </a:gradFill>
                <a:effectLst/>
                <a:uLnTx/>
                <a:uFillTx/>
                <a:cs typeface="+mn-ea"/>
                <a:sym typeface="+mn-lt"/>
              </a:rPr>
              <a:t>&amp;</a:t>
            </a:r>
            <a:r>
              <a:rPr kumimoji="0" lang="zh-CN" altLang="en-US" sz="3200" b="1" i="0" u="none" strike="noStrike" kern="1200" cap="none" spc="0" normalizeH="0" baseline="0" noProof="0" dirty="0">
                <a:ln>
                  <a:noFill/>
                </a:ln>
                <a:gradFill>
                  <a:gsLst>
                    <a:gs pos="14000">
                      <a:srgbClr val="00B0F0"/>
                    </a:gs>
                    <a:gs pos="64000">
                      <a:srgbClr val="0BB0AD"/>
                    </a:gs>
                    <a:gs pos="42000">
                      <a:srgbClr val="13FFEC"/>
                    </a:gs>
                  </a:gsLst>
                  <a:lin ang="5400000" scaled="0"/>
                </a:gradFill>
                <a:effectLst/>
                <a:uLnTx/>
                <a:uFillTx/>
                <a:cs typeface="+mn-ea"/>
                <a:sym typeface="+mn-lt"/>
              </a:rPr>
              <a:t>数据</a:t>
            </a:r>
          </a:p>
        </p:txBody>
      </p:sp>
      <p:cxnSp>
        <p:nvCxnSpPr>
          <p:cNvPr id="77" name="直接连接符 76"/>
          <p:cNvCxnSpPr/>
          <p:nvPr/>
        </p:nvCxnSpPr>
        <p:spPr>
          <a:xfrm>
            <a:off x="6530439" y="3036169"/>
            <a:ext cx="4247680" cy="0"/>
          </a:xfrm>
          <a:prstGeom prst="line">
            <a:avLst/>
          </a:prstGeom>
          <a:ln>
            <a:solidFill>
              <a:srgbClr val="84FFFF"/>
            </a:solidFill>
          </a:ln>
        </p:spPr>
        <p:style>
          <a:lnRef idx="1">
            <a:schemeClr val="accent1"/>
          </a:lnRef>
          <a:fillRef idx="0">
            <a:schemeClr val="accent1"/>
          </a:fillRef>
          <a:effectRef idx="0">
            <a:schemeClr val="accent1"/>
          </a:effectRef>
          <a:fontRef idx="minor">
            <a:schemeClr val="tx1"/>
          </a:fontRef>
        </p:style>
      </p:cxnSp>
      <p:cxnSp>
        <p:nvCxnSpPr>
          <p:cNvPr id="78" name="直接连接符 77"/>
          <p:cNvCxnSpPr/>
          <p:nvPr/>
        </p:nvCxnSpPr>
        <p:spPr>
          <a:xfrm>
            <a:off x="6530439" y="4616165"/>
            <a:ext cx="4247680" cy="0"/>
          </a:xfrm>
          <a:prstGeom prst="line">
            <a:avLst/>
          </a:prstGeom>
          <a:ln>
            <a:solidFill>
              <a:srgbClr val="84FFFF"/>
            </a:solidFill>
          </a:ln>
        </p:spPr>
        <p:style>
          <a:lnRef idx="1">
            <a:schemeClr val="accent1"/>
          </a:lnRef>
          <a:fillRef idx="0">
            <a:schemeClr val="accent1"/>
          </a:fillRef>
          <a:effectRef idx="0">
            <a:schemeClr val="accent1"/>
          </a:effectRef>
          <a:fontRef idx="minor">
            <a:schemeClr val="tx1"/>
          </a:fontRef>
        </p:style>
      </p:cxnSp>
      <p:grpSp>
        <p:nvGrpSpPr>
          <p:cNvPr id="79" name="组合 78"/>
          <p:cNvGrpSpPr/>
          <p:nvPr/>
        </p:nvGrpSpPr>
        <p:grpSpPr>
          <a:xfrm>
            <a:off x="5355503" y="3554805"/>
            <a:ext cx="990948" cy="523220"/>
            <a:chOff x="6006164" y="2042739"/>
            <a:chExt cx="831516" cy="562496"/>
          </a:xfrm>
        </p:grpSpPr>
        <p:cxnSp>
          <p:nvCxnSpPr>
            <p:cNvPr id="80" name="直接连接符 79"/>
            <p:cNvCxnSpPr/>
            <p:nvPr/>
          </p:nvCxnSpPr>
          <p:spPr>
            <a:xfrm flipV="1">
              <a:off x="6006164" y="2042740"/>
              <a:ext cx="487769" cy="562495"/>
            </a:xfrm>
            <a:prstGeom prst="line">
              <a:avLst/>
            </a:prstGeom>
            <a:ln>
              <a:solidFill>
                <a:srgbClr val="5BC3EC"/>
              </a:solidFill>
              <a:prstDash val="dash"/>
            </a:ln>
          </p:spPr>
          <p:style>
            <a:lnRef idx="1">
              <a:schemeClr val="accent1"/>
            </a:lnRef>
            <a:fillRef idx="0">
              <a:schemeClr val="accent1"/>
            </a:fillRef>
            <a:effectRef idx="0">
              <a:schemeClr val="accent1"/>
            </a:effectRef>
            <a:fontRef idx="minor">
              <a:schemeClr val="tx1"/>
            </a:fontRef>
          </p:style>
        </p:cxnSp>
        <p:cxnSp>
          <p:nvCxnSpPr>
            <p:cNvPr id="81" name="直接连接符 80"/>
            <p:cNvCxnSpPr/>
            <p:nvPr/>
          </p:nvCxnSpPr>
          <p:spPr>
            <a:xfrm>
              <a:off x="6493933" y="2042739"/>
              <a:ext cx="343747" cy="0"/>
            </a:xfrm>
            <a:prstGeom prst="line">
              <a:avLst/>
            </a:prstGeom>
            <a:ln>
              <a:solidFill>
                <a:srgbClr val="5BC3EC"/>
              </a:solidFill>
              <a:prstDash val="dash"/>
            </a:ln>
          </p:spPr>
          <p:style>
            <a:lnRef idx="1">
              <a:schemeClr val="accent1"/>
            </a:lnRef>
            <a:fillRef idx="0">
              <a:schemeClr val="accent1"/>
            </a:fillRef>
            <a:effectRef idx="0">
              <a:schemeClr val="accent1"/>
            </a:effectRef>
            <a:fontRef idx="minor">
              <a:schemeClr val="tx1"/>
            </a:fontRef>
          </p:style>
        </p:cxnSp>
      </p:grpSp>
      <p:pic>
        <p:nvPicPr>
          <p:cNvPr id="82" name="图片 81" descr="e7d195523061f1c03a90ee8e42cb24248e56383cd534985688F9F494128731F165EE95AB4B0C0A38076AAEA07667B1565C446FC45FF01DFB0E885BCDBDF3A284F3DB14DA61DD97F0BAB2E6C668FB4931D588590651A0FE2F633716D72D6FDCDC58F637E6FA41532C3E3BF67DE7A6E1EA93CE61B846D25FBAA84E7A82E6674115C45D1FED83C2F2E2"/>
          <p:cNvPicPr>
            <a:picLocks noChangeAspect="1"/>
          </p:cNvPicPr>
          <p:nvPr/>
        </p:nvPicPr>
        <p:blipFill rotWithShape="1">
          <a:blip r:embed="rId12" cstate="screen"/>
          <a:srcRect l="47325" t="36133"/>
          <a:stretch>
            <a:fillRect/>
          </a:stretch>
        </p:blipFill>
        <p:spPr>
          <a:xfrm>
            <a:off x="8911835" y="-86132"/>
            <a:ext cx="4919853" cy="4593198"/>
          </a:xfrm>
          <a:prstGeom prst="rect">
            <a:avLst/>
          </a:prstGeom>
        </p:spPr>
      </p:pic>
      <p:sp>
        <p:nvSpPr>
          <p:cNvPr id="83" name="Текст 16" descr="e7d195523061f1c03a90ee8e42cb24248e56383cd534985688F9F494128731F165EE95AB4B0C0A38076AAEA07667B1565C446FC45FF01DFB0E885BCDBDF3A284F3DB14DA61DD97F0BAB2E6C668FB49315456C7F39E6B1198E1BE8FB0C513F2B95345CD04A51BBC5AF0101DB7DB40CB9F208D416517269C05F184BE0950CC704B76ED9B299C3B43E5"/>
          <p:cNvSpPr txBox="1"/>
          <p:nvPr/>
        </p:nvSpPr>
        <p:spPr>
          <a:xfrm rot="5400000">
            <a:off x="8513108" y="4836285"/>
            <a:ext cx="215033" cy="1125764"/>
          </a:xfrm>
          <a:prstGeom prst="rect">
            <a:avLst/>
          </a:prstGeom>
        </p:spPr>
        <p:txBody>
          <a:bodyPr vert="vert270" lIns="0" tIns="0" rIns="0" bIns="0" numCol="1" rtlCol="0" anchor="t">
            <a:normAutofit fontScale="92500"/>
          </a:bodyPr>
          <a:lstStyle>
            <a:lvl1pPr marL="0" indent="0" algn="l" defTabSz="892175" rtl="0" eaLnBrk="1" latinLnBrk="0" hangingPunct="1">
              <a:lnSpc>
                <a:spcPct val="150000"/>
              </a:lnSpc>
              <a:spcBef>
                <a:spcPts val="1980"/>
              </a:spcBef>
              <a:buSzPct val="100000"/>
              <a:buFontTx/>
              <a:buNone/>
              <a:defRPr sz="2000" kern="1200">
                <a:solidFill>
                  <a:schemeClr val="tx1">
                    <a:lumMod val="95000"/>
                    <a:lumOff val="5000"/>
                  </a:schemeClr>
                </a:solidFill>
                <a:latin typeface="+mn-lt"/>
                <a:ea typeface="+mn-ea"/>
                <a:cs typeface="+mn-cs"/>
              </a:defRPr>
            </a:lvl1pPr>
            <a:lvl2pPr marL="0" indent="0" algn="l" defTabSz="892175" rtl="0" eaLnBrk="1" latinLnBrk="0" hangingPunct="1">
              <a:lnSpc>
                <a:spcPct val="90000"/>
              </a:lnSpc>
              <a:spcBef>
                <a:spcPts val="990"/>
              </a:spcBef>
              <a:buSzPct val="100000"/>
              <a:buFontTx/>
              <a:buNone/>
              <a:defRPr sz="2400" b="1" kern="1200" baseline="0">
                <a:solidFill>
                  <a:schemeClr val="tx1">
                    <a:lumMod val="95000"/>
                    <a:lumOff val="5000"/>
                  </a:schemeClr>
                </a:solidFill>
                <a:latin typeface="+mn-lt"/>
                <a:ea typeface="Open Sans" panose="020B0606030504020204" pitchFamily="34" charset="0"/>
                <a:cs typeface="Open Sans" panose="020B0606030504020204" pitchFamily="34" charset="0"/>
              </a:defRPr>
            </a:lvl2pPr>
            <a:lvl3pPr marL="0" indent="0" algn="l" defTabSz="892175" rtl="0" eaLnBrk="1" latinLnBrk="0" hangingPunct="1">
              <a:lnSpc>
                <a:spcPct val="150000"/>
              </a:lnSpc>
              <a:spcBef>
                <a:spcPts val="990"/>
              </a:spcBef>
              <a:buSzPct val="100000"/>
              <a:buFontTx/>
              <a:buNone/>
              <a:defRPr sz="2000" kern="1200" baseline="0">
                <a:solidFill>
                  <a:schemeClr val="tx1">
                    <a:lumMod val="95000"/>
                    <a:lumOff val="5000"/>
                  </a:schemeClr>
                </a:solidFill>
                <a:latin typeface="+mn-lt"/>
                <a:ea typeface="+mn-ea"/>
                <a:cs typeface="+mn-cs"/>
              </a:defRPr>
            </a:lvl3pPr>
            <a:lvl4pPr marL="0" indent="0" algn="l" defTabSz="1809115" rtl="0" eaLnBrk="1" latinLnBrk="0" hangingPunct="1">
              <a:lnSpc>
                <a:spcPct val="150000"/>
              </a:lnSpc>
              <a:spcBef>
                <a:spcPts val="990"/>
              </a:spcBef>
              <a:buSzPct val="100000"/>
              <a:buFontTx/>
              <a:buNone/>
              <a:defRPr sz="3200" b="1" kern="1200">
                <a:solidFill>
                  <a:schemeClr val="tx1">
                    <a:lumMod val="95000"/>
                    <a:lumOff val="5000"/>
                  </a:schemeClr>
                </a:solidFill>
                <a:latin typeface="+mn-lt"/>
                <a:ea typeface="Open Sans" panose="020B0606030504020204" pitchFamily="34" charset="0"/>
                <a:cs typeface="Open Sans" panose="020B0606030504020204" pitchFamily="34" charset="0"/>
              </a:defRPr>
            </a:lvl4pPr>
            <a:lvl5pPr marL="0" indent="0" algn="l" defTabSz="1809115" rtl="0" eaLnBrk="1" latinLnBrk="0" hangingPunct="1">
              <a:lnSpc>
                <a:spcPct val="150000"/>
              </a:lnSpc>
              <a:spcBef>
                <a:spcPts val="990"/>
              </a:spcBef>
              <a:buSzPct val="100000"/>
              <a:buFontTx/>
              <a:buNone/>
              <a:defRPr sz="2400" kern="1200" baseline="0">
                <a:solidFill>
                  <a:schemeClr val="tx1">
                    <a:lumMod val="95000"/>
                    <a:lumOff val="5000"/>
                  </a:schemeClr>
                </a:solidFill>
                <a:latin typeface="+mn-lt"/>
                <a:ea typeface="Open Sans" panose="020B0606030504020204" pitchFamily="34" charset="0"/>
                <a:cs typeface="Open Sans" panose="020B0606030504020204" pitchFamily="34" charset="0"/>
              </a:defRPr>
            </a:lvl5pPr>
            <a:lvl6pPr marL="0" indent="0" algn="l" defTabSz="1809115" rtl="0" eaLnBrk="1" latinLnBrk="0" hangingPunct="1">
              <a:lnSpc>
                <a:spcPct val="90000"/>
              </a:lnSpc>
              <a:spcBef>
                <a:spcPts val="990"/>
              </a:spcBef>
              <a:buFontTx/>
              <a:buNone/>
              <a:defRPr sz="1600" kern="1200">
                <a:solidFill>
                  <a:schemeClr val="bg1">
                    <a:lumMod val="65000"/>
                  </a:schemeClr>
                </a:solidFill>
                <a:latin typeface="+mn-lt"/>
                <a:ea typeface="+mn-ea"/>
                <a:cs typeface="+mn-cs"/>
              </a:defRPr>
            </a:lvl6pPr>
            <a:lvl7pPr marL="0" indent="0" algn="l" defTabSz="1809115" rtl="0" eaLnBrk="1" latinLnBrk="0" hangingPunct="1">
              <a:lnSpc>
                <a:spcPct val="90000"/>
              </a:lnSpc>
              <a:spcBef>
                <a:spcPts val="990"/>
              </a:spcBef>
              <a:buFontTx/>
              <a:buNone/>
              <a:defRPr sz="1600" b="1" kern="1200" baseline="0">
                <a:solidFill>
                  <a:schemeClr val="bg1">
                    <a:lumMod val="65000"/>
                  </a:schemeClr>
                </a:solidFill>
                <a:latin typeface="+mn-lt"/>
                <a:ea typeface="+mn-ea"/>
                <a:cs typeface="+mn-cs"/>
              </a:defRPr>
            </a:lvl7pPr>
            <a:lvl8pPr marL="0" marR="0" indent="0" algn="l" defTabSz="1809115" rtl="0" eaLnBrk="1" fontAlgn="auto" latinLnBrk="0" hangingPunct="1">
              <a:lnSpc>
                <a:spcPct val="90000"/>
              </a:lnSpc>
              <a:spcBef>
                <a:spcPts val="990"/>
              </a:spcBef>
              <a:spcAft>
                <a:spcPts val="0"/>
              </a:spcAft>
              <a:buClrTx/>
              <a:buSzTx/>
              <a:buFontTx/>
              <a:buNone/>
              <a:defRPr sz="1600" b="1" kern="1200">
                <a:solidFill>
                  <a:schemeClr val="tx1">
                    <a:lumMod val="75000"/>
                    <a:lumOff val="25000"/>
                  </a:schemeClr>
                </a:solidFill>
                <a:latin typeface="+mn-lt"/>
                <a:ea typeface="+mn-ea"/>
                <a:cs typeface="+mn-cs"/>
              </a:defRPr>
            </a:lvl8pPr>
            <a:lvl9pPr marL="357505" indent="0" algn="l" defTabSz="1809115" rtl="0" eaLnBrk="1" latinLnBrk="0" hangingPunct="1">
              <a:lnSpc>
                <a:spcPct val="90000"/>
              </a:lnSpc>
              <a:spcBef>
                <a:spcPts val="990"/>
              </a:spcBef>
              <a:buFont typeface="Arial" panose="020B0604020202020204" pitchFamily="34" charset="0"/>
              <a:buNone/>
              <a:defRPr sz="3560" kern="1200">
                <a:solidFill>
                  <a:schemeClr val="tx1"/>
                </a:solidFill>
                <a:latin typeface="+mn-lt"/>
                <a:ea typeface="+mn-ea"/>
                <a:cs typeface="+mn-cs"/>
              </a:defRPr>
            </a:lvl9pPr>
          </a:lstStyle>
          <a:p>
            <a:pPr lvl="5" algn="ctr">
              <a:lnSpc>
                <a:spcPct val="100000"/>
              </a:lnSpc>
            </a:pPr>
            <a:r>
              <a:rPr lang="en-US" sz="1050" baseline="0" dirty="0">
                <a:solidFill>
                  <a:schemeClr val="bg1">
                    <a:lumMod val="85000"/>
                  </a:schemeClr>
                </a:solidFill>
                <a:cs typeface="+mn-ea"/>
                <a:sym typeface="+mn-lt"/>
              </a:rPr>
              <a:t>  </a:t>
            </a:r>
            <a:r>
              <a:rPr lang="en-US" sz="900" b="1" dirty="0">
                <a:solidFill>
                  <a:schemeClr val="bg1">
                    <a:lumMod val="85000"/>
                  </a:schemeClr>
                </a:solidFill>
                <a:cs typeface="+mn-ea"/>
                <a:sym typeface="+mn-lt"/>
              </a:rPr>
              <a:t>CLICK TO DISCOVER</a:t>
            </a:r>
          </a:p>
          <a:p>
            <a:pPr lvl="7" algn="ctr"/>
            <a:endParaRPr lang="en-US" sz="1050" dirty="0">
              <a:solidFill>
                <a:schemeClr val="bg1">
                  <a:lumMod val="85000"/>
                </a:schemeClr>
              </a:solidFill>
              <a:cs typeface="+mn-ea"/>
              <a:sym typeface="+mn-lt"/>
            </a:endParaRPr>
          </a:p>
        </p:txBody>
      </p:sp>
      <p:sp>
        <p:nvSpPr>
          <p:cNvPr id="84" name="Freeform 13" descr="e7d195523061f1c03a90ee8e42cb24248e56383cd534985688F9F494128731F165EE95AB4B0C0A38076AAEA07667B1565C446FC45FF01DFB0E885BCDBDF3A284F3DB14DA61DD97F0BAB2E6C668FB49315456C7F39E6B1198E1BE8FB0C513F2B95345CD04A51BBC5AF0101DB7DB40CB9F208D416517269C05F184BE0950CC704B76ED9B299C3B43E5"/>
          <p:cNvSpPr>
            <a:spLocks noEditPoints="1"/>
          </p:cNvSpPr>
          <p:nvPr/>
        </p:nvSpPr>
        <p:spPr bwMode="auto">
          <a:xfrm>
            <a:off x="8553888" y="5504848"/>
            <a:ext cx="133472" cy="180662"/>
          </a:xfrm>
          <a:custGeom>
            <a:avLst/>
            <a:gdLst>
              <a:gd name="T0" fmla="*/ 44 w 88"/>
              <a:gd name="T1" fmla="*/ 0 h 128"/>
              <a:gd name="T2" fmla="*/ 0 w 88"/>
              <a:gd name="T3" fmla="*/ 44 h 128"/>
              <a:gd name="T4" fmla="*/ 0 w 88"/>
              <a:gd name="T5" fmla="*/ 84 h 128"/>
              <a:gd name="T6" fmla="*/ 44 w 88"/>
              <a:gd name="T7" fmla="*/ 128 h 128"/>
              <a:gd name="T8" fmla="*/ 88 w 88"/>
              <a:gd name="T9" fmla="*/ 84 h 128"/>
              <a:gd name="T10" fmla="*/ 88 w 88"/>
              <a:gd name="T11" fmla="*/ 44 h 128"/>
              <a:gd name="T12" fmla="*/ 44 w 88"/>
              <a:gd name="T13" fmla="*/ 0 h 128"/>
              <a:gd name="T14" fmla="*/ 80 w 88"/>
              <a:gd name="T15" fmla="*/ 84 h 128"/>
              <a:gd name="T16" fmla="*/ 44 w 88"/>
              <a:gd name="T17" fmla="*/ 120 h 128"/>
              <a:gd name="T18" fmla="*/ 8 w 88"/>
              <a:gd name="T19" fmla="*/ 84 h 128"/>
              <a:gd name="T20" fmla="*/ 8 w 88"/>
              <a:gd name="T21" fmla="*/ 44 h 128"/>
              <a:gd name="T22" fmla="*/ 44 w 88"/>
              <a:gd name="T23" fmla="*/ 8 h 128"/>
              <a:gd name="T24" fmla="*/ 80 w 88"/>
              <a:gd name="T25" fmla="*/ 44 h 128"/>
              <a:gd name="T26" fmla="*/ 80 w 88"/>
              <a:gd name="T27" fmla="*/ 84 h 128"/>
              <a:gd name="T28" fmla="*/ 44 w 88"/>
              <a:gd name="T29" fmla="*/ 28 h 128"/>
              <a:gd name="T30" fmla="*/ 40 w 88"/>
              <a:gd name="T31" fmla="*/ 32 h 128"/>
              <a:gd name="T32" fmla="*/ 40 w 88"/>
              <a:gd name="T33" fmla="*/ 48 h 128"/>
              <a:gd name="T34" fmla="*/ 44 w 88"/>
              <a:gd name="T35" fmla="*/ 52 h 128"/>
              <a:gd name="T36" fmla="*/ 48 w 88"/>
              <a:gd name="T37" fmla="*/ 48 h 128"/>
              <a:gd name="T38" fmla="*/ 48 w 88"/>
              <a:gd name="T39" fmla="*/ 32 h 128"/>
              <a:gd name="T40" fmla="*/ 44 w 88"/>
              <a:gd name="T41" fmla="*/ 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28">
                <a:moveTo>
                  <a:pt x="44" y="0"/>
                </a:moveTo>
                <a:cubicBezTo>
                  <a:pt x="20" y="0"/>
                  <a:pt x="0" y="20"/>
                  <a:pt x="0" y="44"/>
                </a:cubicBezTo>
                <a:cubicBezTo>
                  <a:pt x="0" y="84"/>
                  <a:pt x="0" y="84"/>
                  <a:pt x="0" y="84"/>
                </a:cubicBezTo>
                <a:cubicBezTo>
                  <a:pt x="0" y="108"/>
                  <a:pt x="20" y="128"/>
                  <a:pt x="44" y="128"/>
                </a:cubicBezTo>
                <a:cubicBezTo>
                  <a:pt x="68" y="128"/>
                  <a:pt x="88" y="108"/>
                  <a:pt x="88" y="84"/>
                </a:cubicBezTo>
                <a:cubicBezTo>
                  <a:pt x="88" y="44"/>
                  <a:pt x="88" y="44"/>
                  <a:pt x="88" y="44"/>
                </a:cubicBezTo>
                <a:cubicBezTo>
                  <a:pt x="88" y="20"/>
                  <a:pt x="68" y="0"/>
                  <a:pt x="44" y="0"/>
                </a:cubicBezTo>
                <a:close/>
                <a:moveTo>
                  <a:pt x="80" y="84"/>
                </a:moveTo>
                <a:cubicBezTo>
                  <a:pt x="80" y="104"/>
                  <a:pt x="64" y="120"/>
                  <a:pt x="44" y="120"/>
                </a:cubicBezTo>
                <a:cubicBezTo>
                  <a:pt x="24" y="120"/>
                  <a:pt x="8" y="104"/>
                  <a:pt x="8" y="84"/>
                </a:cubicBezTo>
                <a:cubicBezTo>
                  <a:pt x="8" y="44"/>
                  <a:pt x="8" y="44"/>
                  <a:pt x="8" y="44"/>
                </a:cubicBezTo>
                <a:cubicBezTo>
                  <a:pt x="8" y="24"/>
                  <a:pt x="24" y="8"/>
                  <a:pt x="44" y="8"/>
                </a:cubicBezTo>
                <a:cubicBezTo>
                  <a:pt x="64" y="8"/>
                  <a:pt x="80" y="24"/>
                  <a:pt x="80" y="44"/>
                </a:cubicBezTo>
                <a:lnTo>
                  <a:pt x="80" y="84"/>
                </a:lnTo>
                <a:close/>
                <a:moveTo>
                  <a:pt x="44" y="28"/>
                </a:moveTo>
                <a:cubicBezTo>
                  <a:pt x="42" y="28"/>
                  <a:pt x="40" y="30"/>
                  <a:pt x="40" y="32"/>
                </a:cubicBezTo>
                <a:cubicBezTo>
                  <a:pt x="40" y="48"/>
                  <a:pt x="40" y="48"/>
                  <a:pt x="40" y="48"/>
                </a:cubicBezTo>
                <a:cubicBezTo>
                  <a:pt x="40" y="50"/>
                  <a:pt x="42" y="52"/>
                  <a:pt x="44" y="52"/>
                </a:cubicBezTo>
                <a:cubicBezTo>
                  <a:pt x="46" y="52"/>
                  <a:pt x="48" y="50"/>
                  <a:pt x="48" y="48"/>
                </a:cubicBezTo>
                <a:cubicBezTo>
                  <a:pt x="48" y="32"/>
                  <a:pt x="48" y="32"/>
                  <a:pt x="48" y="32"/>
                </a:cubicBezTo>
                <a:cubicBezTo>
                  <a:pt x="48" y="30"/>
                  <a:pt x="46" y="28"/>
                  <a:pt x="44" y="28"/>
                </a:cubicBezTo>
                <a:close/>
              </a:path>
            </a:pathLst>
          </a:custGeom>
          <a:solidFill>
            <a:schemeClr val="bg1">
              <a:alpha val="70000"/>
            </a:schemeClr>
          </a:solidFill>
          <a:ln>
            <a:noFill/>
          </a:ln>
        </p:spPr>
        <p:txBody>
          <a:bodyPr vert="horz" wrap="square" lIns="45842" tIns="22921" rIns="45842" bIns="22921" numCol="1" anchor="t" anchorCtr="0" compatLnSpc="1"/>
          <a:lstStyle/>
          <a:p>
            <a:endParaRPr lang="en-US" sz="1100">
              <a:solidFill>
                <a:schemeClr val="bg1">
                  <a:lumMod val="85000"/>
                </a:scheme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ppt_x"/>
                                          </p:val>
                                        </p:tav>
                                        <p:tav tm="100000">
                                          <p:val>
                                            <p:strVal val="#ppt_x"/>
                                          </p:val>
                                        </p:tav>
                                      </p:tavLst>
                                    </p:anim>
                                    <p:anim calcmode="lin" valueType="num">
                                      <p:cBhvr additive="base">
                                        <p:cTn id="8" dur="1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childTnLst>
                          </p:cTn>
                        </p:par>
                        <p:par>
                          <p:cTn id="16" fill="hold">
                            <p:stCondLst>
                              <p:cond delay="0"/>
                            </p:stCondLst>
                            <p:childTnLst>
                              <p:par>
                                <p:cTn id="17" presetID="2" presetClass="entr" presetSubtype="12" fill="hold" nodeType="afterEffect">
                                  <p:stCondLst>
                                    <p:cond delay="0"/>
                                  </p:stCondLst>
                                  <p:childTnLst>
                                    <p:set>
                                      <p:cBhvr>
                                        <p:cTn id="18" dur="1" fill="hold">
                                          <p:stCondLst>
                                            <p:cond delay="0"/>
                                          </p:stCondLst>
                                        </p:cTn>
                                        <p:tgtEl>
                                          <p:spTgt spid="44"/>
                                        </p:tgtEl>
                                        <p:attrNameLst>
                                          <p:attrName>style.visibility</p:attrName>
                                        </p:attrNameLst>
                                      </p:cBhvr>
                                      <p:to>
                                        <p:strVal val="visible"/>
                                      </p:to>
                                    </p:set>
                                    <p:anim calcmode="lin" valueType="num">
                                      <p:cBhvr additive="base">
                                        <p:cTn id="19" dur="750" fill="hold"/>
                                        <p:tgtEl>
                                          <p:spTgt spid="44"/>
                                        </p:tgtEl>
                                        <p:attrNameLst>
                                          <p:attrName>ppt_x</p:attrName>
                                        </p:attrNameLst>
                                      </p:cBhvr>
                                      <p:tavLst>
                                        <p:tav tm="0">
                                          <p:val>
                                            <p:strVal val="0-#ppt_w/2"/>
                                          </p:val>
                                        </p:tav>
                                        <p:tav tm="100000">
                                          <p:val>
                                            <p:strVal val="#ppt_x"/>
                                          </p:val>
                                        </p:tav>
                                      </p:tavLst>
                                    </p:anim>
                                    <p:anim calcmode="lin" valueType="num">
                                      <p:cBhvr additive="base">
                                        <p:cTn id="20" dur="750" fill="hold"/>
                                        <p:tgtEl>
                                          <p:spTgt spid="44"/>
                                        </p:tgtEl>
                                        <p:attrNameLst>
                                          <p:attrName>ppt_y</p:attrName>
                                        </p:attrNameLst>
                                      </p:cBhvr>
                                      <p:tavLst>
                                        <p:tav tm="0">
                                          <p:val>
                                            <p:strVal val="1+#ppt_h/2"/>
                                          </p:val>
                                        </p:tav>
                                        <p:tav tm="100000">
                                          <p:val>
                                            <p:strVal val="#ppt_y"/>
                                          </p:val>
                                        </p:tav>
                                      </p:tavLst>
                                    </p:anim>
                                  </p:childTnLst>
                                </p:cTn>
                              </p:par>
                              <p:par>
                                <p:cTn id="21" presetID="2" presetClass="entr" presetSubtype="12" fill="hold" nodeType="withEffect">
                                  <p:stCondLst>
                                    <p:cond delay="0"/>
                                  </p:stCondLst>
                                  <p:childTnLst>
                                    <p:set>
                                      <p:cBhvr>
                                        <p:cTn id="22" dur="1" fill="hold">
                                          <p:stCondLst>
                                            <p:cond delay="0"/>
                                          </p:stCondLst>
                                        </p:cTn>
                                        <p:tgtEl>
                                          <p:spTgt spid="43"/>
                                        </p:tgtEl>
                                        <p:attrNameLst>
                                          <p:attrName>style.visibility</p:attrName>
                                        </p:attrNameLst>
                                      </p:cBhvr>
                                      <p:to>
                                        <p:strVal val="visible"/>
                                      </p:to>
                                    </p:set>
                                    <p:anim calcmode="lin" valueType="num">
                                      <p:cBhvr additive="base">
                                        <p:cTn id="23" dur="750" fill="hold"/>
                                        <p:tgtEl>
                                          <p:spTgt spid="43"/>
                                        </p:tgtEl>
                                        <p:attrNameLst>
                                          <p:attrName>ppt_x</p:attrName>
                                        </p:attrNameLst>
                                      </p:cBhvr>
                                      <p:tavLst>
                                        <p:tav tm="0">
                                          <p:val>
                                            <p:strVal val="0-#ppt_w/2"/>
                                          </p:val>
                                        </p:tav>
                                        <p:tav tm="100000">
                                          <p:val>
                                            <p:strVal val="#ppt_x"/>
                                          </p:val>
                                        </p:tav>
                                      </p:tavLst>
                                    </p:anim>
                                    <p:anim calcmode="lin" valueType="num">
                                      <p:cBhvr additive="base">
                                        <p:cTn id="24" dur="750" fill="hold"/>
                                        <p:tgtEl>
                                          <p:spTgt spid="43"/>
                                        </p:tgtEl>
                                        <p:attrNameLst>
                                          <p:attrName>ppt_y</p:attrName>
                                        </p:attrNameLst>
                                      </p:cBhvr>
                                      <p:tavLst>
                                        <p:tav tm="0">
                                          <p:val>
                                            <p:strVal val="1+#ppt_h/2"/>
                                          </p:val>
                                        </p:tav>
                                        <p:tav tm="100000">
                                          <p:val>
                                            <p:strVal val="#ppt_y"/>
                                          </p:val>
                                        </p:tav>
                                      </p:tavLst>
                                    </p:anim>
                                  </p:childTnLst>
                                </p:cTn>
                              </p:par>
                              <p:par>
                                <p:cTn id="25" presetID="22" presetClass="entr" presetSubtype="4" fill="hold" nodeType="withEffect">
                                  <p:stCondLst>
                                    <p:cond delay="500"/>
                                  </p:stCondLst>
                                  <p:childTnLst>
                                    <p:set>
                                      <p:cBhvr>
                                        <p:cTn id="26" dur="1" fill="hold">
                                          <p:stCondLst>
                                            <p:cond delay="0"/>
                                          </p:stCondLst>
                                        </p:cTn>
                                        <p:tgtEl>
                                          <p:spTgt spid="46"/>
                                        </p:tgtEl>
                                        <p:attrNameLst>
                                          <p:attrName>style.visibility</p:attrName>
                                        </p:attrNameLst>
                                      </p:cBhvr>
                                      <p:to>
                                        <p:strVal val="visible"/>
                                      </p:to>
                                    </p:set>
                                    <p:animEffect transition="in" filter="wipe(down)">
                                      <p:cBhvr>
                                        <p:cTn id="27" dur="500"/>
                                        <p:tgtEl>
                                          <p:spTgt spid="46"/>
                                        </p:tgtEl>
                                      </p:cBhvr>
                                    </p:animEffect>
                                  </p:childTnLst>
                                </p:cTn>
                              </p:par>
                              <p:par>
                                <p:cTn id="28" presetID="0" presetClass="path" presetSubtype="0" repeatCount="indefinite" accel="50000" decel="50000" fill="hold" nodeType="withEffect">
                                  <p:stCondLst>
                                    <p:cond delay="500"/>
                                  </p:stCondLst>
                                  <p:childTnLst>
                                    <p:animMotion origin="layout" path="M -2.70833E-6 0.00949 L -0.04297 0.04375 L -2.70833E-6 0.00949 Z " pathEditMode="relative" rAng="0" ptsTypes="AAA">
                                      <p:cBhvr>
                                        <p:cTn id="29" dur="5000" fill="hold"/>
                                        <p:tgtEl>
                                          <p:spTgt spid="46"/>
                                        </p:tgtEl>
                                        <p:attrNameLst>
                                          <p:attrName>ppt_x</p:attrName>
                                          <p:attrName>ppt_y</p:attrName>
                                        </p:attrNameLst>
                                      </p:cBhvr>
                                      <p:rCtr x="-2148" y="1713"/>
                                    </p:animMotion>
                                  </p:childTnLst>
                                </p:cTn>
                              </p:par>
                              <p:par>
                                <p:cTn id="30" presetID="22" presetClass="entr" presetSubtype="8" fill="hold" nodeType="withEffect">
                                  <p:stCondLst>
                                    <p:cond delay="1500"/>
                                  </p:stCondLst>
                                  <p:childTnLst>
                                    <p:set>
                                      <p:cBhvr>
                                        <p:cTn id="31" dur="1" fill="hold">
                                          <p:stCondLst>
                                            <p:cond delay="0"/>
                                          </p:stCondLst>
                                        </p:cTn>
                                        <p:tgtEl>
                                          <p:spTgt spid="79"/>
                                        </p:tgtEl>
                                        <p:attrNameLst>
                                          <p:attrName>style.visibility</p:attrName>
                                        </p:attrNameLst>
                                      </p:cBhvr>
                                      <p:to>
                                        <p:strVal val="visible"/>
                                      </p:to>
                                    </p:set>
                                    <p:animEffect transition="in" filter="wipe(left)">
                                      <p:cBhvr>
                                        <p:cTn id="32" dur="500"/>
                                        <p:tgtEl>
                                          <p:spTgt spid="79"/>
                                        </p:tgtEl>
                                      </p:cBhvr>
                                    </p:animEffect>
                                  </p:childTnLst>
                                </p:cTn>
                              </p:par>
                              <p:par>
                                <p:cTn id="33" presetID="2" presetClass="entr" presetSubtype="4" fill="hold" grpId="0" nodeType="withEffect">
                                  <p:stCondLst>
                                    <p:cond delay="2500"/>
                                  </p:stCondLst>
                                  <p:iterate type="lt">
                                    <p:tmPct val="10000"/>
                                  </p:iterate>
                                  <p:childTnLst>
                                    <p:set>
                                      <p:cBhvr>
                                        <p:cTn id="34" dur="1" fill="hold">
                                          <p:stCondLst>
                                            <p:cond delay="0"/>
                                          </p:stCondLst>
                                        </p:cTn>
                                        <p:tgtEl>
                                          <p:spTgt spid="59"/>
                                        </p:tgtEl>
                                        <p:attrNameLst>
                                          <p:attrName>style.visibility</p:attrName>
                                        </p:attrNameLst>
                                      </p:cBhvr>
                                      <p:to>
                                        <p:strVal val="visible"/>
                                      </p:to>
                                    </p:set>
                                    <p:anim calcmode="lin" valueType="num">
                                      <p:cBhvr>
                                        <p:cTn id="35" dur="500" fill="hold"/>
                                        <p:tgtEl>
                                          <p:spTgt spid="59"/>
                                        </p:tgtEl>
                                        <p:attrNameLst>
                                          <p:attrName>ppt_x</p:attrName>
                                        </p:attrNameLst>
                                      </p:cBhvr>
                                      <p:tavLst>
                                        <p:tav tm="0">
                                          <p:val>
                                            <p:strVal val="#ppt_x"/>
                                          </p:val>
                                        </p:tav>
                                        <p:tav tm="100000">
                                          <p:val>
                                            <p:strVal val="#ppt_x"/>
                                          </p:val>
                                        </p:tav>
                                      </p:tavLst>
                                    </p:anim>
                                    <p:anim calcmode="lin" valueType="num">
                                      <p:cBhvr>
                                        <p:cTn id="36" dur="500" fill="hold"/>
                                        <p:tgtEl>
                                          <p:spTgt spid="59"/>
                                        </p:tgtEl>
                                        <p:attrNameLst>
                                          <p:attrName>ppt_y</p:attrName>
                                        </p:attrNameLst>
                                      </p:cBhvr>
                                      <p:tavLst>
                                        <p:tav tm="0">
                                          <p:val>
                                            <p:strVal val="1+#ppt_h/2"/>
                                          </p:val>
                                        </p:tav>
                                        <p:tav tm="100000">
                                          <p:val>
                                            <p:strVal val="#ppt_y"/>
                                          </p:val>
                                        </p:tav>
                                      </p:tavLst>
                                    </p:anim>
                                  </p:childTnLst>
                                </p:cTn>
                              </p:par>
                              <p:par>
                                <p:cTn id="37" presetID="26" presetClass="emph" presetSubtype="0" fill="hold" grpId="1" nodeType="withEffect">
                                  <p:stCondLst>
                                    <p:cond delay="3000"/>
                                  </p:stCondLst>
                                  <p:iterate type="lt">
                                    <p:tmPct val="10000"/>
                                  </p:iterate>
                                  <p:childTnLst>
                                    <p:animEffect transition="out" filter="fade">
                                      <p:cBhvr>
                                        <p:cTn id="38" dur="500" tmFilter="0, 0; .2, .5; .8, .5; 1, 0"/>
                                        <p:tgtEl>
                                          <p:spTgt spid="59"/>
                                        </p:tgtEl>
                                      </p:cBhvr>
                                    </p:animEffect>
                                    <p:animScale>
                                      <p:cBhvr>
                                        <p:cTn id="39" dur="250" autoRev="1" fill="hold"/>
                                        <p:tgtEl>
                                          <p:spTgt spid="59"/>
                                        </p:tgtEl>
                                      </p:cBhvr>
                                      <p:by x="105000" y="105000"/>
                                    </p:animScale>
                                  </p:childTnLst>
                                </p:cTn>
                              </p:par>
                              <p:par>
                                <p:cTn id="40" presetID="22" presetClass="entr" presetSubtype="8" fill="hold" nodeType="withEffect">
                                  <p:stCondLst>
                                    <p:cond delay="3500"/>
                                  </p:stCondLst>
                                  <p:childTnLst>
                                    <p:set>
                                      <p:cBhvr>
                                        <p:cTn id="41" dur="1" fill="hold">
                                          <p:stCondLst>
                                            <p:cond delay="0"/>
                                          </p:stCondLst>
                                        </p:cTn>
                                        <p:tgtEl>
                                          <p:spTgt spid="77"/>
                                        </p:tgtEl>
                                        <p:attrNameLst>
                                          <p:attrName>style.visibility</p:attrName>
                                        </p:attrNameLst>
                                      </p:cBhvr>
                                      <p:to>
                                        <p:strVal val="visible"/>
                                      </p:to>
                                    </p:set>
                                    <p:animEffect transition="in" filter="wipe(left)">
                                      <p:cBhvr>
                                        <p:cTn id="42" dur="500"/>
                                        <p:tgtEl>
                                          <p:spTgt spid="77"/>
                                        </p:tgtEl>
                                      </p:cBhvr>
                                    </p:animEffect>
                                  </p:childTnLst>
                                </p:cTn>
                              </p:par>
                              <p:par>
                                <p:cTn id="43" presetID="22" presetClass="entr" presetSubtype="8" fill="hold" nodeType="withEffect">
                                  <p:stCondLst>
                                    <p:cond delay="3500"/>
                                  </p:stCondLst>
                                  <p:childTnLst>
                                    <p:set>
                                      <p:cBhvr>
                                        <p:cTn id="44" dur="1" fill="hold">
                                          <p:stCondLst>
                                            <p:cond delay="0"/>
                                          </p:stCondLst>
                                        </p:cTn>
                                        <p:tgtEl>
                                          <p:spTgt spid="78"/>
                                        </p:tgtEl>
                                        <p:attrNameLst>
                                          <p:attrName>style.visibility</p:attrName>
                                        </p:attrNameLst>
                                      </p:cBhvr>
                                      <p:to>
                                        <p:strVal val="visible"/>
                                      </p:to>
                                    </p:set>
                                    <p:animEffect transition="in" filter="wipe(left)">
                                      <p:cBhvr>
                                        <p:cTn id="45" dur="500"/>
                                        <p:tgtEl>
                                          <p:spTgt spid="78"/>
                                        </p:tgtEl>
                                      </p:cBhvr>
                                    </p:animEffect>
                                  </p:childTnLst>
                                </p:cTn>
                              </p:par>
                              <p:par>
                                <p:cTn id="46" presetID="14" presetClass="entr" presetSubtype="10" fill="hold" grpId="0" nodeType="withEffect">
                                  <p:stCondLst>
                                    <p:cond delay="4000"/>
                                  </p:stCondLst>
                                  <p:iterate type="lt">
                                    <p:tmPct val="10000"/>
                                  </p:iterate>
                                  <p:childTnLst>
                                    <p:set>
                                      <p:cBhvr>
                                        <p:cTn id="47" dur="1" fill="hold">
                                          <p:stCondLst>
                                            <p:cond delay="0"/>
                                          </p:stCondLst>
                                        </p:cTn>
                                        <p:tgtEl>
                                          <p:spTgt spid="58"/>
                                        </p:tgtEl>
                                        <p:attrNameLst>
                                          <p:attrName>style.visibility</p:attrName>
                                        </p:attrNameLst>
                                      </p:cBhvr>
                                      <p:to>
                                        <p:strVal val="visible"/>
                                      </p:to>
                                    </p:set>
                                    <p:animEffect transition="in" filter="randombar(horizontal)">
                                      <p:cBhvr>
                                        <p:cTn id="48" dur="300"/>
                                        <p:tgtEl>
                                          <p:spTgt spid="58"/>
                                        </p:tgtEl>
                                      </p:cBhvr>
                                    </p:animEffect>
                                  </p:childTnLst>
                                </p:cTn>
                              </p:par>
                            </p:childTnLst>
                          </p:cTn>
                        </p:par>
                        <p:par>
                          <p:cTn id="49" fill="hold">
                            <p:stCondLst>
                              <p:cond delay="7750"/>
                            </p:stCondLst>
                            <p:childTnLst>
                              <p:par>
                                <p:cTn id="50" presetID="2" presetClass="entr" presetSubtype="6" decel="100000" fill="hold" nodeType="afterEffect">
                                  <p:stCondLst>
                                    <p:cond delay="0"/>
                                  </p:stCondLst>
                                  <p:childTnLst>
                                    <p:set>
                                      <p:cBhvr>
                                        <p:cTn id="51" dur="1" fill="hold">
                                          <p:stCondLst>
                                            <p:cond delay="0"/>
                                          </p:stCondLst>
                                        </p:cTn>
                                        <p:tgtEl>
                                          <p:spTgt spid="82"/>
                                        </p:tgtEl>
                                        <p:attrNameLst>
                                          <p:attrName>style.visibility</p:attrName>
                                        </p:attrNameLst>
                                      </p:cBhvr>
                                      <p:to>
                                        <p:strVal val="visible"/>
                                      </p:to>
                                    </p:set>
                                    <p:anim calcmode="lin" valueType="num">
                                      <p:cBhvr additive="base">
                                        <p:cTn id="52" dur="1500" fill="hold"/>
                                        <p:tgtEl>
                                          <p:spTgt spid="82"/>
                                        </p:tgtEl>
                                        <p:attrNameLst>
                                          <p:attrName>ppt_x</p:attrName>
                                        </p:attrNameLst>
                                      </p:cBhvr>
                                      <p:tavLst>
                                        <p:tav tm="0">
                                          <p:val>
                                            <p:strVal val="1+#ppt_w/2"/>
                                          </p:val>
                                        </p:tav>
                                        <p:tav tm="100000">
                                          <p:val>
                                            <p:strVal val="#ppt_x"/>
                                          </p:val>
                                        </p:tav>
                                      </p:tavLst>
                                    </p:anim>
                                    <p:anim calcmode="lin" valueType="num">
                                      <p:cBhvr additive="base">
                                        <p:cTn id="53" dur="1500" fill="hold"/>
                                        <p:tgtEl>
                                          <p:spTgt spid="82"/>
                                        </p:tgtEl>
                                        <p:attrNameLst>
                                          <p:attrName>ppt_y</p:attrName>
                                        </p:attrNameLst>
                                      </p:cBhvr>
                                      <p:tavLst>
                                        <p:tav tm="0">
                                          <p:val>
                                            <p:strVal val="1+#ppt_h/2"/>
                                          </p:val>
                                        </p:tav>
                                        <p:tav tm="100000">
                                          <p:val>
                                            <p:strVal val="#ppt_y"/>
                                          </p:val>
                                        </p:tav>
                                      </p:tavLst>
                                    </p:anim>
                                  </p:childTnLst>
                                </p:cTn>
                              </p:par>
                            </p:childTnLst>
                          </p:cTn>
                        </p:par>
                        <p:par>
                          <p:cTn id="54" fill="hold">
                            <p:stCondLst>
                              <p:cond delay="9250"/>
                            </p:stCondLst>
                            <p:childTnLst>
                              <p:par>
                                <p:cTn id="55" presetID="2" presetClass="entr" presetSubtype="4" decel="100000" fill="hold" grpId="0" nodeType="afterEffect">
                                  <p:stCondLst>
                                    <p:cond delay="0"/>
                                  </p:stCondLst>
                                  <p:childTnLst>
                                    <p:set>
                                      <p:cBhvr>
                                        <p:cTn id="56" dur="1" fill="hold">
                                          <p:stCondLst>
                                            <p:cond delay="0"/>
                                          </p:stCondLst>
                                        </p:cTn>
                                        <p:tgtEl>
                                          <p:spTgt spid="83"/>
                                        </p:tgtEl>
                                        <p:attrNameLst>
                                          <p:attrName>style.visibility</p:attrName>
                                        </p:attrNameLst>
                                      </p:cBhvr>
                                      <p:to>
                                        <p:strVal val="visible"/>
                                      </p:to>
                                    </p:set>
                                    <p:anim calcmode="lin" valueType="num">
                                      <p:cBhvr additive="base">
                                        <p:cTn id="57" dur="1500" fill="hold"/>
                                        <p:tgtEl>
                                          <p:spTgt spid="83"/>
                                        </p:tgtEl>
                                        <p:attrNameLst>
                                          <p:attrName>ppt_x</p:attrName>
                                        </p:attrNameLst>
                                      </p:cBhvr>
                                      <p:tavLst>
                                        <p:tav tm="0">
                                          <p:val>
                                            <p:strVal val="#ppt_x"/>
                                          </p:val>
                                        </p:tav>
                                        <p:tav tm="100000">
                                          <p:val>
                                            <p:strVal val="#ppt_x"/>
                                          </p:val>
                                        </p:tav>
                                      </p:tavLst>
                                    </p:anim>
                                    <p:anim calcmode="lin" valueType="num">
                                      <p:cBhvr additive="base">
                                        <p:cTn id="58" dur="1500" fill="hold"/>
                                        <p:tgtEl>
                                          <p:spTgt spid="83"/>
                                        </p:tgtEl>
                                        <p:attrNameLst>
                                          <p:attrName>ppt_y</p:attrName>
                                        </p:attrNameLst>
                                      </p:cBhvr>
                                      <p:tavLst>
                                        <p:tav tm="0">
                                          <p:val>
                                            <p:strVal val="1+#ppt_h/2"/>
                                          </p:val>
                                        </p:tav>
                                        <p:tav tm="100000">
                                          <p:val>
                                            <p:strVal val="#ppt_y"/>
                                          </p:val>
                                        </p:tav>
                                      </p:tavLst>
                                    </p:anim>
                                  </p:childTnLst>
                                </p:cTn>
                              </p:par>
                              <p:par>
                                <p:cTn id="59" presetID="2" presetClass="entr" presetSubtype="4" decel="100000" fill="hold" grpId="0" nodeType="withEffect">
                                  <p:stCondLst>
                                    <p:cond delay="200"/>
                                  </p:stCondLst>
                                  <p:childTnLst>
                                    <p:set>
                                      <p:cBhvr>
                                        <p:cTn id="60" dur="1" fill="hold">
                                          <p:stCondLst>
                                            <p:cond delay="0"/>
                                          </p:stCondLst>
                                        </p:cTn>
                                        <p:tgtEl>
                                          <p:spTgt spid="84"/>
                                        </p:tgtEl>
                                        <p:attrNameLst>
                                          <p:attrName>style.visibility</p:attrName>
                                        </p:attrNameLst>
                                      </p:cBhvr>
                                      <p:to>
                                        <p:strVal val="visible"/>
                                      </p:to>
                                    </p:set>
                                    <p:anim calcmode="lin" valueType="num">
                                      <p:cBhvr additive="base">
                                        <p:cTn id="61" dur="1500" fill="hold"/>
                                        <p:tgtEl>
                                          <p:spTgt spid="84"/>
                                        </p:tgtEl>
                                        <p:attrNameLst>
                                          <p:attrName>ppt_x</p:attrName>
                                        </p:attrNameLst>
                                      </p:cBhvr>
                                      <p:tavLst>
                                        <p:tav tm="0">
                                          <p:val>
                                            <p:strVal val="#ppt_x"/>
                                          </p:val>
                                        </p:tav>
                                        <p:tav tm="100000">
                                          <p:val>
                                            <p:strVal val="#ppt_x"/>
                                          </p:val>
                                        </p:tav>
                                      </p:tavLst>
                                    </p:anim>
                                    <p:anim calcmode="lin" valueType="num">
                                      <p:cBhvr additive="base">
                                        <p:cTn id="62" dur="1500" fill="hold"/>
                                        <p:tgtEl>
                                          <p:spTgt spid="8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P spid="58" grpId="0"/>
      <p:bldP spid="59" grpId="0"/>
      <p:bldP spid="59" grpId="1"/>
      <p:bldP spid="83" grpId="0"/>
      <p:bldP spid="8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图片 20"/>
          <p:cNvPicPr>
            <a:picLocks noChangeAspect="1"/>
          </p:cNvPicPr>
          <p:nvPr/>
        </p:nvPicPr>
        <p:blipFill rotWithShape="1">
          <a:blip r:embed="rId2"/>
          <a:srcRect/>
          <a:stretch>
            <a:fillRect/>
          </a:stretch>
        </p:blipFill>
        <p:spPr>
          <a:xfrm rot="14075344">
            <a:off x="1531495" y="-1943725"/>
            <a:ext cx="12474107" cy="14499480"/>
          </a:xfrm>
          <a:prstGeom prst="rect">
            <a:avLst/>
          </a:prstGeom>
        </p:spPr>
      </p:pic>
      <p:sp>
        <p:nvSpPr>
          <p:cNvPr id="5" name="矩形 4"/>
          <p:cNvSpPr/>
          <p:nvPr/>
        </p:nvSpPr>
        <p:spPr>
          <a:xfrm>
            <a:off x="-20320" y="1286413"/>
            <a:ext cx="12232640" cy="4508927"/>
          </a:xfrm>
          <a:prstGeom prst="rect">
            <a:avLst/>
          </a:prstGeom>
          <a:solidFill>
            <a:schemeClr val="tx1">
              <a:alpha val="70000"/>
            </a:schemeClr>
          </a:solidFill>
          <a:ln>
            <a:solidFill>
              <a:srgbClr val="84FFFF"/>
            </a:solidFill>
          </a:ln>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rgbClr val="404040"/>
              </a:solidFill>
              <a:effectLst/>
              <a:cs typeface="+mn-ea"/>
              <a:sym typeface="+mn-lt"/>
            </a:endParaRPr>
          </a:p>
        </p:txBody>
      </p:sp>
      <p:graphicFrame>
        <p:nvGraphicFramePr>
          <p:cNvPr id="6" name="图表 5"/>
          <p:cNvGraphicFramePr/>
          <p:nvPr/>
        </p:nvGraphicFramePr>
        <p:xfrm>
          <a:off x="407044" y="2288388"/>
          <a:ext cx="7162800" cy="2504979"/>
        </p:xfrm>
        <a:graphic>
          <a:graphicData uri="http://schemas.openxmlformats.org/drawingml/2006/chart">
            <c:chart xmlns:c="http://schemas.openxmlformats.org/drawingml/2006/chart" xmlns:r="http://schemas.openxmlformats.org/officeDocument/2006/relationships" r:id="rId3"/>
          </a:graphicData>
        </a:graphic>
      </p:graphicFrame>
      <p:sp>
        <p:nvSpPr>
          <p:cNvPr id="7" name="等腰三角形 6"/>
          <p:cNvSpPr/>
          <p:nvPr/>
        </p:nvSpPr>
        <p:spPr>
          <a:xfrm rot="5400000">
            <a:off x="9190868" y="-1490765"/>
            <a:ext cx="120259" cy="8956804"/>
          </a:xfrm>
          <a:prstGeom prst="triangle">
            <a:avLst/>
          </a:prstGeom>
          <a:solidFill>
            <a:srgbClr val="84FFFF"/>
          </a:solidFill>
          <a:ln>
            <a:solidFill>
              <a:schemeClr val="tx1"/>
            </a:solidFill>
          </a:ln>
        </p:spPr>
        <p:txBody>
          <a:bodyPr wrap="square" rtlCol="0" anchor="ctr">
            <a:spAutoFit/>
          </a:bodyPr>
          <a:lstStyle/>
          <a:p>
            <a:pPr algn="ctr"/>
            <a:endParaRPr lang="zh-CN" altLang="en-US" sz="28700" dirty="0">
              <a:ln w="19050" cap="rnd" cmpd="thinThick">
                <a:gradFill>
                  <a:gsLst>
                    <a:gs pos="51000">
                      <a:srgbClr val="07E4F7"/>
                    </a:gs>
                    <a:gs pos="0">
                      <a:srgbClr val="13FFEC"/>
                    </a:gs>
                    <a:gs pos="100000">
                      <a:srgbClr val="00D4FD"/>
                    </a:gs>
                  </a:gsLst>
                  <a:lin ang="5400000" scaled="1"/>
                </a:gradFill>
                <a:prstDash val="solid"/>
              </a:ln>
              <a:solidFill>
                <a:schemeClr val="bg1"/>
              </a:solidFill>
              <a:effectLst/>
              <a:cs typeface="+mn-ea"/>
              <a:sym typeface="+mn-lt"/>
            </a:endParaRPr>
          </a:p>
        </p:txBody>
      </p:sp>
      <p:sp>
        <p:nvSpPr>
          <p:cNvPr id="8" name="矩形 7"/>
          <p:cNvSpPr/>
          <p:nvPr/>
        </p:nvSpPr>
        <p:spPr>
          <a:xfrm>
            <a:off x="7768548" y="3141245"/>
            <a:ext cx="3993408" cy="1292662"/>
          </a:xfrm>
          <a:prstGeom prst="rect">
            <a:avLst/>
          </a:prstGeom>
        </p:spPr>
        <p:txBody>
          <a:bodyPr wrap="square">
            <a:spAutoFit/>
          </a:bodyPr>
          <a:lstStyle/>
          <a:p>
            <a:pPr>
              <a:lnSpc>
                <a:spcPct val="130000"/>
              </a:lnSpc>
            </a:pPr>
            <a:r>
              <a:rPr lang="zh-CN" altLang="en-US" sz="1200" dirty="0">
                <a:solidFill>
                  <a:schemeClr val="bg1"/>
                </a:solidFill>
                <a:cs typeface="+mn-ea"/>
                <a:sym typeface="+mn-lt"/>
              </a:rPr>
              <a:t>请替换文字内容，修改文字内容，也可以直接复制你的内容到此。请替换文字内容，修改文字内容，也可以直接复制你的内容到此。请替换文字内容，修改文字内容，也可以直接复制你的内容到此。请替换文字内容，修改文字内容，也可以直接复制你的内容到此。</a:t>
            </a:r>
          </a:p>
        </p:txBody>
      </p:sp>
      <p:sp>
        <p:nvSpPr>
          <p:cNvPr id="9" name="文本框 8"/>
          <p:cNvSpPr txBox="1"/>
          <p:nvPr/>
        </p:nvSpPr>
        <p:spPr>
          <a:xfrm>
            <a:off x="7662607" y="2829767"/>
            <a:ext cx="1826260" cy="338554"/>
          </a:xfrm>
          <a:prstGeom prst="rect">
            <a:avLst/>
          </a:prstGeom>
          <a:noFill/>
        </p:spPr>
        <p:txBody>
          <a:bodyPr wrap="square" rtlCol="0">
            <a:spAutoFit/>
          </a:bodyPr>
          <a:lstStyle/>
          <a:p>
            <a:r>
              <a:rPr lang="zh-CN" altLang="en-US" sz="1600" b="1" spc="200" dirty="0">
                <a:solidFill>
                  <a:srgbClr val="84FFFF"/>
                </a:solidFill>
                <a:cs typeface="+mn-ea"/>
                <a:sym typeface="+mn-lt"/>
              </a:rPr>
              <a:t>「</a:t>
            </a:r>
            <a:r>
              <a:rPr lang="zh-CN" altLang="en-US" sz="1600" b="1" spc="200" dirty="0">
                <a:ln w="3175">
                  <a:noFill/>
                </a:ln>
                <a:solidFill>
                  <a:srgbClr val="84FFFF"/>
                </a:solidFill>
                <a:cs typeface="+mn-ea"/>
                <a:sym typeface="+mn-lt"/>
              </a:rPr>
              <a:t>标题在此</a:t>
            </a:r>
            <a:r>
              <a:rPr lang="zh-CN" altLang="en-US" sz="1600" b="1" spc="200" dirty="0">
                <a:solidFill>
                  <a:srgbClr val="84FFFF"/>
                </a:solidFill>
                <a:cs typeface="+mn-ea"/>
                <a:sym typeface="+mn-lt"/>
              </a:rPr>
              <a:t>」</a:t>
            </a:r>
          </a:p>
        </p:txBody>
      </p:sp>
      <p:grpSp>
        <p:nvGrpSpPr>
          <p:cNvPr id="10" name="组合 9"/>
          <p:cNvGrpSpPr/>
          <p:nvPr/>
        </p:nvGrpSpPr>
        <p:grpSpPr>
          <a:xfrm>
            <a:off x="7847348" y="1961896"/>
            <a:ext cx="781092" cy="781092"/>
            <a:chOff x="2207349" y="2125149"/>
            <a:chExt cx="1269736" cy="1269736"/>
          </a:xfrm>
        </p:grpSpPr>
        <p:grpSp>
          <p:nvGrpSpPr>
            <p:cNvPr id="11" name="组合 10"/>
            <p:cNvGrpSpPr/>
            <p:nvPr/>
          </p:nvGrpSpPr>
          <p:grpSpPr>
            <a:xfrm>
              <a:off x="2558262" y="2509323"/>
              <a:ext cx="567910" cy="501388"/>
              <a:chOff x="1000456" y="3959521"/>
              <a:chExt cx="745082" cy="657806"/>
            </a:xfrm>
            <a:solidFill>
              <a:schemeClr val="bg1"/>
            </a:solidFill>
          </p:grpSpPr>
          <p:sp>
            <p:nvSpPr>
              <p:cNvPr id="13" name="Oval 423"/>
              <p:cNvSpPr>
                <a:spLocks noChangeArrowheads="1"/>
              </p:cNvSpPr>
              <p:nvPr/>
            </p:nvSpPr>
            <p:spPr bwMode="auto">
              <a:xfrm>
                <a:off x="1559448" y="4046795"/>
                <a:ext cx="173829" cy="201237"/>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4" name="Freeform 424"/>
              <p:cNvSpPr/>
              <p:nvPr/>
            </p:nvSpPr>
            <p:spPr bwMode="auto">
              <a:xfrm>
                <a:off x="1523384" y="4254524"/>
                <a:ext cx="222154" cy="298610"/>
              </a:xfrm>
              <a:custGeom>
                <a:avLst/>
                <a:gdLst>
                  <a:gd name="T0" fmla="*/ 65 w 130"/>
                  <a:gd name="T1" fmla="*/ 3 h 175"/>
                  <a:gd name="T2" fmla="*/ 52 w 130"/>
                  <a:gd name="T3" fmla="*/ 89 h 175"/>
                  <a:gd name="T4" fmla="*/ 14 w 130"/>
                  <a:gd name="T5" fmla="*/ 112 h 175"/>
                  <a:gd name="T6" fmla="*/ 14 w 130"/>
                  <a:gd name="T7" fmla="*/ 78 h 175"/>
                  <a:gd name="T8" fmla="*/ 65 w 130"/>
                  <a:gd name="T9" fmla="*/ 3 h 175"/>
                  <a:gd name="T10" fmla="*/ 9 w 130"/>
                  <a:gd name="T11" fmla="*/ 58 h 175"/>
                  <a:gd name="T12" fmla="*/ 0 w 130"/>
                  <a:gd name="T13" fmla="*/ 89 h 175"/>
                  <a:gd name="T14" fmla="*/ 0 w 130"/>
                  <a:gd name="T15" fmla="*/ 137 h 175"/>
                  <a:gd name="T16" fmla="*/ 7 w 130"/>
                  <a:gd name="T17" fmla="*/ 160 h 175"/>
                  <a:gd name="T18" fmla="*/ 65 w 130"/>
                  <a:gd name="T19" fmla="*/ 175 h 175"/>
                  <a:gd name="T20" fmla="*/ 130 w 130"/>
                  <a:gd name="T21" fmla="*/ 149 h 175"/>
                  <a:gd name="T22" fmla="*/ 130 w 130"/>
                  <a:gd name="T23" fmla="*/ 45 h 175"/>
                  <a:gd name="T24" fmla="*/ 65 w 130"/>
                  <a:gd name="T25" fmla="*/ 3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 h="175">
                    <a:moveTo>
                      <a:pt x="65" y="3"/>
                    </a:moveTo>
                    <a:cubicBezTo>
                      <a:pt x="52" y="89"/>
                      <a:pt x="52" y="89"/>
                      <a:pt x="52" y="89"/>
                    </a:cubicBezTo>
                    <a:cubicBezTo>
                      <a:pt x="14" y="112"/>
                      <a:pt x="14" y="112"/>
                      <a:pt x="14" y="112"/>
                    </a:cubicBezTo>
                    <a:cubicBezTo>
                      <a:pt x="14" y="78"/>
                      <a:pt x="14" y="78"/>
                      <a:pt x="14" y="78"/>
                    </a:cubicBezTo>
                    <a:cubicBezTo>
                      <a:pt x="65" y="3"/>
                      <a:pt x="65" y="3"/>
                      <a:pt x="65" y="3"/>
                    </a:cubicBezTo>
                    <a:cubicBezTo>
                      <a:pt x="35" y="3"/>
                      <a:pt x="18" y="33"/>
                      <a:pt x="9" y="58"/>
                    </a:cubicBezTo>
                    <a:cubicBezTo>
                      <a:pt x="3" y="75"/>
                      <a:pt x="0" y="89"/>
                      <a:pt x="0" y="89"/>
                    </a:cubicBezTo>
                    <a:cubicBezTo>
                      <a:pt x="0" y="89"/>
                      <a:pt x="0" y="116"/>
                      <a:pt x="0" y="137"/>
                    </a:cubicBezTo>
                    <a:cubicBezTo>
                      <a:pt x="0" y="146"/>
                      <a:pt x="2" y="153"/>
                      <a:pt x="7" y="160"/>
                    </a:cubicBezTo>
                    <a:cubicBezTo>
                      <a:pt x="14" y="169"/>
                      <a:pt x="31" y="175"/>
                      <a:pt x="65" y="175"/>
                    </a:cubicBezTo>
                    <a:cubicBezTo>
                      <a:pt x="122" y="175"/>
                      <a:pt x="130" y="149"/>
                      <a:pt x="130" y="149"/>
                    </a:cubicBezTo>
                    <a:cubicBezTo>
                      <a:pt x="130" y="149"/>
                      <a:pt x="130" y="89"/>
                      <a:pt x="130" y="45"/>
                    </a:cubicBezTo>
                    <a:cubicBezTo>
                      <a:pt x="130" y="0"/>
                      <a:pt x="65" y="3"/>
                      <a:pt x="65"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5" name="Freeform 425"/>
              <p:cNvSpPr/>
              <p:nvPr/>
            </p:nvSpPr>
            <p:spPr bwMode="auto">
              <a:xfrm>
                <a:off x="1185825" y="4438450"/>
                <a:ext cx="362082" cy="178877"/>
              </a:xfrm>
              <a:custGeom>
                <a:avLst/>
                <a:gdLst>
                  <a:gd name="T0" fmla="*/ 187 w 212"/>
                  <a:gd name="T1" fmla="*/ 55 h 105"/>
                  <a:gd name="T2" fmla="*/ 178 w 212"/>
                  <a:gd name="T3" fmla="*/ 0 h 105"/>
                  <a:gd name="T4" fmla="*/ 110 w 212"/>
                  <a:gd name="T5" fmla="*/ 20 h 105"/>
                  <a:gd name="T6" fmla="*/ 44 w 212"/>
                  <a:gd name="T7" fmla="*/ 0 h 105"/>
                  <a:gd name="T8" fmla="*/ 30 w 212"/>
                  <a:gd name="T9" fmla="*/ 56 h 105"/>
                  <a:gd name="T10" fmla="*/ 0 w 212"/>
                  <a:gd name="T11" fmla="*/ 72 h 105"/>
                  <a:gd name="T12" fmla="*/ 110 w 212"/>
                  <a:gd name="T13" fmla="*/ 105 h 105"/>
                  <a:gd name="T14" fmla="*/ 212 w 212"/>
                  <a:gd name="T15" fmla="*/ 72 h 105"/>
                  <a:gd name="T16" fmla="*/ 187 w 212"/>
                  <a:gd name="T17" fmla="*/ 5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05">
                    <a:moveTo>
                      <a:pt x="187" y="55"/>
                    </a:moveTo>
                    <a:cubicBezTo>
                      <a:pt x="173" y="33"/>
                      <a:pt x="178" y="0"/>
                      <a:pt x="178" y="0"/>
                    </a:cubicBezTo>
                    <a:cubicBezTo>
                      <a:pt x="178" y="0"/>
                      <a:pt x="156" y="20"/>
                      <a:pt x="110" y="20"/>
                    </a:cubicBezTo>
                    <a:cubicBezTo>
                      <a:pt x="64" y="20"/>
                      <a:pt x="44" y="0"/>
                      <a:pt x="44" y="0"/>
                    </a:cubicBezTo>
                    <a:cubicBezTo>
                      <a:pt x="44" y="0"/>
                      <a:pt x="49" y="34"/>
                      <a:pt x="30" y="56"/>
                    </a:cubicBezTo>
                    <a:cubicBezTo>
                      <a:pt x="23" y="64"/>
                      <a:pt x="14" y="70"/>
                      <a:pt x="0" y="72"/>
                    </a:cubicBezTo>
                    <a:cubicBezTo>
                      <a:pt x="0" y="72"/>
                      <a:pt x="32" y="105"/>
                      <a:pt x="110" y="105"/>
                    </a:cubicBezTo>
                    <a:cubicBezTo>
                      <a:pt x="187" y="105"/>
                      <a:pt x="212" y="72"/>
                      <a:pt x="212" y="72"/>
                    </a:cubicBezTo>
                    <a:cubicBezTo>
                      <a:pt x="200" y="70"/>
                      <a:pt x="193" y="63"/>
                      <a:pt x="187" y="5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6" name="Freeform 426"/>
              <p:cNvSpPr/>
              <p:nvPr/>
            </p:nvSpPr>
            <p:spPr bwMode="auto">
              <a:xfrm>
                <a:off x="1231987" y="4138398"/>
                <a:ext cx="283463" cy="256054"/>
              </a:xfrm>
              <a:custGeom>
                <a:avLst/>
                <a:gdLst>
                  <a:gd name="T0" fmla="*/ 75 w 166"/>
                  <a:gd name="T1" fmla="*/ 150 h 150"/>
                  <a:gd name="T2" fmla="*/ 91 w 166"/>
                  <a:gd name="T3" fmla="*/ 150 h 150"/>
                  <a:gd name="T4" fmla="*/ 166 w 166"/>
                  <a:gd name="T5" fmla="*/ 125 h 150"/>
                  <a:gd name="T6" fmla="*/ 166 w 166"/>
                  <a:gd name="T7" fmla="*/ 122 h 150"/>
                  <a:gd name="T8" fmla="*/ 166 w 166"/>
                  <a:gd name="T9" fmla="*/ 59 h 150"/>
                  <a:gd name="T10" fmla="*/ 108 w 166"/>
                  <a:gd name="T11" fmla="*/ 0 h 150"/>
                  <a:gd name="T12" fmla="*/ 108 w 166"/>
                  <a:gd name="T13" fmla="*/ 0 h 150"/>
                  <a:gd name="T14" fmla="*/ 83 w 166"/>
                  <a:gd name="T15" fmla="*/ 10 h 150"/>
                  <a:gd name="T16" fmla="*/ 102 w 166"/>
                  <a:gd name="T17" fmla="*/ 82 h 150"/>
                  <a:gd name="T18" fmla="*/ 83 w 166"/>
                  <a:gd name="T19" fmla="*/ 111 h 150"/>
                  <a:gd name="T20" fmla="*/ 63 w 166"/>
                  <a:gd name="T21" fmla="*/ 82 h 150"/>
                  <a:gd name="T22" fmla="*/ 83 w 166"/>
                  <a:gd name="T23" fmla="*/ 10 h 150"/>
                  <a:gd name="T24" fmla="*/ 58 w 166"/>
                  <a:gd name="T25" fmla="*/ 0 h 150"/>
                  <a:gd name="T26" fmla="*/ 0 w 166"/>
                  <a:gd name="T27" fmla="*/ 59 h 150"/>
                  <a:gd name="T28" fmla="*/ 0 w 166"/>
                  <a:gd name="T29" fmla="*/ 122 h 150"/>
                  <a:gd name="T30" fmla="*/ 0 w 166"/>
                  <a:gd name="T31" fmla="*/ 123 h 150"/>
                  <a:gd name="T32" fmla="*/ 75 w 166"/>
                  <a:gd name="T3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50">
                    <a:moveTo>
                      <a:pt x="75" y="150"/>
                    </a:moveTo>
                    <a:cubicBezTo>
                      <a:pt x="91" y="150"/>
                      <a:pt x="91" y="150"/>
                      <a:pt x="91" y="150"/>
                    </a:cubicBezTo>
                    <a:cubicBezTo>
                      <a:pt x="150" y="150"/>
                      <a:pt x="163" y="132"/>
                      <a:pt x="166" y="125"/>
                    </a:cubicBezTo>
                    <a:cubicBezTo>
                      <a:pt x="166" y="123"/>
                      <a:pt x="166" y="122"/>
                      <a:pt x="166" y="122"/>
                    </a:cubicBezTo>
                    <a:cubicBezTo>
                      <a:pt x="166" y="122"/>
                      <a:pt x="166" y="113"/>
                      <a:pt x="166" y="59"/>
                    </a:cubicBezTo>
                    <a:cubicBezTo>
                      <a:pt x="166" y="22"/>
                      <a:pt x="130" y="6"/>
                      <a:pt x="108" y="0"/>
                    </a:cubicBezTo>
                    <a:cubicBezTo>
                      <a:pt x="108" y="0"/>
                      <a:pt x="108" y="0"/>
                      <a:pt x="108" y="0"/>
                    </a:cubicBezTo>
                    <a:cubicBezTo>
                      <a:pt x="83" y="10"/>
                      <a:pt x="83" y="10"/>
                      <a:pt x="83" y="10"/>
                    </a:cubicBezTo>
                    <a:cubicBezTo>
                      <a:pt x="102" y="82"/>
                      <a:pt x="102" y="82"/>
                      <a:pt x="102" y="82"/>
                    </a:cubicBezTo>
                    <a:cubicBezTo>
                      <a:pt x="83" y="111"/>
                      <a:pt x="83" y="111"/>
                      <a:pt x="83" y="111"/>
                    </a:cubicBezTo>
                    <a:cubicBezTo>
                      <a:pt x="63" y="82"/>
                      <a:pt x="63" y="82"/>
                      <a:pt x="63" y="82"/>
                    </a:cubicBezTo>
                    <a:cubicBezTo>
                      <a:pt x="83" y="10"/>
                      <a:pt x="83" y="10"/>
                      <a:pt x="83" y="10"/>
                    </a:cubicBezTo>
                    <a:cubicBezTo>
                      <a:pt x="58" y="0"/>
                      <a:pt x="58" y="0"/>
                      <a:pt x="58" y="0"/>
                    </a:cubicBezTo>
                    <a:cubicBezTo>
                      <a:pt x="36" y="6"/>
                      <a:pt x="0" y="22"/>
                      <a:pt x="0" y="59"/>
                    </a:cubicBezTo>
                    <a:cubicBezTo>
                      <a:pt x="0" y="113"/>
                      <a:pt x="0" y="122"/>
                      <a:pt x="0" y="122"/>
                    </a:cubicBezTo>
                    <a:cubicBezTo>
                      <a:pt x="0" y="122"/>
                      <a:pt x="0" y="123"/>
                      <a:pt x="0" y="123"/>
                    </a:cubicBezTo>
                    <a:cubicBezTo>
                      <a:pt x="1" y="127"/>
                      <a:pt x="9" y="150"/>
                      <a:pt x="75" y="150"/>
                    </a:cubicBezTo>
                    <a:close/>
                  </a:path>
                </a:pathLst>
              </a:custGeom>
              <a:solidFill>
                <a:srgbClr val="84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7" name="Oval 427"/>
              <p:cNvSpPr>
                <a:spLocks noChangeArrowheads="1"/>
              </p:cNvSpPr>
              <p:nvPr/>
            </p:nvSpPr>
            <p:spPr bwMode="auto">
              <a:xfrm>
                <a:off x="1301951" y="3959521"/>
                <a:ext cx="143535" cy="167337"/>
              </a:xfrm>
              <a:prstGeom prst="ellipse">
                <a:avLst/>
              </a:prstGeom>
              <a:solidFill>
                <a:srgbClr val="84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8" name="Freeform 428"/>
              <p:cNvSpPr/>
              <p:nvPr/>
            </p:nvSpPr>
            <p:spPr bwMode="auto">
              <a:xfrm>
                <a:off x="1000456" y="4253081"/>
                <a:ext cx="219990" cy="297889"/>
              </a:xfrm>
              <a:custGeom>
                <a:avLst/>
                <a:gdLst>
                  <a:gd name="T0" fmla="*/ 129 w 129"/>
                  <a:gd name="T1" fmla="*/ 138 h 175"/>
                  <a:gd name="T2" fmla="*/ 129 w 129"/>
                  <a:gd name="T3" fmla="*/ 89 h 175"/>
                  <a:gd name="T4" fmla="*/ 121 w 129"/>
                  <a:gd name="T5" fmla="*/ 58 h 175"/>
                  <a:gd name="T6" fmla="*/ 65 w 129"/>
                  <a:gd name="T7" fmla="*/ 3 h 175"/>
                  <a:gd name="T8" fmla="*/ 116 w 129"/>
                  <a:gd name="T9" fmla="*/ 78 h 175"/>
                  <a:gd name="T10" fmla="*/ 116 w 129"/>
                  <a:gd name="T11" fmla="*/ 113 h 175"/>
                  <a:gd name="T12" fmla="*/ 78 w 129"/>
                  <a:gd name="T13" fmla="*/ 89 h 175"/>
                  <a:gd name="T14" fmla="*/ 65 w 129"/>
                  <a:gd name="T15" fmla="*/ 3 h 175"/>
                  <a:gd name="T16" fmla="*/ 0 w 129"/>
                  <a:gd name="T17" fmla="*/ 45 h 175"/>
                  <a:gd name="T18" fmla="*/ 0 w 129"/>
                  <a:gd name="T19" fmla="*/ 149 h 175"/>
                  <a:gd name="T20" fmla="*/ 65 w 129"/>
                  <a:gd name="T21" fmla="*/ 175 h 175"/>
                  <a:gd name="T22" fmla="*/ 122 w 129"/>
                  <a:gd name="T23" fmla="*/ 161 h 175"/>
                  <a:gd name="T24" fmla="*/ 129 w 129"/>
                  <a:gd name="T25" fmla="*/ 138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175">
                    <a:moveTo>
                      <a:pt x="129" y="138"/>
                    </a:moveTo>
                    <a:cubicBezTo>
                      <a:pt x="129" y="117"/>
                      <a:pt x="129" y="89"/>
                      <a:pt x="129" y="89"/>
                    </a:cubicBezTo>
                    <a:cubicBezTo>
                      <a:pt x="129" y="89"/>
                      <a:pt x="127" y="75"/>
                      <a:pt x="121" y="58"/>
                    </a:cubicBezTo>
                    <a:cubicBezTo>
                      <a:pt x="112" y="33"/>
                      <a:pt x="95" y="3"/>
                      <a:pt x="65" y="3"/>
                    </a:cubicBezTo>
                    <a:cubicBezTo>
                      <a:pt x="116" y="78"/>
                      <a:pt x="116" y="78"/>
                      <a:pt x="116" y="78"/>
                    </a:cubicBezTo>
                    <a:cubicBezTo>
                      <a:pt x="116" y="113"/>
                      <a:pt x="116" y="113"/>
                      <a:pt x="116" y="113"/>
                    </a:cubicBezTo>
                    <a:cubicBezTo>
                      <a:pt x="78" y="89"/>
                      <a:pt x="78" y="89"/>
                      <a:pt x="78" y="89"/>
                    </a:cubicBezTo>
                    <a:cubicBezTo>
                      <a:pt x="65" y="3"/>
                      <a:pt x="65" y="3"/>
                      <a:pt x="65" y="3"/>
                    </a:cubicBezTo>
                    <a:cubicBezTo>
                      <a:pt x="65" y="3"/>
                      <a:pt x="0" y="0"/>
                      <a:pt x="0" y="45"/>
                    </a:cubicBezTo>
                    <a:cubicBezTo>
                      <a:pt x="0" y="90"/>
                      <a:pt x="0" y="149"/>
                      <a:pt x="0" y="149"/>
                    </a:cubicBezTo>
                    <a:cubicBezTo>
                      <a:pt x="0" y="149"/>
                      <a:pt x="8" y="175"/>
                      <a:pt x="65" y="175"/>
                    </a:cubicBezTo>
                    <a:cubicBezTo>
                      <a:pt x="97" y="175"/>
                      <a:pt x="114" y="170"/>
                      <a:pt x="122" y="161"/>
                    </a:cubicBezTo>
                    <a:cubicBezTo>
                      <a:pt x="128" y="155"/>
                      <a:pt x="129" y="147"/>
                      <a:pt x="129" y="138"/>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sp>
            <p:nvSpPr>
              <p:cNvPr id="19" name="Oval 429"/>
              <p:cNvSpPr>
                <a:spLocks noChangeArrowheads="1"/>
              </p:cNvSpPr>
              <p:nvPr/>
            </p:nvSpPr>
            <p:spPr bwMode="auto">
              <a:xfrm>
                <a:off x="1011996" y="4044631"/>
                <a:ext cx="173829" cy="203401"/>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cs typeface="+mn-ea"/>
                  <a:sym typeface="+mn-lt"/>
                </a:endParaRPr>
              </a:p>
            </p:txBody>
          </p:sp>
        </p:grpSp>
        <p:sp>
          <p:nvSpPr>
            <p:cNvPr id="12" name="椭圆 11"/>
            <p:cNvSpPr/>
            <p:nvPr/>
          </p:nvSpPr>
          <p:spPr>
            <a:xfrm>
              <a:off x="2207349" y="2125149"/>
              <a:ext cx="1269736" cy="1269736"/>
            </a:xfrm>
            <a:prstGeom prst="ellipse">
              <a:avLst/>
            </a:prstGeom>
            <a:noFill/>
            <a:ln w="6350">
              <a:gradFill>
                <a:gsLst>
                  <a:gs pos="0">
                    <a:srgbClr val="05DAE3"/>
                  </a:gs>
                  <a:gs pos="58000">
                    <a:srgbClr val="22B9FE"/>
                  </a:gs>
                  <a:gs pos="83000">
                    <a:srgbClr val="05DAE3"/>
                  </a:gs>
                  <a:gs pos="100000">
                    <a:srgbClr val="22B9FE">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grpSp>
      <p:pic>
        <p:nvPicPr>
          <p:cNvPr id="2" name="1"/>
          <p:cNvPicPr>
            <a:picLocks noChangeAspect="1"/>
          </p:cNvPicPr>
          <p:nvPr/>
        </p:nvPicPr>
        <p:blipFill rotWithShape="1">
          <a:blip r:embed="rId4" cstate="screen"/>
          <a:srcRect/>
          <a:stretch>
            <a:fillRect/>
          </a:stretch>
        </p:blipFill>
        <p:spPr>
          <a:xfrm>
            <a:off x="284893" y="56713"/>
            <a:ext cx="869970" cy="1499038"/>
          </a:xfrm>
          <a:prstGeom prst="rect">
            <a:avLst/>
          </a:prstGeom>
        </p:spPr>
      </p:pic>
      <p:sp>
        <p:nvSpPr>
          <p:cNvPr id="3" name="矩形 2"/>
          <p:cNvSpPr/>
          <p:nvPr/>
        </p:nvSpPr>
        <p:spPr>
          <a:xfrm>
            <a:off x="1154863" y="459121"/>
            <a:ext cx="2622550" cy="523220"/>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defRPr/>
            </a:pPr>
            <a:r>
              <a:rPr kumimoji="0" lang="zh-CN" altLang="en-US" sz="2800" b="1" i="0" u="none" strike="noStrike" kern="0" cap="none" spc="0" normalizeH="0" baseline="0" noProof="0" dirty="0">
                <a:ln>
                  <a:noFill/>
                </a:ln>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uLnTx/>
                <a:uFillTx/>
                <a:cs typeface="+mn-ea"/>
                <a:sym typeface="+mn-lt"/>
              </a:rPr>
              <a:t>智慧企业</a:t>
            </a:r>
          </a:p>
        </p:txBody>
      </p:sp>
      <p:sp>
        <p:nvSpPr>
          <p:cNvPr id="22" name="Текст 16" descr="e7d195523061f1c03a90ee8e42cb24248e56383cd534985688F9F494128731F165EE95AB4B0C0A38076AAEA07667B1565C446FC45FF01DFB0E885BCDBDF3A284F3DB14DA61DD97F0BAB2E6C668FB49315456C7F39E6B1198E1BE8FB0C513F2B95345CD04A51BBC5AF0101DB7DB40CB9F208D416517269C05F184BE0950CC704B76ED9B299C3B43E5"/>
          <p:cNvSpPr txBox="1"/>
          <p:nvPr/>
        </p:nvSpPr>
        <p:spPr>
          <a:xfrm rot="5400000">
            <a:off x="9196100" y="4173468"/>
            <a:ext cx="215033" cy="1125764"/>
          </a:xfrm>
          <a:prstGeom prst="rect">
            <a:avLst/>
          </a:prstGeom>
        </p:spPr>
        <p:txBody>
          <a:bodyPr vert="vert270" lIns="0" tIns="0" rIns="0" bIns="0" numCol="1" rtlCol="0" anchor="t">
            <a:normAutofit fontScale="92500"/>
          </a:bodyPr>
          <a:lstStyle>
            <a:lvl1pPr marL="0" indent="0" algn="l" defTabSz="892175" rtl="0" eaLnBrk="1" latinLnBrk="0" hangingPunct="1">
              <a:lnSpc>
                <a:spcPct val="150000"/>
              </a:lnSpc>
              <a:spcBef>
                <a:spcPts val="1980"/>
              </a:spcBef>
              <a:buSzPct val="100000"/>
              <a:buFontTx/>
              <a:buNone/>
              <a:defRPr sz="2000" kern="1200">
                <a:solidFill>
                  <a:schemeClr val="tx1">
                    <a:lumMod val="95000"/>
                    <a:lumOff val="5000"/>
                  </a:schemeClr>
                </a:solidFill>
                <a:latin typeface="+mn-lt"/>
                <a:ea typeface="+mn-ea"/>
                <a:cs typeface="+mn-cs"/>
              </a:defRPr>
            </a:lvl1pPr>
            <a:lvl2pPr marL="0" indent="0" algn="l" defTabSz="892175" rtl="0" eaLnBrk="1" latinLnBrk="0" hangingPunct="1">
              <a:lnSpc>
                <a:spcPct val="90000"/>
              </a:lnSpc>
              <a:spcBef>
                <a:spcPts val="990"/>
              </a:spcBef>
              <a:buSzPct val="100000"/>
              <a:buFontTx/>
              <a:buNone/>
              <a:defRPr sz="2400" b="1" kern="1200" baseline="0">
                <a:solidFill>
                  <a:schemeClr val="tx1">
                    <a:lumMod val="95000"/>
                    <a:lumOff val="5000"/>
                  </a:schemeClr>
                </a:solidFill>
                <a:latin typeface="+mn-lt"/>
                <a:ea typeface="Open Sans" panose="020B0606030504020204" pitchFamily="34" charset="0"/>
                <a:cs typeface="Open Sans" panose="020B0606030504020204" pitchFamily="34" charset="0"/>
              </a:defRPr>
            </a:lvl2pPr>
            <a:lvl3pPr marL="0" indent="0" algn="l" defTabSz="892175" rtl="0" eaLnBrk="1" latinLnBrk="0" hangingPunct="1">
              <a:lnSpc>
                <a:spcPct val="150000"/>
              </a:lnSpc>
              <a:spcBef>
                <a:spcPts val="990"/>
              </a:spcBef>
              <a:buSzPct val="100000"/>
              <a:buFontTx/>
              <a:buNone/>
              <a:defRPr sz="2000" kern="1200" baseline="0">
                <a:solidFill>
                  <a:schemeClr val="tx1">
                    <a:lumMod val="95000"/>
                    <a:lumOff val="5000"/>
                  </a:schemeClr>
                </a:solidFill>
                <a:latin typeface="+mn-lt"/>
                <a:ea typeface="+mn-ea"/>
                <a:cs typeface="+mn-cs"/>
              </a:defRPr>
            </a:lvl3pPr>
            <a:lvl4pPr marL="0" indent="0" algn="l" defTabSz="1809115" rtl="0" eaLnBrk="1" latinLnBrk="0" hangingPunct="1">
              <a:lnSpc>
                <a:spcPct val="150000"/>
              </a:lnSpc>
              <a:spcBef>
                <a:spcPts val="990"/>
              </a:spcBef>
              <a:buSzPct val="100000"/>
              <a:buFontTx/>
              <a:buNone/>
              <a:defRPr sz="3200" b="1" kern="1200">
                <a:solidFill>
                  <a:schemeClr val="tx1">
                    <a:lumMod val="95000"/>
                    <a:lumOff val="5000"/>
                  </a:schemeClr>
                </a:solidFill>
                <a:latin typeface="+mn-lt"/>
                <a:ea typeface="Open Sans" panose="020B0606030504020204" pitchFamily="34" charset="0"/>
                <a:cs typeface="Open Sans" panose="020B0606030504020204" pitchFamily="34" charset="0"/>
              </a:defRPr>
            </a:lvl4pPr>
            <a:lvl5pPr marL="0" indent="0" algn="l" defTabSz="1809115" rtl="0" eaLnBrk="1" latinLnBrk="0" hangingPunct="1">
              <a:lnSpc>
                <a:spcPct val="150000"/>
              </a:lnSpc>
              <a:spcBef>
                <a:spcPts val="990"/>
              </a:spcBef>
              <a:buSzPct val="100000"/>
              <a:buFontTx/>
              <a:buNone/>
              <a:defRPr sz="2400" kern="1200" baseline="0">
                <a:solidFill>
                  <a:schemeClr val="tx1">
                    <a:lumMod val="95000"/>
                    <a:lumOff val="5000"/>
                  </a:schemeClr>
                </a:solidFill>
                <a:latin typeface="+mn-lt"/>
                <a:ea typeface="Open Sans" panose="020B0606030504020204" pitchFamily="34" charset="0"/>
                <a:cs typeface="Open Sans" panose="020B0606030504020204" pitchFamily="34" charset="0"/>
              </a:defRPr>
            </a:lvl5pPr>
            <a:lvl6pPr marL="0" indent="0" algn="l" defTabSz="1809115" rtl="0" eaLnBrk="1" latinLnBrk="0" hangingPunct="1">
              <a:lnSpc>
                <a:spcPct val="90000"/>
              </a:lnSpc>
              <a:spcBef>
                <a:spcPts val="990"/>
              </a:spcBef>
              <a:buFontTx/>
              <a:buNone/>
              <a:defRPr sz="1600" kern="1200">
                <a:solidFill>
                  <a:schemeClr val="bg1">
                    <a:lumMod val="65000"/>
                  </a:schemeClr>
                </a:solidFill>
                <a:latin typeface="+mn-lt"/>
                <a:ea typeface="+mn-ea"/>
                <a:cs typeface="+mn-cs"/>
              </a:defRPr>
            </a:lvl6pPr>
            <a:lvl7pPr marL="0" indent="0" algn="l" defTabSz="1809115" rtl="0" eaLnBrk="1" latinLnBrk="0" hangingPunct="1">
              <a:lnSpc>
                <a:spcPct val="90000"/>
              </a:lnSpc>
              <a:spcBef>
                <a:spcPts val="990"/>
              </a:spcBef>
              <a:buFontTx/>
              <a:buNone/>
              <a:defRPr sz="1600" b="1" kern="1200" baseline="0">
                <a:solidFill>
                  <a:schemeClr val="bg1">
                    <a:lumMod val="65000"/>
                  </a:schemeClr>
                </a:solidFill>
                <a:latin typeface="+mn-lt"/>
                <a:ea typeface="+mn-ea"/>
                <a:cs typeface="+mn-cs"/>
              </a:defRPr>
            </a:lvl7pPr>
            <a:lvl8pPr marL="0" marR="0" indent="0" algn="l" defTabSz="1809115" rtl="0" eaLnBrk="1" fontAlgn="auto" latinLnBrk="0" hangingPunct="1">
              <a:lnSpc>
                <a:spcPct val="90000"/>
              </a:lnSpc>
              <a:spcBef>
                <a:spcPts val="990"/>
              </a:spcBef>
              <a:spcAft>
                <a:spcPts val="0"/>
              </a:spcAft>
              <a:buClrTx/>
              <a:buSzTx/>
              <a:buFontTx/>
              <a:buNone/>
              <a:defRPr sz="1600" b="1" kern="1200">
                <a:solidFill>
                  <a:schemeClr val="tx1">
                    <a:lumMod val="75000"/>
                    <a:lumOff val="25000"/>
                  </a:schemeClr>
                </a:solidFill>
                <a:latin typeface="+mn-lt"/>
                <a:ea typeface="+mn-ea"/>
                <a:cs typeface="+mn-cs"/>
              </a:defRPr>
            </a:lvl8pPr>
            <a:lvl9pPr marL="357505" indent="0" algn="l" defTabSz="1809115" rtl="0" eaLnBrk="1" latinLnBrk="0" hangingPunct="1">
              <a:lnSpc>
                <a:spcPct val="90000"/>
              </a:lnSpc>
              <a:spcBef>
                <a:spcPts val="990"/>
              </a:spcBef>
              <a:buFont typeface="Arial" panose="020B0604020202020204" pitchFamily="34" charset="0"/>
              <a:buNone/>
              <a:defRPr sz="3560" kern="1200">
                <a:solidFill>
                  <a:schemeClr val="tx1"/>
                </a:solidFill>
                <a:latin typeface="+mn-lt"/>
                <a:ea typeface="+mn-ea"/>
                <a:cs typeface="+mn-cs"/>
              </a:defRPr>
            </a:lvl9pPr>
          </a:lstStyle>
          <a:p>
            <a:pPr lvl="5" algn="ctr">
              <a:lnSpc>
                <a:spcPct val="100000"/>
              </a:lnSpc>
            </a:pPr>
            <a:r>
              <a:rPr lang="en-US" sz="1050" baseline="0" dirty="0">
                <a:solidFill>
                  <a:srgbClr val="84FFFF"/>
                </a:solidFill>
                <a:cs typeface="+mn-ea"/>
                <a:sym typeface="+mn-lt"/>
              </a:rPr>
              <a:t>  </a:t>
            </a:r>
            <a:r>
              <a:rPr lang="en-US" sz="900" b="1" dirty="0">
                <a:solidFill>
                  <a:srgbClr val="84FFFF"/>
                </a:solidFill>
                <a:cs typeface="+mn-ea"/>
                <a:sym typeface="+mn-lt"/>
              </a:rPr>
              <a:t>CLICK TO DISCOVER</a:t>
            </a:r>
          </a:p>
          <a:p>
            <a:pPr lvl="7" algn="ctr"/>
            <a:endParaRPr lang="en-US" sz="1050" dirty="0">
              <a:solidFill>
                <a:srgbClr val="84FFFF"/>
              </a:solidFill>
              <a:cs typeface="+mn-ea"/>
              <a:sym typeface="+mn-lt"/>
            </a:endParaRPr>
          </a:p>
        </p:txBody>
      </p:sp>
      <p:sp>
        <p:nvSpPr>
          <p:cNvPr id="23" name="Freeform 13" descr="e7d195523061f1c03a90ee8e42cb24248e56383cd534985688F9F494128731F165EE95AB4B0C0A38076AAEA07667B1565C446FC45FF01DFB0E885BCDBDF3A284F3DB14DA61DD97F0BAB2E6C668FB49315456C7F39E6B1198E1BE8FB0C513F2B95345CD04A51BBC5AF0101DB7DB40CB9F208D416517269C05F184BE0950CC704B76ED9B299C3B43E5"/>
          <p:cNvSpPr>
            <a:spLocks noEditPoints="1"/>
          </p:cNvSpPr>
          <p:nvPr/>
        </p:nvSpPr>
        <p:spPr bwMode="auto">
          <a:xfrm>
            <a:off x="9236880" y="4842031"/>
            <a:ext cx="133472" cy="180662"/>
          </a:xfrm>
          <a:custGeom>
            <a:avLst/>
            <a:gdLst>
              <a:gd name="T0" fmla="*/ 44 w 88"/>
              <a:gd name="T1" fmla="*/ 0 h 128"/>
              <a:gd name="T2" fmla="*/ 0 w 88"/>
              <a:gd name="T3" fmla="*/ 44 h 128"/>
              <a:gd name="T4" fmla="*/ 0 w 88"/>
              <a:gd name="T5" fmla="*/ 84 h 128"/>
              <a:gd name="T6" fmla="*/ 44 w 88"/>
              <a:gd name="T7" fmla="*/ 128 h 128"/>
              <a:gd name="T8" fmla="*/ 88 w 88"/>
              <a:gd name="T9" fmla="*/ 84 h 128"/>
              <a:gd name="T10" fmla="*/ 88 w 88"/>
              <a:gd name="T11" fmla="*/ 44 h 128"/>
              <a:gd name="T12" fmla="*/ 44 w 88"/>
              <a:gd name="T13" fmla="*/ 0 h 128"/>
              <a:gd name="T14" fmla="*/ 80 w 88"/>
              <a:gd name="T15" fmla="*/ 84 h 128"/>
              <a:gd name="T16" fmla="*/ 44 w 88"/>
              <a:gd name="T17" fmla="*/ 120 h 128"/>
              <a:gd name="T18" fmla="*/ 8 w 88"/>
              <a:gd name="T19" fmla="*/ 84 h 128"/>
              <a:gd name="T20" fmla="*/ 8 w 88"/>
              <a:gd name="T21" fmla="*/ 44 h 128"/>
              <a:gd name="T22" fmla="*/ 44 w 88"/>
              <a:gd name="T23" fmla="*/ 8 h 128"/>
              <a:gd name="T24" fmla="*/ 80 w 88"/>
              <a:gd name="T25" fmla="*/ 44 h 128"/>
              <a:gd name="T26" fmla="*/ 80 w 88"/>
              <a:gd name="T27" fmla="*/ 84 h 128"/>
              <a:gd name="T28" fmla="*/ 44 w 88"/>
              <a:gd name="T29" fmla="*/ 28 h 128"/>
              <a:gd name="T30" fmla="*/ 40 w 88"/>
              <a:gd name="T31" fmla="*/ 32 h 128"/>
              <a:gd name="T32" fmla="*/ 40 w 88"/>
              <a:gd name="T33" fmla="*/ 48 h 128"/>
              <a:gd name="T34" fmla="*/ 44 w 88"/>
              <a:gd name="T35" fmla="*/ 52 h 128"/>
              <a:gd name="T36" fmla="*/ 48 w 88"/>
              <a:gd name="T37" fmla="*/ 48 h 128"/>
              <a:gd name="T38" fmla="*/ 48 w 88"/>
              <a:gd name="T39" fmla="*/ 32 h 128"/>
              <a:gd name="T40" fmla="*/ 44 w 88"/>
              <a:gd name="T41" fmla="*/ 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8" h="128">
                <a:moveTo>
                  <a:pt x="44" y="0"/>
                </a:moveTo>
                <a:cubicBezTo>
                  <a:pt x="20" y="0"/>
                  <a:pt x="0" y="20"/>
                  <a:pt x="0" y="44"/>
                </a:cubicBezTo>
                <a:cubicBezTo>
                  <a:pt x="0" y="84"/>
                  <a:pt x="0" y="84"/>
                  <a:pt x="0" y="84"/>
                </a:cubicBezTo>
                <a:cubicBezTo>
                  <a:pt x="0" y="108"/>
                  <a:pt x="20" y="128"/>
                  <a:pt x="44" y="128"/>
                </a:cubicBezTo>
                <a:cubicBezTo>
                  <a:pt x="68" y="128"/>
                  <a:pt x="88" y="108"/>
                  <a:pt x="88" y="84"/>
                </a:cubicBezTo>
                <a:cubicBezTo>
                  <a:pt x="88" y="44"/>
                  <a:pt x="88" y="44"/>
                  <a:pt x="88" y="44"/>
                </a:cubicBezTo>
                <a:cubicBezTo>
                  <a:pt x="88" y="20"/>
                  <a:pt x="68" y="0"/>
                  <a:pt x="44" y="0"/>
                </a:cubicBezTo>
                <a:close/>
                <a:moveTo>
                  <a:pt x="80" y="84"/>
                </a:moveTo>
                <a:cubicBezTo>
                  <a:pt x="80" y="104"/>
                  <a:pt x="64" y="120"/>
                  <a:pt x="44" y="120"/>
                </a:cubicBezTo>
                <a:cubicBezTo>
                  <a:pt x="24" y="120"/>
                  <a:pt x="8" y="104"/>
                  <a:pt x="8" y="84"/>
                </a:cubicBezTo>
                <a:cubicBezTo>
                  <a:pt x="8" y="44"/>
                  <a:pt x="8" y="44"/>
                  <a:pt x="8" y="44"/>
                </a:cubicBezTo>
                <a:cubicBezTo>
                  <a:pt x="8" y="24"/>
                  <a:pt x="24" y="8"/>
                  <a:pt x="44" y="8"/>
                </a:cubicBezTo>
                <a:cubicBezTo>
                  <a:pt x="64" y="8"/>
                  <a:pt x="80" y="24"/>
                  <a:pt x="80" y="44"/>
                </a:cubicBezTo>
                <a:lnTo>
                  <a:pt x="80" y="84"/>
                </a:lnTo>
                <a:close/>
                <a:moveTo>
                  <a:pt x="44" y="28"/>
                </a:moveTo>
                <a:cubicBezTo>
                  <a:pt x="42" y="28"/>
                  <a:pt x="40" y="30"/>
                  <a:pt x="40" y="32"/>
                </a:cubicBezTo>
                <a:cubicBezTo>
                  <a:pt x="40" y="48"/>
                  <a:pt x="40" y="48"/>
                  <a:pt x="40" y="48"/>
                </a:cubicBezTo>
                <a:cubicBezTo>
                  <a:pt x="40" y="50"/>
                  <a:pt x="42" y="52"/>
                  <a:pt x="44" y="52"/>
                </a:cubicBezTo>
                <a:cubicBezTo>
                  <a:pt x="46" y="52"/>
                  <a:pt x="48" y="50"/>
                  <a:pt x="48" y="48"/>
                </a:cubicBezTo>
                <a:cubicBezTo>
                  <a:pt x="48" y="32"/>
                  <a:pt x="48" y="32"/>
                  <a:pt x="48" y="32"/>
                </a:cubicBezTo>
                <a:cubicBezTo>
                  <a:pt x="48" y="30"/>
                  <a:pt x="46" y="28"/>
                  <a:pt x="44" y="28"/>
                </a:cubicBezTo>
                <a:close/>
              </a:path>
            </a:pathLst>
          </a:custGeom>
          <a:solidFill>
            <a:schemeClr val="bg1">
              <a:alpha val="70000"/>
            </a:schemeClr>
          </a:solidFill>
          <a:ln>
            <a:noFill/>
          </a:ln>
        </p:spPr>
        <p:txBody>
          <a:bodyPr vert="horz" wrap="square" lIns="45842" tIns="22921" rIns="45842" bIns="22921" numCol="1" anchor="t" anchorCtr="0" compatLnSpc="1"/>
          <a:lstStyle/>
          <a:p>
            <a:endParaRPr lang="en-US" sz="1100">
              <a:solidFill>
                <a:schemeClr val="bg1">
                  <a:lumMod val="85000"/>
                </a:schemeClr>
              </a:solidFill>
              <a:cs typeface="+mn-ea"/>
              <a:sym typeface="+mn-lt"/>
            </a:endParaRPr>
          </a:p>
        </p:txBody>
      </p:sp>
    </p:spTree>
  </p:cSld>
  <p:clrMapOvr>
    <a:masterClrMapping/>
  </p:clrMapOvr>
  <mc:AlternateContent xmlns:mc="http://schemas.openxmlformats.org/markup-compatibility/2006" xmlns:p14="http://schemas.microsoft.com/office/powerpoint/2010/main">
    <mc:Choice Requires="p14">
      <p:transition spd="slow" advTm="0">
        <p14:reveal/>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500" fill="hold"/>
                                        <p:tgtEl>
                                          <p:spTgt spid="2"/>
                                        </p:tgtEl>
                                        <p:attrNameLst>
                                          <p:attrName>ppt_x</p:attrName>
                                        </p:attrNameLst>
                                      </p:cBhvr>
                                      <p:tavLst>
                                        <p:tav tm="0">
                                          <p:val>
                                            <p:strVal val="#ppt_x"/>
                                          </p:val>
                                        </p:tav>
                                        <p:tav tm="100000">
                                          <p:val>
                                            <p:strVal val="#ppt_x"/>
                                          </p:val>
                                        </p:tav>
                                      </p:tavLst>
                                    </p:anim>
                                    <p:anim calcmode="lin" valueType="num">
                                      <p:cBhvr additive="base">
                                        <p:cTn id="8" dur="150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500"/>
                                  </p:stCondLst>
                                  <p:iterate type="lt">
                                    <p:tmPct val="10000"/>
                                  </p:iterate>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0-#ppt_h/2"/>
                                          </p:val>
                                        </p:tav>
                                        <p:tav tm="100000">
                                          <p:val>
                                            <p:strVal val="#ppt_y"/>
                                          </p:val>
                                        </p:tav>
                                      </p:tavLst>
                                    </p:anim>
                                  </p:childTnLst>
                                </p:cTn>
                              </p:par>
                              <p:par>
                                <p:cTn id="13" presetID="26" presetClass="emph" presetSubtype="0" fill="hold" grpId="1" nodeType="withEffect">
                                  <p:stCondLst>
                                    <p:cond delay="1000"/>
                                  </p:stCondLst>
                                  <p:iterate type="lt">
                                    <p:tmPct val="10000"/>
                                  </p:iterate>
                                  <p:childTnLst>
                                    <p:animEffect transition="out" filter="fade">
                                      <p:cBhvr>
                                        <p:cTn id="14" dur="500" tmFilter="0, 0; .2, .5; .8, .5; 1, 0"/>
                                        <p:tgtEl>
                                          <p:spTgt spid="3"/>
                                        </p:tgtEl>
                                      </p:cBhvr>
                                    </p:animEffect>
                                    <p:animScale>
                                      <p:cBhvr>
                                        <p:cTn id="15" dur="250" autoRev="1" fill="hold"/>
                                        <p:tgtEl>
                                          <p:spTgt spid="3"/>
                                        </p:tgtEl>
                                      </p:cBhvr>
                                      <p:by x="105000" y="105000"/>
                                    </p:animScale>
                                  </p:childTnLst>
                                </p:cTn>
                              </p:par>
                              <p:par>
                                <p:cTn id="16" presetID="50" presetClass="entr" presetSubtype="0" decel="100000" fill="hold" nodeType="withEffect">
                                  <p:stCondLst>
                                    <p:cond delay="1000"/>
                                  </p:stCondLst>
                                  <p:childTnLst>
                                    <p:set>
                                      <p:cBhvr>
                                        <p:cTn id="17" dur="1" fill="hold">
                                          <p:stCondLst>
                                            <p:cond delay="0"/>
                                          </p:stCondLst>
                                        </p:cTn>
                                        <p:tgtEl>
                                          <p:spTgt spid="21"/>
                                        </p:tgtEl>
                                        <p:attrNameLst>
                                          <p:attrName>style.visibility</p:attrName>
                                        </p:attrNameLst>
                                      </p:cBhvr>
                                      <p:to>
                                        <p:strVal val="visible"/>
                                      </p:to>
                                    </p:set>
                                    <p:anim calcmode="lin" valueType="num">
                                      <p:cBhvr>
                                        <p:cTn id="18" dur="2000" fill="hold"/>
                                        <p:tgtEl>
                                          <p:spTgt spid="21"/>
                                        </p:tgtEl>
                                        <p:attrNameLst>
                                          <p:attrName>ppt_w</p:attrName>
                                        </p:attrNameLst>
                                      </p:cBhvr>
                                      <p:tavLst>
                                        <p:tav tm="0">
                                          <p:val>
                                            <p:strVal val="#ppt_w+.3"/>
                                          </p:val>
                                        </p:tav>
                                        <p:tav tm="100000">
                                          <p:val>
                                            <p:strVal val="#ppt_w"/>
                                          </p:val>
                                        </p:tav>
                                      </p:tavLst>
                                    </p:anim>
                                    <p:anim calcmode="lin" valueType="num">
                                      <p:cBhvr>
                                        <p:cTn id="19" dur="2000" fill="hold"/>
                                        <p:tgtEl>
                                          <p:spTgt spid="21"/>
                                        </p:tgtEl>
                                        <p:attrNameLst>
                                          <p:attrName>ppt_h</p:attrName>
                                        </p:attrNameLst>
                                      </p:cBhvr>
                                      <p:tavLst>
                                        <p:tav tm="0">
                                          <p:val>
                                            <p:strVal val="#ppt_h"/>
                                          </p:val>
                                        </p:tav>
                                        <p:tav tm="100000">
                                          <p:val>
                                            <p:strVal val="#ppt_h"/>
                                          </p:val>
                                        </p:tav>
                                      </p:tavLst>
                                    </p:anim>
                                    <p:animEffect transition="in" filter="fade">
                                      <p:cBhvr>
                                        <p:cTn id="20" dur="2000"/>
                                        <p:tgtEl>
                                          <p:spTgt spid="21"/>
                                        </p:tgtEl>
                                      </p:cBhvr>
                                    </p:animEffect>
                                  </p:childTnLst>
                                </p:cTn>
                              </p:par>
                            </p:childTnLst>
                          </p:cTn>
                        </p:par>
                        <p:par>
                          <p:cTn id="21" fill="hold">
                            <p:stCondLst>
                              <p:cond delay="0"/>
                            </p:stCondLst>
                            <p:childTnLst>
                              <p:par>
                                <p:cTn id="22" presetID="10" presetClass="entr" presetSubtype="0" fill="hold" grpId="0" nodeType="after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par>
                          <p:cTn id="25" fill="hold">
                            <p:stCondLst>
                              <p:cond delay="500"/>
                            </p:stCondLst>
                            <p:childTnLst>
                              <p:par>
                                <p:cTn id="26" presetID="22" presetClass="entr" presetSubtype="8" fill="hold" grpId="0" nodeType="afterEffect">
                                  <p:stCondLst>
                                    <p:cond delay="0"/>
                                  </p:stCondLst>
                                  <p:childTnLst>
                                    <p:set>
                                      <p:cBhvr>
                                        <p:cTn id="27" dur="1" fill="hold">
                                          <p:stCondLst>
                                            <p:cond delay="0"/>
                                          </p:stCondLst>
                                        </p:cTn>
                                        <p:tgtEl>
                                          <p:spTgt spid="6">
                                            <p:graphicEl>
                                              <a:chart seriesIdx="-3" categoryIdx="-3" bldStep="gridLegend"/>
                                            </p:graphicEl>
                                          </p:spTgt>
                                        </p:tgtEl>
                                        <p:attrNameLst>
                                          <p:attrName>style.visibility</p:attrName>
                                        </p:attrNameLst>
                                      </p:cBhvr>
                                      <p:to>
                                        <p:strVal val="visible"/>
                                      </p:to>
                                    </p:set>
                                    <p:animEffect transition="in" filter="wipe(left)">
                                      <p:cBhvr>
                                        <p:cTn id="28" dur="500"/>
                                        <p:tgtEl>
                                          <p:spTgt spid="6">
                                            <p:graphicEl>
                                              <a:chart seriesIdx="-3" categoryIdx="-3" bldStep="gridLegend"/>
                                            </p:graphicEl>
                                          </p:spTgt>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6">
                                            <p:graphicEl>
                                              <a:chart seriesIdx="0" categoryIdx="-4" bldStep="series"/>
                                            </p:graphicEl>
                                          </p:spTgt>
                                        </p:tgtEl>
                                        <p:attrNameLst>
                                          <p:attrName>style.visibility</p:attrName>
                                        </p:attrNameLst>
                                      </p:cBhvr>
                                      <p:to>
                                        <p:strVal val="visible"/>
                                      </p:to>
                                    </p:set>
                                    <p:animEffect transition="in" filter="wipe(left)">
                                      <p:cBhvr>
                                        <p:cTn id="31" dur="1100"/>
                                        <p:tgtEl>
                                          <p:spTgt spid="6">
                                            <p:graphicEl>
                                              <a:chart seriesIdx="0" categoryIdx="-4" bldStep="series"/>
                                            </p:graphicEl>
                                          </p:spTgt>
                                        </p:tgtEl>
                                      </p:cBhvr>
                                    </p:animEffect>
                                  </p:childTnLst>
                                </p:cTn>
                              </p:par>
                              <p:par>
                                <p:cTn id="32" presetID="22" presetClass="entr" presetSubtype="8" fill="hold" grpId="0" nodeType="withEffect">
                                  <p:stCondLst>
                                    <p:cond delay="400"/>
                                  </p:stCondLst>
                                  <p:childTnLst>
                                    <p:set>
                                      <p:cBhvr>
                                        <p:cTn id="33" dur="1" fill="hold">
                                          <p:stCondLst>
                                            <p:cond delay="0"/>
                                          </p:stCondLst>
                                        </p:cTn>
                                        <p:tgtEl>
                                          <p:spTgt spid="6">
                                            <p:graphicEl>
                                              <a:chart seriesIdx="1" categoryIdx="-4" bldStep="series"/>
                                            </p:graphicEl>
                                          </p:spTgt>
                                        </p:tgtEl>
                                        <p:attrNameLst>
                                          <p:attrName>style.visibility</p:attrName>
                                        </p:attrNameLst>
                                      </p:cBhvr>
                                      <p:to>
                                        <p:strVal val="visible"/>
                                      </p:to>
                                    </p:set>
                                    <p:animEffect transition="in" filter="wipe(left)">
                                      <p:cBhvr>
                                        <p:cTn id="34" dur="1100"/>
                                        <p:tgtEl>
                                          <p:spTgt spid="6">
                                            <p:graphicEl>
                                              <a:chart seriesIdx="1" categoryIdx="-4" bldStep="series"/>
                                            </p:graphicEl>
                                          </p:spTgt>
                                        </p:tgtEl>
                                      </p:cBhvr>
                                    </p:animEffect>
                                  </p:childTnLst>
                                </p:cTn>
                              </p:par>
                              <p:par>
                                <p:cTn id="35" presetID="22" presetClass="entr" presetSubtype="8" fill="hold" grpId="0" nodeType="withEffect">
                                  <p:stCondLst>
                                    <p:cond delay="600"/>
                                  </p:stCondLst>
                                  <p:childTnLst>
                                    <p:set>
                                      <p:cBhvr>
                                        <p:cTn id="36" dur="1" fill="hold">
                                          <p:stCondLst>
                                            <p:cond delay="0"/>
                                          </p:stCondLst>
                                        </p:cTn>
                                        <p:tgtEl>
                                          <p:spTgt spid="6">
                                            <p:graphicEl>
                                              <a:chart seriesIdx="2" categoryIdx="-4" bldStep="series"/>
                                            </p:graphicEl>
                                          </p:spTgt>
                                        </p:tgtEl>
                                        <p:attrNameLst>
                                          <p:attrName>style.visibility</p:attrName>
                                        </p:attrNameLst>
                                      </p:cBhvr>
                                      <p:to>
                                        <p:strVal val="visible"/>
                                      </p:to>
                                    </p:set>
                                    <p:animEffect transition="in" filter="wipe(left)">
                                      <p:cBhvr>
                                        <p:cTn id="37" dur="1200"/>
                                        <p:tgtEl>
                                          <p:spTgt spid="6">
                                            <p:graphicEl>
                                              <a:chart seriesIdx="2" categoryIdx="-4" bldStep="series"/>
                                            </p:graphicEl>
                                          </p:spTgt>
                                        </p:tgtEl>
                                      </p:cBhvr>
                                    </p:animEffect>
                                  </p:childTnLst>
                                </p:cTn>
                              </p:par>
                            </p:childTnLst>
                          </p:cTn>
                        </p:par>
                        <p:par>
                          <p:cTn id="38" fill="hold">
                            <p:stCondLst>
                              <p:cond delay="1000"/>
                            </p:stCondLst>
                            <p:childTnLst>
                              <p:par>
                                <p:cTn id="39" presetID="49" presetClass="entr" presetSubtype="0" decel="100000" fill="hold" grpId="0" nodeType="afterEffect">
                                  <p:stCondLst>
                                    <p:cond delay="0"/>
                                  </p:stCondLst>
                                  <p:iterate type="lt">
                                    <p:tmPct val="20000"/>
                                  </p:iterate>
                                  <p:childTnLst>
                                    <p:set>
                                      <p:cBhvr>
                                        <p:cTn id="40" dur="1" fill="hold">
                                          <p:stCondLst>
                                            <p:cond delay="0"/>
                                          </p:stCondLst>
                                        </p:cTn>
                                        <p:tgtEl>
                                          <p:spTgt spid="9"/>
                                        </p:tgtEl>
                                        <p:attrNameLst>
                                          <p:attrName>style.visibility</p:attrName>
                                        </p:attrNameLst>
                                      </p:cBhvr>
                                      <p:to>
                                        <p:strVal val="visible"/>
                                      </p:to>
                                    </p:set>
                                    <p:anim calcmode="lin" valueType="num">
                                      <p:cBhvr>
                                        <p:cTn id="41" dur="500" fill="hold"/>
                                        <p:tgtEl>
                                          <p:spTgt spid="9"/>
                                        </p:tgtEl>
                                        <p:attrNameLst>
                                          <p:attrName>ppt_w</p:attrName>
                                        </p:attrNameLst>
                                      </p:cBhvr>
                                      <p:tavLst>
                                        <p:tav tm="0">
                                          <p:val>
                                            <p:fltVal val="0"/>
                                          </p:val>
                                        </p:tav>
                                        <p:tav tm="100000">
                                          <p:val>
                                            <p:strVal val="#ppt_w"/>
                                          </p:val>
                                        </p:tav>
                                      </p:tavLst>
                                    </p:anim>
                                    <p:anim calcmode="lin" valueType="num">
                                      <p:cBhvr>
                                        <p:cTn id="42" dur="500" fill="hold"/>
                                        <p:tgtEl>
                                          <p:spTgt spid="9"/>
                                        </p:tgtEl>
                                        <p:attrNameLst>
                                          <p:attrName>ppt_h</p:attrName>
                                        </p:attrNameLst>
                                      </p:cBhvr>
                                      <p:tavLst>
                                        <p:tav tm="0">
                                          <p:val>
                                            <p:fltVal val="0"/>
                                          </p:val>
                                        </p:tav>
                                        <p:tav tm="100000">
                                          <p:val>
                                            <p:strVal val="#ppt_h"/>
                                          </p:val>
                                        </p:tav>
                                      </p:tavLst>
                                    </p:anim>
                                    <p:anim calcmode="lin" valueType="num">
                                      <p:cBhvr>
                                        <p:cTn id="43" dur="500" fill="hold"/>
                                        <p:tgtEl>
                                          <p:spTgt spid="9"/>
                                        </p:tgtEl>
                                        <p:attrNameLst>
                                          <p:attrName>style.rotation</p:attrName>
                                        </p:attrNameLst>
                                      </p:cBhvr>
                                      <p:tavLst>
                                        <p:tav tm="0">
                                          <p:val>
                                            <p:fltVal val="360"/>
                                          </p:val>
                                        </p:tav>
                                        <p:tav tm="100000">
                                          <p:val>
                                            <p:fltVal val="0"/>
                                          </p:val>
                                        </p:tav>
                                      </p:tavLst>
                                    </p:anim>
                                    <p:animEffect transition="in" filter="fade">
                                      <p:cBhvr>
                                        <p:cTn id="44" dur="500"/>
                                        <p:tgtEl>
                                          <p:spTgt spid="9"/>
                                        </p:tgtEl>
                                      </p:cBhvr>
                                    </p:animEffect>
                                  </p:childTnLst>
                                </p:cTn>
                              </p:par>
                              <p:par>
                                <p:cTn id="45" presetID="49" presetClass="entr" presetSubtype="0" decel="100000" fill="hold" nodeType="withEffect">
                                  <p:stCondLst>
                                    <p:cond delay="0"/>
                                  </p:stCondLst>
                                  <p:childTnLst>
                                    <p:set>
                                      <p:cBhvr>
                                        <p:cTn id="46" dur="1" fill="hold">
                                          <p:stCondLst>
                                            <p:cond delay="0"/>
                                          </p:stCondLst>
                                        </p:cTn>
                                        <p:tgtEl>
                                          <p:spTgt spid="10"/>
                                        </p:tgtEl>
                                        <p:attrNameLst>
                                          <p:attrName>style.visibility</p:attrName>
                                        </p:attrNameLst>
                                      </p:cBhvr>
                                      <p:to>
                                        <p:strVal val="visible"/>
                                      </p:to>
                                    </p:set>
                                    <p:anim calcmode="lin" valueType="num">
                                      <p:cBhvr>
                                        <p:cTn id="47" dur="500" fill="hold"/>
                                        <p:tgtEl>
                                          <p:spTgt spid="10"/>
                                        </p:tgtEl>
                                        <p:attrNameLst>
                                          <p:attrName>ppt_w</p:attrName>
                                        </p:attrNameLst>
                                      </p:cBhvr>
                                      <p:tavLst>
                                        <p:tav tm="0">
                                          <p:val>
                                            <p:fltVal val="0"/>
                                          </p:val>
                                        </p:tav>
                                        <p:tav tm="100000">
                                          <p:val>
                                            <p:strVal val="#ppt_w"/>
                                          </p:val>
                                        </p:tav>
                                      </p:tavLst>
                                    </p:anim>
                                    <p:anim calcmode="lin" valueType="num">
                                      <p:cBhvr>
                                        <p:cTn id="48" dur="500" fill="hold"/>
                                        <p:tgtEl>
                                          <p:spTgt spid="10"/>
                                        </p:tgtEl>
                                        <p:attrNameLst>
                                          <p:attrName>ppt_h</p:attrName>
                                        </p:attrNameLst>
                                      </p:cBhvr>
                                      <p:tavLst>
                                        <p:tav tm="0">
                                          <p:val>
                                            <p:fltVal val="0"/>
                                          </p:val>
                                        </p:tav>
                                        <p:tav tm="100000">
                                          <p:val>
                                            <p:strVal val="#ppt_h"/>
                                          </p:val>
                                        </p:tav>
                                      </p:tavLst>
                                    </p:anim>
                                    <p:anim calcmode="lin" valueType="num">
                                      <p:cBhvr>
                                        <p:cTn id="49" dur="500" fill="hold"/>
                                        <p:tgtEl>
                                          <p:spTgt spid="10"/>
                                        </p:tgtEl>
                                        <p:attrNameLst>
                                          <p:attrName>style.rotation</p:attrName>
                                        </p:attrNameLst>
                                      </p:cBhvr>
                                      <p:tavLst>
                                        <p:tav tm="0">
                                          <p:val>
                                            <p:fltVal val="360"/>
                                          </p:val>
                                        </p:tav>
                                        <p:tav tm="100000">
                                          <p:val>
                                            <p:fltVal val="0"/>
                                          </p:val>
                                        </p:tav>
                                      </p:tavLst>
                                    </p:anim>
                                    <p:animEffect transition="in" filter="fade">
                                      <p:cBhvr>
                                        <p:cTn id="50" dur="500"/>
                                        <p:tgtEl>
                                          <p:spTgt spid="10"/>
                                        </p:tgtEl>
                                      </p:cBhvr>
                                    </p:animEffect>
                                  </p:childTnLst>
                                </p:cTn>
                              </p:par>
                              <p:par>
                                <p:cTn id="51" presetID="10" presetClass="entr" presetSubtype="0" fill="hold" grpId="0" nodeType="withEffect">
                                  <p:stCondLst>
                                    <p:cond delay="600"/>
                                  </p:stCondLst>
                                  <p:iterate type="lt">
                                    <p:tmPct val="4935"/>
                                  </p:iterate>
                                  <p:childTnLst>
                                    <p:set>
                                      <p:cBhvr>
                                        <p:cTn id="52" dur="1" fill="hold">
                                          <p:stCondLst>
                                            <p:cond delay="0"/>
                                          </p:stCondLst>
                                        </p:cTn>
                                        <p:tgtEl>
                                          <p:spTgt spid="8"/>
                                        </p:tgtEl>
                                        <p:attrNameLst>
                                          <p:attrName>style.visibility</p:attrName>
                                        </p:attrNameLst>
                                      </p:cBhvr>
                                      <p:to>
                                        <p:strVal val="visible"/>
                                      </p:to>
                                    </p:set>
                                    <p:animEffect transition="in" filter="fade">
                                      <p:cBhvr>
                                        <p:cTn id="53" dur="500"/>
                                        <p:tgtEl>
                                          <p:spTgt spid="8"/>
                                        </p:tgtEl>
                                      </p:cBhvr>
                                    </p:animEffect>
                                  </p:childTnLst>
                                </p:cTn>
                              </p:par>
                            </p:childTnLst>
                          </p:cTn>
                        </p:par>
                        <p:par>
                          <p:cTn id="54" fill="hold">
                            <p:stCondLst>
                              <p:cond delay="6237"/>
                            </p:stCondLst>
                            <p:childTnLst>
                              <p:par>
                                <p:cTn id="55" presetID="12" presetClass="entr" presetSubtype="8" fill="hold" grpId="0" nodeType="afterEffect">
                                  <p:stCondLst>
                                    <p:cond delay="0"/>
                                  </p:stCondLst>
                                  <p:childTnLst>
                                    <p:set>
                                      <p:cBhvr>
                                        <p:cTn id="56" dur="1" fill="hold">
                                          <p:stCondLst>
                                            <p:cond delay="0"/>
                                          </p:stCondLst>
                                        </p:cTn>
                                        <p:tgtEl>
                                          <p:spTgt spid="7"/>
                                        </p:tgtEl>
                                        <p:attrNameLst>
                                          <p:attrName>style.visibility</p:attrName>
                                        </p:attrNameLst>
                                      </p:cBhvr>
                                      <p:to>
                                        <p:strVal val="visible"/>
                                      </p:to>
                                    </p:set>
                                    <p:anim calcmode="lin" valueType="num">
                                      <p:cBhvr additive="base">
                                        <p:cTn id="57" dur="500"/>
                                        <p:tgtEl>
                                          <p:spTgt spid="7"/>
                                        </p:tgtEl>
                                        <p:attrNameLst>
                                          <p:attrName>ppt_x</p:attrName>
                                        </p:attrNameLst>
                                      </p:cBhvr>
                                      <p:tavLst>
                                        <p:tav tm="0">
                                          <p:val>
                                            <p:strVal val="#ppt_x-#ppt_w*1.125000"/>
                                          </p:val>
                                        </p:tav>
                                        <p:tav tm="100000">
                                          <p:val>
                                            <p:strVal val="#ppt_x"/>
                                          </p:val>
                                        </p:tav>
                                      </p:tavLst>
                                    </p:anim>
                                    <p:animEffect transition="in" filter="wipe(right)">
                                      <p:cBhvr>
                                        <p:cTn id="58" dur="500"/>
                                        <p:tgtEl>
                                          <p:spTgt spid="7"/>
                                        </p:tgtEl>
                                      </p:cBhvr>
                                    </p:animEffect>
                                  </p:childTnLst>
                                </p:cTn>
                              </p:par>
                            </p:childTnLst>
                          </p:cTn>
                        </p:par>
                        <p:par>
                          <p:cTn id="59" fill="hold">
                            <p:stCondLst>
                              <p:cond delay="6737"/>
                            </p:stCondLst>
                            <p:childTnLst>
                              <p:par>
                                <p:cTn id="60" presetID="2" presetClass="entr" presetSubtype="4" decel="100000" fill="hold" grpId="0" nodeType="afterEffect">
                                  <p:stCondLst>
                                    <p:cond delay="0"/>
                                  </p:stCondLst>
                                  <p:childTnLst>
                                    <p:set>
                                      <p:cBhvr>
                                        <p:cTn id="61" dur="1" fill="hold">
                                          <p:stCondLst>
                                            <p:cond delay="0"/>
                                          </p:stCondLst>
                                        </p:cTn>
                                        <p:tgtEl>
                                          <p:spTgt spid="22"/>
                                        </p:tgtEl>
                                        <p:attrNameLst>
                                          <p:attrName>style.visibility</p:attrName>
                                        </p:attrNameLst>
                                      </p:cBhvr>
                                      <p:to>
                                        <p:strVal val="visible"/>
                                      </p:to>
                                    </p:set>
                                    <p:anim calcmode="lin" valueType="num">
                                      <p:cBhvr additive="base">
                                        <p:cTn id="62" dur="1500" fill="hold"/>
                                        <p:tgtEl>
                                          <p:spTgt spid="22"/>
                                        </p:tgtEl>
                                        <p:attrNameLst>
                                          <p:attrName>ppt_x</p:attrName>
                                        </p:attrNameLst>
                                      </p:cBhvr>
                                      <p:tavLst>
                                        <p:tav tm="0">
                                          <p:val>
                                            <p:strVal val="#ppt_x"/>
                                          </p:val>
                                        </p:tav>
                                        <p:tav tm="100000">
                                          <p:val>
                                            <p:strVal val="#ppt_x"/>
                                          </p:val>
                                        </p:tav>
                                      </p:tavLst>
                                    </p:anim>
                                    <p:anim calcmode="lin" valueType="num">
                                      <p:cBhvr additive="base">
                                        <p:cTn id="63" dur="1500" fill="hold"/>
                                        <p:tgtEl>
                                          <p:spTgt spid="22"/>
                                        </p:tgtEl>
                                        <p:attrNameLst>
                                          <p:attrName>ppt_y</p:attrName>
                                        </p:attrNameLst>
                                      </p:cBhvr>
                                      <p:tavLst>
                                        <p:tav tm="0">
                                          <p:val>
                                            <p:strVal val="1+#ppt_h/2"/>
                                          </p:val>
                                        </p:tav>
                                        <p:tav tm="100000">
                                          <p:val>
                                            <p:strVal val="#ppt_y"/>
                                          </p:val>
                                        </p:tav>
                                      </p:tavLst>
                                    </p:anim>
                                  </p:childTnLst>
                                </p:cTn>
                              </p:par>
                              <p:par>
                                <p:cTn id="64" presetID="2" presetClass="entr" presetSubtype="4" decel="100000" fill="hold" grpId="0" nodeType="withEffect">
                                  <p:stCondLst>
                                    <p:cond delay="200"/>
                                  </p:stCondLst>
                                  <p:childTnLst>
                                    <p:set>
                                      <p:cBhvr>
                                        <p:cTn id="65" dur="1" fill="hold">
                                          <p:stCondLst>
                                            <p:cond delay="0"/>
                                          </p:stCondLst>
                                        </p:cTn>
                                        <p:tgtEl>
                                          <p:spTgt spid="23"/>
                                        </p:tgtEl>
                                        <p:attrNameLst>
                                          <p:attrName>style.visibility</p:attrName>
                                        </p:attrNameLst>
                                      </p:cBhvr>
                                      <p:to>
                                        <p:strVal val="visible"/>
                                      </p:to>
                                    </p:set>
                                    <p:anim calcmode="lin" valueType="num">
                                      <p:cBhvr additive="base">
                                        <p:cTn id="66" dur="1500" fill="hold"/>
                                        <p:tgtEl>
                                          <p:spTgt spid="23"/>
                                        </p:tgtEl>
                                        <p:attrNameLst>
                                          <p:attrName>ppt_x</p:attrName>
                                        </p:attrNameLst>
                                      </p:cBhvr>
                                      <p:tavLst>
                                        <p:tav tm="0">
                                          <p:val>
                                            <p:strVal val="#ppt_x"/>
                                          </p:val>
                                        </p:tav>
                                        <p:tav tm="100000">
                                          <p:val>
                                            <p:strVal val="#ppt_x"/>
                                          </p:val>
                                        </p:tav>
                                      </p:tavLst>
                                    </p:anim>
                                    <p:anim calcmode="lin" valueType="num">
                                      <p:cBhvr additive="base">
                                        <p:cTn id="67" dur="1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uiExpand="1">
        <p:bldSub>
          <a:bldChart bld="series"/>
        </p:bldSub>
      </p:bldGraphic>
      <p:bldP spid="7" grpId="0" animBg="1"/>
      <p:bldP spid="8" grpId="0"/>
      <p:bldP spid="9" grpId="0"/>
      <p:bldP spid="3" grpId="0"/>
      <p:bldP spid="3" grpId="1"/>
      <p:bldP spid="22" grpId="0"/>
      <p:bldP spid="2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rotWithShape="1">
          <a:blip r:embed="rId2" cstate="screen"/>
          <a:srcRect/>
          <a:stretch>
            <a:fillRect/>
          </a:stretch>
        </p:blipFill>
        <p:spPr>
          <a:xfrm>
            <a:off x="323850" y="147319"/>
            <a:ext cx="946150" cy="1417236"/>
          </a:xfrm>
          <a:prstGeom prst="rect">
            <a:avLst/>
          </a:prstGeom>
        </p:spPr>
      </p:pic>
      <p:pic>
        <p:nvPicPr>
          <p:cNvPr id="9" name="图片 8"/>
          <p:cNvPicPr>
            <a:picLocks noChangeAspect="1"/>
          </p:cNvPicPr>
          <p:nvPr/>
        </p:nvPicPr>
        <p:blipFill rotWithShape="1">
          <a:blip r:embed="rId3" cstate="screen"/>
          <a:srcRect/>
          <a:stretch>
            <a:fillRect/>
          </a:stretch>
        </p:blipFill>
        <p:spPr>
          <a:xfrm>
            <a:off x="10598150" y="372783"/>
            <a:ext cx="1193800" cy="655917"/>
          </a:xfrm>
          <a:prstGeom prst="rect">
            <a:avLst/>
          </a:prstGeom>
        </p:spPr>
      </p:pic>
      <p:sp>
        <p:nvSpPr>
          <p:cNvPr id="10" name="矩形 9"/>
          <p:cNvSpPr/>
          <p:nvPr/>
        </p:nvSpPr>
        <p:spPr>
          <a:xfrm>
            <a:off x="4497286" y="2387118"/>
            <a:ext cx="3314302" cy="769441"/>
          </a:xfrm>
          <a:prstGeom prst="rect">
            <a:avLst/>
          </a:prstGeom>
        </p:spPr>
        <p:txBody>
          <a:bodyPr wrap="square" anchor="ctr">
            <a:spAutoFit/>
          </a:bodyPr>
          <a:lstStyle/>
          <a:p>
            <a:pPr lvl="0" algn="ctr">
              <a:defRPr/>
            </a:pPr>
            <a:r>
              <a:rPr lang="zh-CN" altLang="en-US" sz="4400" b="1" kern="0" dirty="0">
                <a:gradFill>
                  <a:gsLst>
                    <a:gs pos="14000">
                      <a:srgbClr val="00B0F0"/>
                    </a:gs>
                    <a:gs pos="64000">
                      <a:srgbClr val="0BB0AD"/>
                    </a:gs>
                    <a:gs pos="42000">
                      <a:srgbClr val="13FFEC"/>
                    </a:gs>
                  </a:gsLst>
                  <a:lin ang="5400000" scaled="0"/>
                </a:gradFill>
                <a:effectLst>
                  <a:outerShdw blurRad="508000" dist="38100" dir="2700000" algn="tl" rotWithShape="0">
                    <a:schemeClr val="bg1">
                      <a:alpha val="40000"/>
                    </a:schemeClr>
                  </a:outerShdw>
                </a:effectLst>
                <a:cs typeface="+mn-ea"/>
                <a:sym typeface="+mn-lt"/>
              </a:rPr>
              <a:t>智能制造</a:t>
            </a:r>
          </a:p>
        </p:txBody>
      </p:sp>
      <p:sp>
        <p:nvSpPr>
          <p:cNvPr id="12" name="矩形 11"/>
          <p:cNvSpPr/>
          <p:nvPr/>
        </p:nvSpPr>
        <p:spPr>
          <a:xfrm>
            <a:off x="3809603" y="6006066"/>
            <a:ext cx="4572794" cy="507839"/>
          </a:xfrm>
          <a:prstGeom prst="rect">
            <a:avLst/>
          </a:prstGeom>
        </p:spPr>
        <p:txBody>
          <a:bodyPr lIns="91448" tIns="45724" rIns="91448" bIns="45724">
            <a:spAutoFit/>
          </a:bodyPr>
          <a:lstStyle/>
          <a:p>
            <a:pPr algn="ctr"/>
            <a:r>
              <a:rPr lang="en-US" altLang="zh-CN" sz="900" dirty="0">
                <a:solidFill>
                  <a:schemeClr val="bg1">
                    <a:lumMod val="75000"/>
                  </a:schemeClr>
                </a:solidFill>
                <a:cs typeface="+mn-ea"/>
                <a:sym typeface="+mn-lt"/>
              </a:rPr>
              <a:t>Chinese  companies  will no longer remain in the hard stage and they are also promoting a culture Chinese  companies  will no longer remain </a:t>
            </a:r>
          </a:p>
          <a:p>
            <a:pPr algn="ctr"/>
            <a:r>
              <a:rPr lang="en-US" altLang="zh-CN" sz="900" dirty="0">
                <a:solidFill>
                  <a:schemeClr val="bg1">
                    <a:lumMod val="75000"/>
                  </a:schemeClr>
                </a:solidFill>
                <a:cs typeface="+mn-ea"/>
                <a:sym typeface="+mn-lt"/>
              </a:rPr>
              <a:t>in the hard stage and they are also wang ling </a:t>
            </a:r>
            <a:r>
              <a:rPr lang="en-US" altLang="zh-CN" sz="900" dirty="0" err="1">
                <a:solidFill>
                  <a:schemeClr val="bg1">
                    <a:lumMod val="75000"/>
                  </a:schemeClr>
                </a:solidFill>
                <a:cs typeface="+mn-ea"/>
                <a:sym typeface="+mn-lt"/>
              </a:rPr>
              <a:t>yan</a:t>
            </a:r>
            <a:r>
              <a:rPr lang="en-US" altLang="zh-CN" sz="900" dirty="0">
                <a:solidFill>
                  <a:schemeClr val="bg1">
                    <a:lumMod val="75000"/>
                  </a:schemeClr>
                </a:solidFill>
                <a:cs typeface="+mn-ea"/>
                <a:sym typeface="+mn-lt"/>
              </a:rPr>
              <a:t> a culture</a:t>
            </a:r>
          </a:p>
        </p:txBody>
      </p:sp>
      <p:pic>
        <p:nvPicPr>
          <p:cNvPr id="13" name="2"/>
          <p:cNvPicPr>
            <a:picLocks noChangeAspect="1"/>
          </p:cNvPicPr>
          <p:nvPr/>
        </p:nvPicPr>
        <p:blipFill rotWithShape="1">
          <a:blip r:embed="rId4" cstate="screen"/>
          <a:srcRect/>
          <a:stretch>
            <a:fillRect/>
          </a:stretch>
        </p:blipFill>
        <p:spPr>
          <a:xfrm>
            <a:off x="5661897" y="1028700"/>
            <a:ext cx="985077" cy="1890814"/>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Tm="0">
        <p14:flash/>
      </p:transition>
    </mc:Choice>
    <mc:Fallback xmlns="">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500" fill="hold"/>
                                        <p:tgtEl>
                                          <p:spTgt spid="8"/>
                                        </p:tgtEl>
                                        <p:attrNameLst>
                                          <p:attrName>ppt_x</p:attrName>
                                        </p:attrNameLst>
                                      </p:cBhvr>
                                      <p:tavLst>
                                        <p:tav tm="0">
                                          <p:val>
                                            <p:strVal val="#ppt_x"/>
                                          </p:val>
                                        </p:tav>
                                        <p:tav tm="100000">
                                          <p:val>
                                            <p:strVal val="#ppt_x"/>
                                          </p:val>
                                        </p:tav>
                                      </p:tavLst>
                                    </p:anim>
                                    <p:anim calcmode="lin" valueType="num">
                                      <p:cBhvr additive="base">
                                        <p:cTn id="8" dur="1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1" decel="100000" fill="hold" nodeType="withEffect">
                                  <p:stCondLst>
                                    <p:cond delay="3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1500" fill="hold"/>
                                        <p:tgtEl>
                                          <p:spTgt spid="9"/>
                                        </p:tgtEl>
                                        <p:attrNameLst>
                                          <p:attrName>ppt_x</p:attrName>
                                        </p:attrNameLst>
                                      </p:cBhvr>
                                      <p:tavLst>
                                        <p:tav tm="0">
                                          <p:val>
                                            <p:strVal val="#ppt_x"/>
                                          </p:val>
                                        </p:tav>
                                        <p:tav tm="100000">
                                          <p:val>
                                            <p:strVal val="#ppt_x"/>
                                          </p:val>
                                        </p:tav>
                                      </p:tavLst>
                                    </p:anim>
                                    <p:anim calcmode="lin" valueType="num">
                                      <p:cBhvr additive="base">
                                        <p:cTn id="12" dur="1500" fill="hold"/>
                                        <p:tgtEl>
                                          <p:spTgt spid="9"/>
                                        </p:tgtEl>
                                        <p:attrNameLst>
                                          <p:attrName>ppt_y</p:attrName>
                                        </p:attrNameLst>
                                      </p:cBhvr>
                                      <p:tavLst>
                                        <p:tav tm="0">
                                          <p:val>
                                            <p:strVal val="0-#ppt_h/2"/>
                                          </p:val>
                                        </p:tav>
                                        <p:tav tm="100000">
                                          <p:val>
                                            <p:strVal val="#ppt_y"/>
                                          </p:val>
                                        </p:tav>
                                      </p:tavLst>
                                    </p:anim>
                                  </p:childTnLst>
                                </p:cTn>
                              </p:par>
                            </p:childTnLst>
                          </p:cTn>
                        </p:par>
                        <p:par>
                          <p:cTn id="13" fill="hold">
                            <p:stCondLst>
                              <p:cond delay="1500"/>
                            </p:stCondLst>
                            <p:childTnLst>
                              <p:par>
                                <p:cTn id="14" presetID="2" presetClass="entr" presetSubtype="1" decel="100000" fill="hold" nodeType="afterEffect">
                                  <p:stCondLst>
                                    <p:cond delay="0"/>
                                  </p:stCondLst>
                                  <p:childTnLst>
                                    <p:set>
                                      <p:cBhvr>
                                        <p:cTn id="15" dur="1" fill="hold">
                                          <p:stCondLst>
                                            <p:cond delay="0"/>
                                          </p:stCondLst>
                                        </p:cTn>
                                        <p:tgtEl>
                                          <p:spTgt spid="13"/>
                                        </p:tgtEl>
                                        <p:attrNameLst>
                                          <p:attrName>style.visibility</p:attrName>
                                        </p:attrNameLst>
                                      </p:cBhvr>
                                      <p:to>
                                        <p:strVal val="visible"/>
                                      </p:to>
                                    </p:set>
                                    <p:anim calcmode="lin" valueType="num">
                                      <p:cBhvr additive="base">
                                        <p:cTn id="16" dur="1500" fill="hold"/>
                                        <p:tgtEl>
                                          <p:spTgt spid="13"/>
                                        </p:tgtEl>
                                        <p:attrNameLst>
                                          <p:attrName>ppt_x</p:attrName>
                                        </p:attrNameLst>
                                      </p:cBhvr>
                                      <p:tavLst>
                                        <p:tav tm="0">
                                          <p:val>
                                            <p:strVal val="#ppt_x"/>
                                          </p:val>
                                        </p:tav>
                                        <p:tav tm="100000">
                                          <p:val>
                                            <p:strVal val="#ppt_x"/>
                                          </p:val>
                                        </p:tav>
                                      </p:tavLst>
                                    </p:anim>
                                    <p:anim calcmode="lin" valueType="num">
                                      <p:cBhvr additive="base">
                                        <p:cTn id="17" dur="1500" fill="hold"/>
                                        <p:tgtEl>
                                          <p:spTgt spid="13"/>
                                        </p:tgtEl>
                                        <p:attrNameLst>
                                          <p:attrName>ppt_y</p:attrName>
                                        </p:attrNameLst>
                                      </p:cBhvr>
                                      <p:tavLst>
                                        <p:tav tm="0">
                                          <p:val>
                                            <p:strVal val="0-#ppt_h/2"/>
                                          </p:val>
                                        </p:tav>
                                        <p:tav tm="100000">
                                          <p:val>
                                            <p:strVal val="#ppt_y"/>
                                          </p:val>
                                        </p:tav>
                                      </p:tavLst>
                                    </p:anim>
                                  </p:childTnLst>
                                </p:cTn>
                              </p:par>
                            </p:childTnLst>
                          </p:cTn>
                        </p:par>
                        <p:par>
                          <p:cTn id="18" fill="hold">
                            <p:stCondLst>
                              <p:cond delay="3000"/>
                            </p:stCondLst>
                            <p:childTnLst>
                              <p:par>
                                <p:cTn id="19" presetID="2" presetClass="entr" presetSubtype="4" fill="hold" grpId="0" nodeType="afterEffect">
                                  <p:stCondLst>
                                    <p:cond delay="0"/>
                                  </p:stCondLst>
                                  <p:iterate type="lt">
                                    <p:tmPct val="10000"/>
                                  </p:iterate>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ppt_x"/>
                                          </p:val>
                                        </p:tav>
                                        <p:tav tm="100000">
                                          <p:val>
                                            <p:strVal val="#ppt_x"/>
                                          </p:val>
                                        </p:tav>
                                      </p:tavLst>
                                    </p:anim>
                                    <p:anim calcmode="lin" valueType="num">
                                      <p:cBhvr additive="base">
                                        <p:cTn id="22" dur="500" fill="hold"/>
                                        <p:tgtEl>
                                          <p:spTgt spid="10"/>
                                        </p:tgtEl>
                                        <p:attrNameLst>
                                          <p:attrName>ppt_y</p:attrName>
                                        </p:attrNameLst>
                                      </p:cBhvr>
                                      <p:tavLst>
                                        <p:tav tm="0">
                                          <p:val>
                                            <p:strVal val="1+#ppt_h/2"/>
                                          </p:val>
                                        </p:tav>
                                        <p:tav tm="100000">
                                          <p:val>
                                            <p:strVal val="#ppt_y"/>
                                          </p:val>
                                        </p:tav>
                                      </p:tavLst>
                                    </p:anim>
                                  </p:childTnLst>
                                </p:cTn>
                              </p:par>
                              <p:par>
                                <p:cTn id="23" presetID="26" presetClass="emph" presetSubtype="0" fill="hold" grpId="1" nodeType="withEffect">
                                  <p:stCondLst>
                                    <p:cond delay="1000"/>
                                  </p:stCondLst>
                                  <p:iterate type="lt">
                                    <p:tmPct val="10000"/>
                                  </p:iterate>
                                  <p:childTnLst>
                                    <p:animEffect transition="out" filter="fade">
                                      <p:cBhvr>
                                        <p:cTn id="24" dur="500" tmFilter="0, 0; .2, .5; .8, .5; 1, 0"/>
                                        <p:tgtEl>
                                          <p:spTgt spid="10"/>
                                        </p:tgtEl>
                                      </p:cBhvr>
                                    </p:animEffect>
                                    <p:animScale>
                                      <p:cBhvr>
                                        <p:cTn id="25" dur="250" autoRev="1" fill="hold"/>
                                        <p:tgtEl>
                                          <p:spTgt spid="10"/>
                                        </p:tgtEl>
                                      </p:cBhvr>
                                      <p:by x="105000" y="105000"/>
                                    </p:animScale>
                                  </p:childTnLst>
                                </p:cTn>
                              </p:par>
                              <p:par>
                                <p:cTn id="26" presetID="14" presetClass="entr" presetSubtype="10" fill="hold" grpId="0" nodeType="withEffect">
                                  <p:stCondLst>
                                    <p:cond delay="1500"/>
                                  </p:stCondLst>
                                  <p:childTnLst>
                                    <p:set>
                                      <p:cBhvr>
                                        <p:cTn id="27" dur="1" fill="hold">
                                          <p:stCondLst>
                                            <p:cond delay="0"/>
                                          </p:stCondLst>
                                        </p:cTn>
                                        <p:tgtEl>
                                          <p:spTgt spid="12"/>
                                        </p:tgtEl>
                                        <p:attrNameLst>
                                          <p:attrName>style.visibility</p:attrName>
                                        </p:attrNameLst>
                                      </p:cBhvr>
                                      <p:to>
                                        <p:strVal val="visible"/>
                                      </p:to>
                                    </p:set>
                                    <p:animEffect transition="in" filter="randombar(horizontal)">
                                      <p:cBhvr>
                                        <p:cTn id="28"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0" grpId="1"/>
      <p:bldP spid="1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_L0l0C6gUmpYmek4kB0oA"/>
</p:tagLst>
</file>

<file path=ppt/theme/theme1.xml><?xml version="1.0" encoding="utf-8"?>
<a:theme xmlns:a="http://schemas.openxmlformats.org/drawingml/2006/main" name=" www.2ppt.com">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wuw5dy2k">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340</Words>
  <Application>Microsoft Office PowerPoint</Application>
  <PresentationFormat>宽屏</PresentationFormat>
  <Paragraphs>211</Paragraphs>
  <Slides>27</Slides>
  <Notes>0</Notes>
  <HiddenSlides>0</HiddenSlides>
  <MMClips>0</MMClips>
  <ScaleCrop>false</ScaleCrop>
  <HeadingPairs>
    <vt:vector size="6" baseType="variant">
      <vt:variant>
        <vt:lpstr>已用的字体</vt:lpstr>
      </vt:variant>
      <vt:variant>
        <vt:i4>4</vt:i4>
      </vt:variant>
      <vt:variant>
        <vt:lpstr>主题</vt:lpstr>
      </vt:variant>
      <vt:variant>
        <vt:i4>2</vt:i4>
      </vt:variant>
      <vt:variant>
        <vt:lpstr>幻灯片标题</vt:lpstr>
      </vt:variant>
      <vt:variant>
        <vt:i4>27</vt:i4>
      </vt:variant>
    </vt:vector>
  </HeadingPairs>
  <TitlesOfParts>
    <vt:vector size="33" baseType="lpstr">
      <vt:lpstr>宋体</vt:lpstr>
      <vt:lpstr>微软雅黑</vt:lpstr>
      <vt:lpstr>Arial</vt:lpstr>
      <vt:lpstr>Calibri</vt:lpstr>
      <vt:lpstr> www.2ppt.com</vt:lpstr>
      <vt:lpstr>自定义设计方案</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ppt818.com</dc:title>
  <dc:subject>www.ppt818.com</dc:subject>
  <dc:creator>www.ppt818.com</dc:creator>
  <dc:description>www.ppt818.com-提供资源下载</dc:description>
  <cp:lastModifiedBy>Windows 用户</cp:lastModifiedBy>
  <cp:revision>3</cp:revision>
  <dcterms:created xsi:type="dcterms:W3CDTF">2022-03-21T05:49:35Z</dcterms:created>
  <dcterms:modified xsi:type="dcterms:W3CDTF">2023-01-10T10:31: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25E01FA866014FA0A2022E8A027609EC</vt:lpwstr>
  </property>
  <property fmtid="{D5CDD505-2E9C-101B-9397-08002B2CF9AE}" pid="3" name="KSOProductBuildVer">
    <vt:lpwstr>2052-11.1.0.11365</vt:lpwstr>
  </property>
  <property fmtid="{A09F084E-AD41-489F-8076-AA5BE3082BCA}" pid="100">
    <vt:ui4>5</vt:ui4>
  </property>
  <property fmtid="{64440492-4C8B-11D1-8B70-080036B11A03}" pid="11">
    <vt:lpwstr>www.2ppt.com-爱PPT提供资源下载</vt:lpwstr>
  </property>
</Properties>
</file>